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comments/modernComment_7FFFFFFD_B1331F8.xml" ContentType="application/vnd.ms-powerpoint.comment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120_28A2661F.xml" ContentType="application/vnd.ms-powerpoint.comments+xml"/>
  <Override PartName="/ppt/notesSlides/notesSlide3.xml" ContentType="application/vnd.openxmlformats-officedocument.presentationml.notesSlide+xml"/>
  <Override PartName="/ppt/comments/modernComment_121_8EFAD4B1.xml" ContentType="application/vnd.ms-powerpoint.comment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comments/modernComment_12F_E1833287.xml" ContentType="application/vnd.ms-powerpoint.comments+xml"/>
  <Override PartName="/ppt/comments/modernComment_100_15BD607B.xml" ContentType="application/vnd.ms-powerpoint.comment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137_1240ED47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091" r:id="rId1"/>
  </p:sldMasterIdLst>
  <p:notesMasterIdLst>
    <p:notesMasterId r:id="rId22"/>
  </p:notesMasterIdLst>
  <p:handoutMasterIdLst>
    <p:handoutMasterId r:id="rId23"/>
  </p:handoutMasterIdLst>
  <p:sldIdLst>
    <p:sldId id="2147483645" r:id="rId2"/>
    <p:sldId id="2147483643" r:id="rId3"/>
    <p:sldId id="309" r:id="rId4"/>
    <p:sldId id="276" r:id="rId5"/>
    <p:sldId id="281" r:id="rId6"/>
    <p:sldId id="288" r:id="rId7"/>
    <p:sldId id="289" r:id="rId8"/>
    <p:sldId id="274" r:id="rId9"/>
    <p:sldId id="2147483642" r:id="rId10"/>
    <p:sldId id="275" r:id="rId11"/>
    <p:sldId id="286" r:id="rId12"/>
    <p:sldId id="296" r:id="rId13"/>
    <p:sldId id="303" r:id="rId14"/>
    <p:sldId id="304" r:id="rId15"/>
    <p:sldId id="302" r:id="rId16"/>
    <p:sldId id="256" r:id="rId17"/>
    <p:sldId id="2147483647" r:id="rId18"/>
    <p:sldId id="306" r:id="rId19"/>
    <p:sldId id="311" r:id="rId20"/>
    <p:sldId id="298" r:id="rId21"/>
  </p:sldIdLst>
  <p:sldSz cx="24382413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A26CF07-0D2F-0FEC-1EC1-7ADFAB9A49EA}" name="Диана Харисова" initials="ДХ" userId="0516af2fab17d9cc" providerId="Windows Live"/>
  <p188:author id="{05EAFC30-05AE-CE82-D9EC-C73A632A72E0}" name="Elena Poddubnaya" initials="" userId="S::elena-p@yandex-team.ru::09a07654-0bbd-497f-8138-42b73f2b923d" providerId="AD"/>
  <p188:author id="{E8883B41-F533-9B12-892C-8C9402980B31}" name="Olga Bitsan" initials="OB" userId="Olga Bitsan" providerId="None"/>
  <p188:author id="{7C57634C-6E5F-E853-E5BD-0C1BC1F37511}" name="Anna Solomakhina" initials="AS" userId="Anna Solomakhina" providerId="None"/>
  <p188:author id="{78B8625C-0F3B-F003-136C-AFC98E605C1B}" name="Mariia Saveleva" initials="MS" userId="Mariia Saveleva" providerId="None"/>
  <p188:author id="{268D9263-5173-028E-85A1-0B1D1D90B20F}" name="Rafael Nurtdinov" initials="А" userId="Rafael Nurtdinov" providerId="None"/>
  <p188:author id="{8567B263-A851-7CC8-8251-B02EE5EEF10B}" name="Pavel S. Zakharov" initials="PSZ" userId="S::zaza28@yandex-team.ru::136404db-e207-44a6-b25b-41fb800845bd" providerId="AD"/>
  <p188:author id="{E98C2579-F78D-504E-5BFD-263814A840DD}" name="Кети Воротникова" initials="КВ" userId="901c9ae53a1f8eab" providerId="Windows Live"/>
  <p188:author id="{3D90C9CE-7C4F-5FA6-4B42-2993BB6FF3CE}" name="Виктория Сучкова" initials="ВС" userId="Виктория Сучкова" providerId="None"/>
  <p188:author id="{085129D5-B0F8-5F39-5A22-4DC95B8248C2}" name="Анна Кривоногова" initials="АК" userId="3c547072ac3d16dc" providerId="Windows Live"/>
  <p188:author id="{43DEF7DF-DAE5-E9A4-82D5-419602ECBEDC}" name="Anastasiia Utkina" initials="AU" userId="S::utkina-a@yandex-team.ru::895dbf1e-0c19-47fe-830e-d3375f827e4c" providerId="AD"/>
  <p188:author id="{059240F9-4640-EF99-8097-955C56F878A0}" name="Anna Solomakhina" initials="AS" userId="S::asolomakhina@yandex-team.ru::1964b362-6639-48ab-87da-c2ec71af9fa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fael Nurtdinov" initials="NRR" lastIdx="53" clrIdx="0">
    <p:extLst>
      <p:ext uri="{19B8F6BF-5375-455C-9EA6-DF929625EA0E}">
        <p15:presenceInfo xmlns:p15="http://schemas.microsoft.com/office/powerpoint/2012/main" userId="Rafael Nurtdino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2333"/>
    <a:srgbClr val="382E24"/>
    <a:srgbClr val="6A00EC"/>
    <a:srgbClr val="0F141E"/>
    <a:srgbClr val="A2FF9A"/>
    <a:srgbClr val="A0AFC8"/>
    <a:srgbClr val="465161"/>
    <a:srgbClr val="4B3CFF"/>
    <a:srgbClr val="00EAEE"/>
    <a:srgbClr val="191E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87" autoAdjust="0"/>
    <p:restoredTop sz="94720"/>
  </p:normalViewPr>
  <p:slideViewPr>
    <p:cSldViewPr snapToGrid="0">
      <p:cViewPr>
        <p:scale>
          <a:sx n="33" d="100"/>
          <a:sy n="33" d="100"/>
        </p:scale>
        <p:origin x="2628" y="10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9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109429802585433E-3"/>
          <c:y val="4.93479928407057E-2"/>
          <c:w val="0.98957811403948293"/>
          <c:h val="0.8972129890053695"/>
        </c:manualLayout>
      </c:layout>
      <c:bubbleChart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xVal>
            <c:numRef>
              <c:f>Sheet1!$A$1:$A$26</c:f>
              <c:numCache>
                <c:formatCode>General</c:formatCode>
                <c:ptCount val="26"/>
                <c:pt idx="0">
                  <c:v>62.870000000000005</c:v>
                </c:pt>
                <c:pt idx="1">
                  <c:v>50.629999999999995</c:v>
                </c:pt>
                <c:pt idx="2">
                  <c:v>56.65</c:v>
                </c:pt>
                <c:pt idx="3">
                  <c:v>15.4</c:v>
                </c:pt>
                <c:pt idx="4">
                  <c:v>38.92</c:v>
                </c:pt>
                <c:pt idx="5">
                  <c:v>62.870000000000005</c:v>
                </c:pt>
                <c:pt idx="6">
                  <c:v>50.629999999999995</c:v>
                </c:pt>
                <c:pt idx="7">
                  <c:v>56.65</c:v>
                </c:pt>
                <c:pt idx="8">
                  <c:v>15.4</c:v>
                </c:pt>
                <c:pt idx="9">
                  <c:v>38.92</c:v>
                </c:pt>
                <c:pt idx="10">
                  <c:v>65.31</c:v>
                </c:pt>
                <c:pt idx="11">
                  <c:v>26.900000000000002</c:v>
                </c:pt>
                <c:pt idx="12">
                  <c:v>60.17</c:v>
                </c:pt>
                <c:pt idx="13">
                  <c:v>62.3</c:v>
                </c:pt>
                <c:pt idx="14">
                  <c:v>65.31</c:v>
                </c:pt>
                <c:pt idx="15">
                  <c:v>26.900000000000002</c:v>
                </c:pt>
                <c:pt idx="16">
                  <c:v>60.17</c:v>
                </c:pt>
                <c:pt idx="17">
                  <c:v>27.57</c:v>
                </c:pt>
                <c:pt idx="18">
                  <c:v>70.78</c:v>
                </c:pt>
                <c:pt idx="19">
                  <c:v>73.2</c:v>
                </c:pt>
                <c:pt idx="20">
                  <c:v>62.3</c:v>
                </c:pt>
                <c:pt idx="21">
                  <c:v>27.57</c:v>
                </c:pt>
                <c:pt idx="22">
                  <c:v>70.78</c:v>
                </c:pt>
                <c:pt idx="23">
                  <c:v>73.2</c:v>
                </c:pt>
                <c:pt idx="24">
                  <c:v>69.069999999999993</c:v>
                </c:pt>
                <c:pt idx="25">
                  <c:v>69.069999999999993</c:v>
                </c:pt>
              </c:numCache>
            </c:numRef>
          </c:xVal>
          <c:yVal>
            <c:numRef>
              <c:f>Sheet1!$B$1:$B$26</c:f>
              <c:numCache>
                <c:formatCode>General</c:formatCode>
                <c:ptCount val="26"/>
                <c:pt idx="0">
                  <c:v>426.02957316512811</c:v>
                </c:pt>
                <c:pt idx="1">
                  <c:v>41.561461140354524</c:v>
                </c:pt>
                <c:pt idx="2">
                  <c:v>200.10488786758839</c:v>
                </c:pt>
                <c:pt idx="3">
                  <c:v>4.2454120159935522</c:v>
                </c:pt>
                <c:pt idx="4">
                  <c:v>41.748933958962752</c:v>
                </c:pt>
              </c:numCache>
            </c:numRef>
          </c:yVal>
          <c:bubbleSize>
            <c:numRef>
              <c:f>Sheet1!$C$1:$C$26</c:f>
              <c:numCache>
                <c:formatCode>General</c:formatCode>
                <c:ptCount val="26"/>
                <c:pt idx="0">
                  <c:v>67.883245728077526</c:v>
                </c:pt>
                <c:pt idx="1">
                  <c:v>20.65358165435525</c:v>
                </c:pt>
                <c:pt idx="2">
                  <c:v>53.635777661439242</c:v>
                </c:pt>
                <c:pt idx="3">
                  <c:v>2.7336405561156369</c:v>
                </c:pt>
                <c:pt idx="4">
                  <c:v>18.143710216219045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DC7A-4E2B-BF13-C368CBD5581D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C7A-4E2B-BF13-C368CBD5581D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C7A-4E2B-BF13-C368CBD5581D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DC7A-4E2B-BF13-C368CBD5581D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DC7A-4E2B-BF13-C368CBD5581D}"/>
              </c:ext>
            </c:extLst>
          </c:dPt>
          <c:dLbls>
            <c:dLbl>
              <c:idx val="5"/>
              <c:layout>
                <c:manualLayout>
                  <c:x val="0"/>
                  <c:y val="0"/>
                </c:manualLayout>
              </c:layout>
              <c:numFmt formatCode="&quot;$&quot;#,##0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YS Text Medium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C7A-4E2B-BF13-C368CBD5581D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&quot;$&quot;#,##0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C7A-4E2B-BF13-C368CBD5581D}"/>
                </c:ext>
              </c:extLst>
            </c:dLbl>
            <c:dLbl>
              <c:idx val="8"/>
              <c:layout>
                <c:manualLayout>
                  <c:x val="1.3327988776430504E-2"/>
                  <c:y val="-3.4006647916133982E-2"/>
                </c:manualLayout>
              </c:layout>
              <c:numFmt formatCode="&quot;$&quot;#,##0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YS Text Medium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C7A-4E2B-BF13-C368CBD5581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$26</c:f>
              <c:numCache>
                <c:formatCode>General</c:formatCode>
                <c:ptCount val="26"/>
                <c:pt idx="0">
                  <c:v>62.870000000000005</c:v>
                </c:pt>
                <c:pt idx="1">
                  <c:v>50.629999999999995</c:v>
                </c:pt>
                <c:pt idx="2">
                  <c:v>56.65</c:v>
                </c:pt>
                <c:pt idx="3">
                  <c:v>15.4</c:v>
                </c:pt>
                <c:pt idx="4">
                  <c:v>38.92</c:v>
                </c:pt>
                <c:pt idx="5">
                  <c:v>62.870000000000005</c:v>
                </c:pt>
                <c:pt idx="6">
                  <c:v>50.629999999999995</c:v>
                </c:pt>
                <c:pt idx="7">
                  <c:v>56.65</c:v>
                </c:pt>
                <c:pt idx="8">
                  <c:v>15.4</c:v>
                </c:pt>
                <c:pt idx="9">
                  <c:v>38.92</c:v>
                </c:pt>
                <c:pt idx="10">
                  <c:v>65.31</c:v>
                </c:pt>
                <c:pt idx="11">
                  <c:v>26.900000000000002</c:v>
                </c:pt>
                <c:pt idx="12">
                  <c:v>60.17</c:v>
                </c:pt>
                <c:pt idx="13">
                  <c:v>62.3</c:v>
                </c:pt>
                <c:pt idx="14">
                  <c:v>65.31</c:v>
                </c:pt>
                <c:pt idx="15">
                  <c:v>26.900000000000002</c:v>
                </c:pt>
                <c:pt idx="16">
                  <c:v>60.17</c:v>
                </c:pt>
                <c:pt idx="17">
                  <c:v>27.57</c:v>
                </c:pt>
                <c:pt idx="18">
                  <c:v>70.78</c:v>
                </c:pt>
                <c:pt idx="19">
                  <c:v>73.2</c:v>
                </c:pt>
                <c:pt idx="20">
                  <c:v>62.3</c:v>
                </c:pt>
                <c:pt idx="21">
                  <c:v>27.57</c:v>
                </c:pt>
                <c:pt idx="22">
                  <c:v>70.78</c:v>
                </c:pt>
                <c:pt idx="23">
                  <c:v>73.2</c:v>
                </c:pt>
                <c:pt idx="24">
                  <c:v>69.069999999999993</c:v>
                </c:pt>
                <c:pt idx="25">
                  <c:v>69.069999999999993</c:v>
                </c:pt>
              </c:numCache>
            </c:numRef>
          </c:xVal>
          <c:yVal>
            <c:numRef>
              <c:f>Sheet1!$D$1:$D$26</c:f>
              <c:numCache>
                <c:formatCode>General</c:formatCode>
                <c:ptCount val="26"/>
                <c:pt idx="5">
                  <c:v>426.02957316512811</c:v>
                </c:pt>
                <c:pt idx="6">
                  <c:v>41.561461140354524</c:v>
                </c:pt>
                <c:pt idx="7">
                  <c:v>200.10488786758839</c:v>
                </c:pt>
                <c:pt idx="8">
                  <c:v>4.2454120159935522</c:v>
                </c:pt>
                <c:pt idx="9">
                  <c:v>41.748933958962752</c:v>
                </c:pt>
                <c:pt idx="10">
                  <c:v>223.43846557796851</c:v>
                </c:pt>
                <c:pt idx="11">
                  <c:v>168.44783451639049</c:v>
                </c:pt>
                <c:pt idx="12">
                  <c:v>112.76186089178623</c:v>
                </c:pt>
                <c:pt idx="13">
                  <c:v>122.03434201250934</c:v>
                </c:pt>
              </c:numCache>
            </c:numRef>
          </c:yVal>
          <c:bubbleSize>
            <c:numRef>
              <c:f>Sheet1!$E$1:$E$26</c:f>
              <c:numCache>
                <c:formatCode>General</c:formatCode>
                <c:ptCount val="26"/>
                <c:pt idx="5" formatCode="&quot;$&quot;#\ ##0;&quot;$&quot;#\ ##0">
                  <c:v>40.046779877522042</c:v>
                </c:pt>
                <c:pt idx="6">
                  <c:v>1.1180033046755367</c:v>
                </c:pt>
                <c:pt idx="7" formatCode="&quot;$&quot;#\ ##0;&quot;$&quot;#\ ##0">
                  <c:v>9.0847619091885132</c:v>
                </c:pt>
                <c:pt idx="8" formatCode="&quot;$&quot;#\ ##0;&quot;$&quot;#\ ##0">
                  <c:v>0.19104354071970986</c:v>
                </c:pt>
                <c:pt idx="9">
                  <c:v>1.7868543734436055</c:v>
                </c:pt>
                <c:pt idx="10">
                  <c:v>43.66812112388844</c:v>
                </c:pt>
                <c:pt idx="11">
                  <c:v>90.272968790282619</c:v>
                </c:pt>
                <c:pt idx="12">
                  <c:v>36.074416179414072</c:v>
                </c:pt>
                <c:pt idx="13">
                  <c:v>22.42617440789191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C-DC7A-4E2B-BF13-C368CBD5581D}"/>
            </c:ext>
          </c:extLst>
        </c:ser>
        <c:ser>
          <c:idx val="2"/>
          <c:order val="2"/>
          <c:spPr>
            <a:solidFill>
              <a:schemeClr val="bg2"/>
            </a:solidFill>
            <a:ln>
              <a:noFill/>
            </a:ln>
          </c:spPr>
          <c:invertIfNegative val="0"/>
          <c:dPt>
            <c:idx val="1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DC7A-4E2B-BF13-C368CBD5581D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DC7A-4E2B-BF13-C368CBD5581D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DC7A-4E2B-BF13-C368CBD5581D}"/>
              </c:ext>
            </c:extLst>
          </c:dPt>
          <c:xVal>
            <c:numRef>
              <c:f>Sheet1!$A$1:$A$26</c:f>
              <c:numCache>
                <c:formatCode>General</c:formatCode>
                <c:ptCount val="26"/>
                <c:pt idx="0">
                  <c:v>62.870000000000005</c:v>
                </c:pt>
                <c:pt idx="1">
                  <c:v>50.629999999999995</c:v>
                </c:pt>
                <c:pt idx="2">
                  <c:v>56.65</c:v>
                </c:pt>
                <c:pt idx="3">
                  <c:v>15.4</c:v>
                </c:pt>
                <c:pt idx="4">
                  <c:v>38.92</c:v>
                </c:pt>
                <c:pt idx="5">
                  <c:v>62.870000000000005</c:v>
                </c:pt>
                <c:pt idx="6">
                  <c:v>50.629999999999995</c:v>
                </c:pt>
                <c:pt idx="7">
                  <c:v>56.65</c:v>
                </c:pt>
                <c:pt idx="8">
                  <c:v>15.4</c:v>
                </c:pt>
                <c:pt idx="9">
                  <c:v>38.92</c:v>
                </c:pt>
                <c:pt idx="10">
                  <c:v>65.31</c:v>
                </c:pt>
                <c:pt idx="11">
                  <c:v>26.900000000000002</c:v>
                </c:pt>
                <c:pt idx="12">
                  <c:v>60.17</c:v>
                </c:pt>
                <c:pt idx="13">
                  <c:v>62.3</c:v>
                </c:pt>
                <c:pt idx="14">
                  <c:v>65.31</c:v>
                </c:pt>
                <c:pt idx="15">
                  <c:v>26.900000000000002</c:v>
                </c:pt>
                <c:pt idx="16">
                  <c:v>60.17</c:v>
                </c:pt>
                <c:pt idx="17">
                  <c:v>27.57</c:v>
                </c:pt>
                <c:pt idx="18">
                  <c:v>70.78</c:v>
                </c:pt>
                <c:pt idx="19">
                  <c:v>73.2</c:v>
                </c:pt>
                <c:pt idx="20">
                  <c:v>62.3</c:v>
                </c:pt>
                <c:pt idx="21">
                  <c:v>27.57</c:v>
                </c:pt>
                <c:pt idx="22">
                  <c:v>70.78</c:v>
                </c:pt>
                <c:pt idx="23">
                  <c:v>73.2</c:v>
                </c:pt>
                <c:pt idx="24">
                  <c:v>69.069999999999993</c:v>
                </c:pt>
                <c:pt idx="25">
                  <c:v>69.069999999999993</c:v>
                </c:pt>
              </c:numCache>
            </c:numRef>
          </c:xVal>
          <c:yVal>
            <c:numRef>
              <c:f>Sheet1!$F$1:$F$26</c:f>
              <c:numCache>
                <c:formatCode>General</c:formatCode>
                <c:ptCount val="26"/>
                <c:pt idx="14">
                  <c:v>223.43846557796851</c:v>
                </c:pt>
                <c:pt idx="15">
                  <c:v>168.44783451639049</c:v>
                </c:pt>
                <c:pt idx="16">
                  <c:v>112.76186089178623</c:v>
                </c:pt>
                <c:pt idx="17">
                  <c:v>106.99590738899114</c:v>
                </c:pt>
                <c:pt idx="18">
                  <c:v>581.16725993636419</c:v>
                </c:pt>
                <c:pt idx="19">
                  <c:v>323.71247524900656</c:v>
                </c:pt>
                <c:pt idx="20">
                  <c:v>122.03434201250934</c:v>
                </c:pt>
              </c:numCache>
            </c:numRef>
          </c:yVal>
          <c:bubbleSize>
            <c:numRef>
              <c:f>Sheet1!$G$1:$G$26</c:f>
              <c:numCache>
                <c:formatCode>General</c:formatCode>
                <c:ptCount val="26"/>
                <c:pt idx="14">
                  <c:v>9.585510173294848</c:v>
                </c:pt>
                <c:pt idx="15">
                  <c:v>6.9063612151720095</c:v>
                </c:pt>
                <c:pt idx="16">
                  <c:v>2.4807609396192971</c:v>
                </c:pt>
                <c:pt idx="17">
                  <c:v>8.6689791219821757</c:v>
                </c:pt>
                <c:pt idx="18">
                  <c:v>150.71745758266962</c:v>
                </c:pt>
                <c:pt idx="19">
                  <c:v>40.475470346235106</c:v>
                </c:pt>
                <c:pt idx="20">
                  <c:v>1.721561564698025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3-DC7A-4E2B-BF13-C368CBD5581D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invertIfNegative val="0"/>
          <c:dPt>
            <c:idx val="2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5-DC7A-4E2B-BF13-C368CBD5581D}"/>
              </c:ext>
            </c:extLst>
          </c:dPt>
          <c:dLbls>
            <c:dLbl>
              <c:idx val="21"/>
              <c:layout>
                <c:manualLayout>
                  <c:x val="0"/>
                  <c:y val="5.1649194579391461E-2"/>
                </c:manualLayout>
              </c:layout>
              <c:numFmt formatCode="&quot;$&quot;#,##0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DC7A-4E2B-BF13-C368CBD5581D}"/>
                </c:ext>
              </c:extLst>
            </c:dLbl>
            <c:dLbl>
              <c:idx val="22"/>
              <c:layout>
                <c:manualLayout>
                  <c:x val="0"/>
                  <c:y val="0"/>
                </c:manualLayout>
              </c:layout>
              <c:numFmt formatCode="&quot;$&quot;#,##0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YS Text Medium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DC7A-4E2B-BF13-C368CBD5581D}"/>
                </c:ext>
              </c:extLst>
            </c:dLbl>
            <c:dLbl>
              <c:idx val="23"/>
              <c:layout>
                <c:manualLayout>
                  <c:x val="0"/>
                  <c:y val="0"/>
                </c:manualLayout>
              </c:layout>
              <c:numFmt formatCode="&quot;$&quot;#,##0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YS Text Medium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DC7A-4E2B-BF13-C368CBD5581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$26</c:f>
              <c:numCache>
                <c:formatCode>General</c:formatCode>
                <c:ptCount val="26"/>
                <c:pt idx="0">
                  <c:v>62.870000000000005</c:v>
                </c:pt>
                <c:pt idx="1">
                  <c:v>50.629999999999995</c:v>
                </c:pt>
                <c:pt idx="2">
                  <c:v>56.65</c:v>
                </c:pt>
                <c:pt idx="3">
                  <c:v>15.4</c:v>
                </c:pt>
                <c:pt idx="4">
                  <c:v>38.92</c:v>
                </c:pt>
                <c:pt idx="5">
                  <c:v>62.870000000000005</c:v>
                </c:pt>
                <c:pt idx="6">
                  <c:v>50.629999999999995</c:v>
                </c:pt>
                <c:pt idx="7">
                  <c:v>56.65</c:v>
                </c:pt>
                <c:pt idx="8">
                  <c:v>15.4</c:v>
                </c:pt>
                <c:pt idx="9">
                  <c:v>38.92</c:v>
                </c:pt>
                <c:pt idx="10">
                  <c:v>65.31</c:v>
                </c:pt>
                <c:pt idx="11">
                  <c:v>26.900000000000002</c:v>
                </c:pt>
                <c:pt idx="12">
                  <c:v>60.17</c:v>
                </c:pt>
                <c:pt idx="13">
                  <c:v>62.3</c:v>
                </c:pt>
                <c:pt idx="14">
                  <c:v>65.31</c:v>
                </c:pt>
                <c:pt idx="15">
                  <c:v>26.900000000000002</c:v>
                </c:pt>
                <c:pt idx="16">
                  <c:v>60.17</c:v>
                </c:pt>
                <c:pt idx="17">
                  <c:v>27.57</c:v>
                </c:pt>
                <c:pt idx="18">
                  <c:v>70.78</c:v>
                </c:pt>
                <c:pt idx="19">
                  <c:v>73.2</c:v>
                </c:pt>
                <c:pt idx="20">
                  <c:v>62.3</c:v>
                </c:pt>
                <c:pt idx="21">
                  <c:v>27.57</c:v>
                </c:pt>
                <c:pt idx="22">
                  <c:v>70.78</c:v>
                </c:pt>
                <c:pt idx="23">
                  <c:v>73.2</c:v>
                </c:pt>
                <c:pt idx="24">
                  <c:v>69.069999999999993</c:v>
                </c:pt>
                <c:pt idx="25">
                  <c:v>69.069999999999993</c:v>
                </c:pt>
              </c:numCache>
            </c:numRef>
          </c:xVal>
          <c:yVal>
            <c:numRef>
              <c:f>Sheet1!$H$1:$H$26</c:f>
              <c:numCache>
                <c:formatCode>General</c:formatCode>
                <c:ptCount val="26"/>
                <c:pt idx="21">
                  <c:v>106.99590738899114</c:v>
                </c:pt>
                <c:pt idx="22">
                  <c:v>581.16725993636419</c:v>
                </c:pt>
                <c:pt idx="23">
                  <c:v>323.71247524900656</c:v>
                </c:pt>
                <c:pt idx="24">
                  <c:v>499.8612572336952</c:v>
                </c:pt>
              </c:numCache>
            </c:numRef>
          </c:yVal>
          <c:bubbleSize>
            <c:numRef>
              <c:f>Sheet1!$I$1:$I$26</c:f>
              <c:numCache>
                <c:formatCode>General</c:formatCode>
                <c:ptCount val="26"/>
                <c:pt idx="21" formatCode="&quot;$&quot;#\ ##0;&quot;$&quot;#\ ##0">
                  <c:v>2.1934161014743183</c:v>
                </c:pt>
                <c:pt idx="22" formatCode="&quot;$&quot;#\ ##0;&quot;$&quot;#\ ##0">
                  <c:v>95.60740179892845</c:v>
                </c:pt>
                <c:pt idx="23" formatCode="&quot;$&quot;#\ ##0;&quot;$&quot;#\ ##0">
                  <c:v>26.576794217943444</c:v>
                </c:pt>
                <c:pt idx="24">
                  <c:v>59.06053502402090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9-DC7A-4E2B-BF13-C368CBD5581D}"/>
            </c:ext>
          </c:extLst>
        </c:ser>
        <c:ser>
          <c:idx val="4"/>
          <c:order val="4"/>
          <c:spPr>
            <a:solidFill>
              <a:schemeClr val="bg2"/>
            </a:solidFill>
            <a:ln>
              <a:noFill/>
            </a:ln>
          </c:spPr>
          <c:invertIfNegative val="0"/>
          <c:dLbls>
            <c:dLbl>
              <c:idx val="25"/>
              <c:layout>
                <c:manualLayout>
                  <c:x val="0"/>
                  <c:y val="0"/>
                </c:manualLayout>
              </c:layout>
              <c:numFmt formatCode="&quot;$&quot;#,##0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YS Text Medium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DC7A-4E2B-BF13-C368CBD5581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$26</c:f>
              <c:numCache>
                <c:formatCode>General</c:formatCode>
                <c:ptCount val="26"/>
                <c:pt idx="0">
                  <c:v>62.870000000000005</c:v>
                </c:pt>
                <c:pt idx="1">
                  <c:v>50.629999999999995</c:v>
                </c:pt>
                <c:pt idx="2">
                  <c:v>56.65</c:v>
                </c:pt>
                <c:pt idx="3">
                  <c:v>15.4</c:v>
                </c:pt>
                <c:pt idx="4">
                  <c:v>38.92</c:v>
                </c:pt>
                <c:pt idx="5">
                  <c:v>62.870000000000005</c:v>
                </c:pt>
                <c:pt idx="6">
                  <c:v>50.629999999999995</c:v>
                </c:pt>
                <c:pt idx="7">
                  <c:v>56.65</c:v>
                </c:pt>
                <c:pt idx="8">
                  <c:v>15.4</c:v>
                </c:pt>
                <c:pt idx="9">
                  <c:v>38.92</c:v>
                </c:pt>
                <c:pt idx="10">
                  <c:v>65.31</c:v>
                </c:pt>
                <c:pt idx="11">
                  <c:v>26.900000000000002</c:v>
                </c:pt>
                <c:pt idx="12">
                  <c:v>60.17</c:v>
                </c:pt>
                <c:pt idx="13">
                  <c:v>62.3</c:v>
                </c:pt>
                <c:pt idx="14">
                  <c:v>65.31</c:v>
                </c:pt>
                <c:pt idx="15">
                  <c:v>26.900000000000002</c:v>
                </c:pt>
                <c:pt idx="16">
                  <c:v>60.17</c:v>
                </c:pt>
                <c:pt idx="17">
                  <c:v>27.57</c:v>
                </c:pt>
                <c:pt idx="18">
                  <c:v>70.78</c:v>
                </c:pt>
                <c:pt idx="19">
                  <c:v>73.2</c:v>
                </c:pt>
                <c:pt idx="20">
                  <c:v>62.3</c:v>
                </c:pt>
                <c:pt idx="21">
                  <c:v>27.57</c:v>
                </c:pt>
                <c:pt idx="22">
                  <c:v>70.78</c:v>
                </c:pt>
                <c:pt idx="23">
                  <c:v>73.2</c:v>
                </c:pt>
                <c:pt idx="24">
                  <c:v>69.069999999999993</c:v>
                </c:pt>
                <c:pt idx="25">
                  <c:v>69.069999999999993</c:v>
                </c:pt>
              </c:numCache>
            </c:numRef>
          </c:xVal>
          <c:yVal>
            <c:numRef>
              <c:f>Sheet1!$J$1:$J$26</c:f>
              <c:numCache>
                <c:formatCode>General</c:formatCode>
                <c:ptCount val="26"/>
                <c:pt idx="25">
                  <c:v>499.8612572336952</c:v>
                </c:pt>
              </c:numCache>
            </c:numRef>
          </c:yVal>
          <c:bubbleSize>
            <c:numRef>
              <c:f>Sheet1!$K$1:$K$26</c:f>
              <c:numCache>
                <c:formatCode>General</c:formatCode>
                <c:ptCount val="26"/>
                <c:pt idx="25" formatCode="&quot;$&quot;#\ ##0;&quot;$&quot;#\ ##0">
                  <c:v>41.35779172127868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B-DC7A-4E2B-BF13-C368CBD558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99"/>
        <c:showNegBubbles val="0"/>
        <c:axId val="1974805103"/>
        <c:axId val="1"/>
      </c:bubbleChart>
      <c:valAx>
        <c:axId val="1974805103"/>
        <c:scaling>
          <c:orientation val="minMax"/>
          <c:max val="1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2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639.692294806424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97480510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923282443188267E-2"/>
          <c:y val="0"/>
          <c:w val="0.9810458524166572"/>
          <c:h val="0.8756284673834587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никальные РК</c:v>
                </c:pt>
              </c:strCache>
            </c:strRef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356</c:f>
              <c:numCache>
                <c:formatCode>dd\.mm\.yyyy</c:formatCode>
                <c:ptCount val="355"/>
                <c:pt idx="0">
                  <c:v>45839</c:v>
                </c:pt>
                <c:pt idx="1">
                  <c:v>45840</c:v>
                </c:pt>
                <c:pt idx="2">
                  <c:v>45841</c:v>
                </c:pt>
                <c:pt idx="3">
                  <c:v>45842</c:v>
                </c:pt>
                <c:pt idx="4">
                  <c:v>45843</c:v>
                </c:pt>
                <c:pt idx="5">
                  <c:v>45844</c:v>
                </c:pt>
                <c:pt idx="6">
                  <c:v>45845</c:v>
                </c:pt>
                <c:pt idx="7">
                  <c:v>45846</c:v>
                </c:pt>
                <c:pt idx="8">
                  <c:v>45847</c:v>
                </c:pt>
                <c:pt idx="9">
                  <c:v>45848</c:v>
                </c:pt>
                <c:pt idx="10">
                  <c:v>45849</c:v>
                </c:pt>
                <c:pt idx="11">
                  <c:v>45850</c:v>
                </c:pt>
                <c:pt idx="12">
                  <c:v>45851</c:v>
                </c:pt>
                <c:pt idx="13">
                  <c:v>45852</c:v>
                </c:pt>
                <c:pt idx="14">
                  <c:v>45853</c:v>
                </c:pt>
                <c:pt idx="15">
                  <c:v>45854</c:v>
                </c:pt>
                <c:pt idx="16">
                  <c:v>45855</c:v>
                </c:pt>
                <c:pt idx="17">
                  <c:v>45856</c:v>
                </c:pt>
                <c:pt idx="18">
                  <c:v>45857</c:v>
                </c:pt>
                <c:pt idx="19">
                  <c:v>45858</c:v>
                </c:pt>
                <c:pt idx="20">
                  <c:v>45859</c:v>
                </c:pt>
                <c:pt idx="21">
                  <c:v>45860</c:v>
                </c:pt>
                <c:pt idx="22">
                  <c:v>45861</c:v>
                </c:pt>
                <c:pt idx="23">
                  <c:v>45862</c:v>
                </c:pt>
                <c:pt idx="24">
                  <c:v>45863</c:v>
                </c:pt>
                <c:pt idx="25">
                  <c:v>45864</c:v>
                </c:pt>
                <c:pt idx="26">
                  <c:v>45865</c:v>
                </c:pt>
                <c:pt idx="27">
                  <c:v>45866</c:v>
                </c:pt>
                <c:pt idx="28">
                  <c:v>45867</c:v>
                </c:pt>
                <c:pt idx="29">
                  <c:v>45868</c:v>
                </c:pt>
                <c:pt idx="30">
                  <c:v>45869</c:v>
                </c:pt>
                <c:pt idx="31">
                  <c:v>45870</c:v>
                </c:pt>
                <c:pt idx="32">
                  <c:v>45871</c:v>
                </c:pt>
                <c:pt idx="33">
                  <c:v>45872</c:v>
                </c:pt>
                <c:pt idx="34">
                  <c:v>45873</c:v>
                </c:pt>
                <c:pt idx="35">
                  <c:v>45874</c:v>
                </c:pt>
                <c:pt idx="36">
                  <c:v>45875</c:v>
                </c:pt>
                <c:pt idx="37">
                  <c:v>45876</c:v>
                </c:pt>
                <c:pt idx="38">
                  <c:v>45877</c:v>
                </c:pt>
                <c:pt idx="39">
                  <c:v>45878</c:v>
                </c:pt>
                <c:pt idx="40">
                  <c:v>45879</c:v>
                </c:pt>
                <c:pt idx="41">
                  <c:v>45880</c:v>
                </c:pt>
                <c:pt idx="42">
                  <c:v>45881</c:v>
                </c:pt>
                <c:pt idx="43">
                  <c:v>45882</c:v>
                </c:pt>
                <c:pt idx="44">
                  <c:v>45883</c:v>
                </c:pt>
                <c:pt idx="45">
                  <c:v>45884</c:v>
                </c:pt>
                <c:pt idx="46">
                  <c:v>45885</c:v>
                </c:pt>
                <c:pt idx="47">
                  <c:v>45886</c:v>
                </c:pt>
                <c:pt idx="48">
                  <c:v>45887</c:v>
                </c:pt>
                <c:pt idx="49">
                  <c:v>45888</c:v>
                </c:pt>
                <c:pt idx="50">
                  <c:v>45889</c:v>
                </c:pt>
                <c:pt idx="51">
                  <c:v>45890</c:v>
                </c:pt>
                <c:pt idx="52">
                  <c:v>45891</c:v>
                </c:pt>
                <c:pt idx="53">
                  <c:v>45892</c:v>
                </c:pt>
                <c:pt idx="54">
                  <c:v>45893</c:v>
                </c:pt>
                <c:pt idx="55">
                  <c:v>45894</c:v>
                </c:pt>
                <c:pt idx="56">
                  <c:v>45895</c:v>
                </c:pt>
                <c:pt idx="57">
                  <c:v>45896</c:v>
                </c:pt>
                <c:pt idx="58">
                  <c:v>45897</c:v>
                </c:pt>
                <c:pt idx="59">
                  <c:v>45898</c:v>
                </c:pt>
                <c:pt idx="60">
                  <c:v>45899</c:v>
                </c:pt>
                <c:pt idx="61">
                  <c:v>45900</c:v>
                </c:pt>
                <c:pt idx="62">
                  <c:v>45901</c:v>
                </c:pt>
                <c:pt idx="63">
                  <c:v>45902</c:v>
                </c:pt>
                <c:pt idx="64">
                  <c:v>45903</c:v>
                </c:pt>
                <c:pt idx="65">
                  <c:v>45904</c:v>
                </c:pt>
                <c:pt idx="66">
                  <c:v>45905</c:v>
                </c:pt>
                <c:pt idx="67">
                  <c:v>45906</c:v>
                </c:pt>
                <c:pt idx="68">
                  <c:v>45907</c:v>
                </c:pt>
                <c:pt idx="69">
                  <c:v>45908</c:v>
                </c:pt>
                <c:pt idx="70">
                  <c:v>45909</c:v>
                </c:pt>
                <c:pt idx="71">
                  <c:v>45910</c:v>
                </c:pt>
                <c:pt idx="72">
                  <c:v>45911</c:v>
                </c:pt>
                <c:pt idx="73">
                  <c:v>45912</c:v>
                </c:pt>
                <c:pt idx="74">
                  <c:v>45913</c:v>
                </c:pt>
                <c:pt idx="75">
                  <c:v>45914</c:v>
                </c:pt>
                <c:pt idx="76">
                  <c:v>45915</c:v>
                </c:pt>
                <c:pt idx="77">
                  <c:v>45916</c:v>
                </c:pt>
                <c:pt idx="78">
                  <c:v>45917</c:v>
                </c:pt>
                <c:pt idx="79">
                  <c:v>45918</c:v>
                </c:pt>
                <c:pt idx="80">
                  <c:v>45919</c:v>
                </c:pt>
                <c:pt idx="81">
                  <c:v>45920</c:v>
                </c:pt>
                <c:pt idx="82">
                  <c:v>45921</c:v>
                </c:pt>
                <c:pt idx="83">
                  <c:v>45922</c:v>
                </c:pt>
                <c:pt idx="84">
                  <c:v>45923</c:v>
                </c:pt>
                <c:pt idx="85">
                  <c:v>45924</c:v>
                </c:pt>
                <c:pt idx="86">
                  <c:v>45925</c:v>
                </c:pt>
                <c:pt idx="87">
                  <c:v>45926</c:v>
                </c:pt>
                <c:pt idx="88">
                  <c:v>45927</c:v>
                </c:pt>
                <c:pt idx="89">
                  <c:v>45928</c:v>
                </c:pt>
                <c:pt idx="90">
                  <c:v>45929</c:v>
                </c:pt>
                <c:pt idx="91">
                  <c:v>45930</c:v>
                </c:pt>
                <c:pt idx="92">
                  <c:v>45931</c:v>
                </c:pt>
                <c:pt idx="93">
                  <c:v>45932</c:v>
                </c:pt>
                <c:pt idx="94">
                  <c:v>45933</c:v>
                </c:pt>
                <c:pt idx="95">
                  <c:v>45934</c:v>
                </c:pt>
                <c:pt idx="96">
                  <c:v>45935</c:v>
                </c:pt>
                <c:pt idx="97">
                  <c:v>45936</c:v>
                </c:pt>
                <c:pt idx="98">
                  <c:v>45937</c:v>
                </c:pt>
                <c:pt idx="99">
                  <c:v>45938</c:v>
                </c:pt>
                <c:pt idx="100">
                  <c:v>45939</c:v>
                </c:pt>
                <c:pt idx="101">
                  <c:v>45940</c:v>
                </c:pt>
                <c:pt idx="102">
                  <c:v>45941</c:v>
                </c:pt>
                <c:pt idx="103">
                  <c:v>45942</c:v>
                </c:pt>
                <c:pt idx="104">
                  <c:v>45943</c:v>
                </c:pt>
                <c:pt idx="105">
                  <c:v>45944</c:v>
                </c:pt>
                <c:pt idx="106">
                  <c:v>45945</c:v>
                </c:pt>
                <c:pt idx="107">
                  <c:v>45946</c:v>
                </c:pt>
                <c:pt idx="108">
                  <c:v>45947</c:v>
                </c:pt>
                <c:pt idx="109">
                  <c:v>45948</c:v>
                </c:pt>
                <c:pt idx="110">
                  <c:v>45949</c:v>
                </c:pt>
                <c:pt idx="111">
                  <c:v>45950</c:v>
                </c:pt>
                <c:pt idx="112">
                  <c:v>45951</c:v>
                </c:pt>
                <c:pt idx="113">
                  <c:v>45952</c:v>
                </c:pt>
                <c:pt idx="114">
                  <c:v>45953</c:v>
                </c:pt>
                <c:pt idx="115">
                  <c:v>45954</c:v>
                </c:pt>
                <c:pt idx="116">
                  <c:v>45955</c:v>
                </c:pt>
                <c:pt idx="117">
                  <c:v>45956</c:v>
                </c:pt>
                <c:pt idx="118">
                  <c:v>45957</c:v>
                </c:pt>
                <c:pt idx="119">
                  <c:v>45958</c:v>
                </c:pt>
                <c:pt idx="120">
                  <c:v>45959</c:v>
                </c:pt>
                <c:pt idx="121">
                  <c:v>45960</c:v>
                </c:pt>
                <c:pt idx="122">
                  <c:v>45961</c:v>
                </c:pt>
                <c:pt idx="123">
                  <c:v>45962</c:v>
                </c:pt>
                <c:pt idx="124">
                  <c:v>45963</c:v>
                </c:pt>
                <c:pt idx="125">
                  <c:v>45964</c:v>
                </c:pt>
                <c:pt idx="126">
                  <c:v>45965</c:v>
                </c:pt>
                <c:pt idx="127">
                  <c:v>45966</c:v>
                </c:pt>
                <c:pt idx="128">
                  <c:v>45967</c:v>
                </c:pt>
                <c:pt idx="129">
                  <c:v>45968</c:v>
                </c:pt>
                <c:pt idx="130">
                  <c:v>45969</c:v>
                </c:pt>
                <c:pt idx="131">
                  <c:v>45970</c:v>
                </c:pt>
                <c:pt idx="132">
                  <c:v>45971</c:v>
                </c:pt>
                <c:pt idx="133">
                  <c:v>45972</c:v>
                </c:pt>
                <c:pt idx="134">
                  <c:v>45973</c:v>
                </c:pt>
                <c:pt idx="135">
                  <c:v>45974</c:v>
                </c:pt>
                <c:pt idx="136">
                  <c:v>45975</c:v>
                </c:pt>
                <c:pt idx="137">
                  <c:v>45976</c:v>
                </c:pt>
                <c:pt idx="138">
                  <c:v>45977</c:v>
                </c:pt>
                <c:pt idx="139">
                  <c:v>45978</c:v>
                </c:pt>
                <c:pt idx="140">
                  <c:v>45979</c:v>
                </c:pt>
                <c:pt idx="141">
                  <c:v>45980</c:v>
                </c:pt>
                <c:pt idx="142">
                  <c:v>45981</c:v>
                </c:pt>
                <c:pt idx="143">
                  <c:v>45982</c:v>
                </c:pt>
                <c:pt idx="144">
                  <c:v>45983</c:v>
                </c:pt>
                <c:pt idx="145">
                  <c:v>45984</c:v>
                </c:pt>
                <c:pt idx="146">
                  <c:v>45985</c:v>
                </c:pt>
                <c:pt idx="147">
                  <c:v>45986</c:v>
                </c:pt>
                <c:pt idx="148">
                  <c:v>45987</c:v>
                </c:pt>
                <c:pt idx="149">
                  <c:v>45988</c:v>
                </c:pt>
                <c:pt idx="150">
                  <c:v>45989</c:v>
                </c:pt>
                <c:pt idx="151">
                  <c:v>45990</c:v>
                </c:pt>
                <c:pt idx="152">
                  <c:v>45991</c:v>
                </c:pt>
                <c:pt idx="153">
                  <c:v>45992</c:v>
                </c:pt>
                <c:pt idx="154">
                  <c:v>45993</c:v>
                </c:pt>
                <c:pt idx="155">
                  <c:v>45994</c:v>
                </c:pt>
                <c:pt idx="156">
                  <c:v>45995</c:v>
                </c:pt>
                <c:pt idx="157">
                  <c:v>45996</c:v>
                </c:pt>
                <c:pt idx="158">
                  <c:v>45997</c:v>
                </c:pt>
                <c:pt idx="159">
                  <c:v>45998</c:v>
                </c:pt>
                <c:pt idx="160">
                  <c:v>45999</c:v>
                </c:pt>
                <c:pt idx="161">
                  <c:v>46000</c:v>
                </c:pt>
                <c:pt idx="162">
                  <c:v>46001</c:v>
                </c:pt>
                <c:pt idx="163">
                  <c:v>46002</c:v>
                </c:pt>
                <c:pt idx="164">
                  <c:v>46003</c:v>
                </c:pt>
                <c:pt idx="165">
                  <c:v>46004</c:v>
                </c:pt>
                <c:pt idx="166">
                  <c:v>46005</c:v>
                </c:pt>
                <c:pt idx="167">
                  <c:v>46006</c:v>
                </c:pt>
                <c:pt idx="168">
                  <c:v>46007</c:v>
                </c:pt>
                <c:pt idx="169">
                  <c:v>46008</c:v>
                </c:pt>
                <c:pt idx="170">
                  <c:v>46009</c:v>
                </c:pt>
                <c:pt idx="171">
                  <c:v>46010</c:v>
                </c:pt>
                <c:pt idx="172">
                  <c:v>46011</c:v>
                </c:pt>
                <c:pt idx="173">
                  <c:v>46012</c:v>
                </c:pt>
                <c:pt idx="174">
                  <c:v>46013</c:v>
                </c:pt>
                <c:pt idx="175">
                  <c:v>46014</c:v>
                </c:pt>
                <c:pt idx="176">
                  <c:v>46015</c:v>
                </c:pt>
                <c:pt idx="177">
                  <c:v>46016</c:v>
                </c:pt>
                <c:pt idx="178">
                  <c:v>46017</c:v>
                </c:pt>
                <c:pt idx="179">
                  <c:v>46018</c:v>
                </c:pt>
                <c:pt idx="180">
                  <c:v>46019</c:v>
                </c:pt>
                <c:pt idx="181">
                  <c:v>46020</c:v>
                </c:pt>
                <c:pt idx="182">
                  <c:v>46021</c:v>
                </c:pt>
                <c:pt idx="183">
                  <c:v>46022</c:v>
                </c:pt>
                <c:pt idx="184">
                  <c:v>46023</c:v>
                </c:pt>
                <c:pt idx="185">
                  <c:v>46024</c:v>
                </c:pt>
                <c:pt idx="186">
                  <c:v>46025</c:v>
                </c:pt>
                <c:pt idx="187">
                  <c:v>46026</c:v>
                </c:pt>
                <c:pt idx="188">
                  <c:v>46027</c:v>
                </c:pt>
                <c:pt idx="189">
                  <c:v>46028</c:v>
                </c:pt>
                <c:pt idx="190">
                  <c:v>46029</c:v>
                </c:pt>
                <c:pt idx="191">
                  <c:v>46030</c:v>
                </c:pt>
                <c:pt idx="192">
                  <c:v>46031</c:v>
                </c:pt>
                <c:pt idx="193">
                  <c:v>46032</c:v>
                </c:pt>
                <c:pt idx="194">
                  <c:v>46033</c:v>
                </c:pt>
                <c:pt idx="195">
                  <c:v>46034</c:v>
                </c:pt>
                <c:pt idx="196">
                  <c:v>46035</c:v>
                </c:pt>
                <c:pt idx="197">
                  <c:v>46036</c:v>
                </c:pt>
                <c:pt idx="198">
                  <c:v>46037</c:v>
                </c:pt>
                <c:pt idx="199">
                  <c:v>46038</c:v>
                </c:pt>
                <c:pt idx="200">
                  <c:v>46039</c:v>
                </c:pt>
                <c:pt idx="201">
                  <c:v>46040</c:v>
                </c:pt>
                <c:pt idx="202">
                  <c:v>46041</c:v>
                </c:pt>
                <c:pt idx="203">
                  <c:v>46042</c:v>
                </c:pt>
                <c:pt idx="204">
                  <c:v>46043</c:v>
                </c:pt>
                <c:pt idx="205">
                  <c:v>46044</c:v>
                </c:pt>
                <c:pt idx="206">
                  <c:v>46045</c:v>
                </c:pt>
                <c:pt idx="207">
                  <c:v>46046</c:v>
                </c:pt>
                <c:pt idx="208">
                  <c:v>46047</c:v>
                </c:pt>
                <c:pt idx="209">
                  <c:v>46048</c:v>
                </c:pt>
                <c:pt idx="210">
                  <c:v>46049</c:v>
                </c:pt>
                <c:pt idx="211">
                  <c:v>46050</c:v>
                </c:pt>
                <c:pt idx="212">
                  <c:v>46051</c:v>
                </c:pt>
                <c:pt idx="213">
                  <c:v>46052</c:v>
                </c:pt>
                <c:pt idx="214">
                  <c:v>46053</c:v>
                </c:pt>
                <c:pt idx="215">
                  <c:v>46054</c:v>
                </c:pt>
                <c:pt idx="216">
                  <c:v>46055</c:v>
                </c:pt>
                <c:pt idx="217">
                  <c:v>46056</c:v>
                </c:pt>
                <c:pt idx="218">
                  <c:v>46057</c:v>
                </c:pt>
                <c:pt idx="219">
                  <c:v>46058</c:v>
                </c:pt>
                <c:pt idx="220">
                  <c:v>46059</c:v>
                </c:pt>
                <c:pt idx="221">
                  <c:v>46060</c:v>
                </c:pt>
                <c:pt idx="222">
                  <c:v>46061</c:v>
                </c:pt>
                <c:pt idx="223">
                  <c:v>46062</c:v>
                </c:pt>
                <c:pt idx="224">
                  <c:v>46063</c:v>
                </c:pt>
                <c:pt idx="225">
                  <c:v>46064</c:v>
                </c:pt>
                <c:pt idx="226">
                  <c:v>46065</c:v>
                </c:pt>
                <c:pt idx="227">
                  <c:v>46066</c:v>
                </c:pt>
                <c:pt idx="228">
                  <c:v>46067</c:v>
                </c:pt>
                <c:pt idx="229">
                  <c:v>46068</c:v>
                </c:pt>
                <c:pt idx="230">
                  <c:v>46069</c:v>
                </c:pt>
                <c:pt idx="231">
                  <c:v>46070</c:v>
                </c:pt>
                <c:pt idx="232">
                  <c:v>46071</c:v>
                </c:pt>
                <c:pt idx="233">
                  <c:v>46072</c:v>
                </c:pt>
                <c:pt idx="234">
                  <c:v>46073</c:v>
                </c:pt>
                <c:pt idx="235">
                  <c:v>46074</c:v>
                </c:pt>
                <c:pt idx="236">
                  <c:v>46075</c:v>
                </c:pt>
                <c:pt idx="237">
                  <c:v>46076</c:v>
                </c:pt>
                <c:pt idx="238">
                  <c:v>46077</c:v>
                </c:pt>
                <c:pt idx="239">
                  <c:v>46078</c:v>
                </c:pt>
                <c:pt idx="240">
                  <c:v>46079</c:v>
                </c:pt>
                <c:pt idx="241">
                  <c:v>46080</c:v>
                </c:pt>
                <c:pt idx="242">
                  <c:v>46081</c:v>
                </c:pt>
                <c:pt idx="243">
                  <c:v>46082</c:v>
                </c:pt>
                <c:pt idx="244">
                  <c:v>46083</c:v>
                </c:pt>
                <c:pt idx="245">
                  <c:v>46084</c:v>
                </c:pt>
                <c:pt idx="246">
                  <c:v>46085</c:v>
                </c:pt>
                <c:pt idx="247">
                  <c:v>46086</c:v>
                </c:pt>
                <c:pt idx="248">
                  <c:v>46087</c:v>
                </c:pt>
                <c:pt idx="249">
                  <c:v>46088</c:v>
                </c:pt>
                <c:pt idx="250">
                  <c:v>46089</c:v>
                </c:pt>
                <c:pt idx="251">
                  <c:v>46090</c:v>
                </c:pt>
                <c:pt idx="252">
                  <c:v>46091</c:v>
                </c:pt>
                <c:pt idx="253">
                  <c:v>46092</c:v>
                </c:pt>
                <c:pt idx="254">
                  <c:v>46093</c:v>
                </c:pt>
                <c:pt idx="255">
                  <c:v>46094</c:v>
                </c:pt>
                <c:pt idx="256">
                  <c:v>46095</c:v>
                </c:pt>
                <c:pt idx="257">
                  <c:v>46096</c:v>
                </c:pt>
                <c:pt idx="258">
                  <c:v>46097</c:v>
                </c:pt>
                <c:pt idx="259">
                  <c:v>46098</c:v>
                </c:pt>
                <c:pt idx="260">
                  <c:v>46099</c:v>
                </c:pt>
                <c:pt idx="261">
                  <c:v>46100</c:v>
                </c:pt>
                <c:pt idx="262">
                  <c:v>46101</c:v>
                </c:pt>
                <c:pt idx="263">
                  <c:v>46102</c:v>
                </c:pt>
                <c:pt idx="264">
                  <c:v>46103</c:v>
                </c:pt>
                <c:pt idx="265">
                  <c:v>46104</c:v>
                </c:pt>
                <c:pt idx="266">
                  <c:v>46105</c:v>
                </c:pt>
                <c:pt idx="267">
                  <c:v>46106</c:v>
                </c:pt>
                <c:pt idx="268">
                  <c:v>46107</c:v>
                </c:pt>
                <c:pt idx="269">
                  <c:v>46108</c:v>
                </c:pt>
                <c:pt idx="270">
                  <c:v>46109</c:v>
                </c:pt>
                <c:pt idx="271">
                  <c:v>46110</c:v>
                </c:pt>
                <c:pt idx="272">
                  <c:v>46111</c:v>
                </c:pt>
                <c:pt idx="273">
                  <c:v>46112</c:v>
                </c:pt>
                <c:pt idx="274">
                  <c:v>46113</c:v>
                </c:pt>
                <c:pt idx="275">
                  <c:v>46114</c:v>
                </c:pt>
                <c:pt idx="276">
                  <c:v>46115</c:v>
                </c:pt>
                <c:pt idx="277">
                  <c:v>46116</c:v>
                </c:pt>
                <c:pt idx="278">
                  <c:v>46117</c:v>
                </c:pt>
                <c:pt idx="279">
                  <c:v>46118</c:v>
                </c:pt>
                <c:pt idx="280">
                  <c:v>46119</c:v>
                </c:pt>
                <c:pt idx="281">
                  <c:v>46120</c:v>
                </c:pt>
                <c:pt idx="282">
                  <c:v>46121</c:v>
                </c:pt>
                <c:pt idx="283">
                  <c:v>46122</c:v>
                </c:pt>
                <c:pt idx="284">
                  <c:v>46123</c:v>
                </c:pt>
                <c:pt idx="285">
                  <c:v>46124</c:v>
                </c:pt>
                <c:pt idx="286">
                  <c:v>46125</c:v>
                </c:pt>
                <c:pt idx="287">
                  <c:v>46126</c:v>
                </c:pt>
                <c:pt idx="288">
                  <c:v>46127</c:v>
                </c:pt>
                <c:pt idx="289">
                  <c:v>46128</c:v>
                </c:pt>
                <c:pt idx="290">
                  <c:v>46129</c:v>
                </c:pt>
                <c:pt idx="291">
                  <c:v>46130</c:v>
                </c:pt>
                <c:pt idx="292">
                  <c:v>46131</c:v>
                </c:pt>
                <c:pt idx="293">
                  <c:v>46132</c:v>
                </c:pt>
                <c:pt idx="294">
                  <c:v>46134</c:v>
                </c:pt>
                <c:pt idx="295">
                  <c:v>46135</c:v>
                </c:pt>
                <c:pt idx="296">
                  <c:v>46136</c:v>
                </c:pt>
                <c:pt idx="297">
                  <c:v>46137</c:v>
                </c:pt>
                <c:pt idx="298">
                  <c:v>46138</c:v>
                </c:pt>
                <c:pt idx="299">
                  <c:v>46139</c:v>
                </c:pt>
                <c:pt idx="300">
                  <c:v>46140</c:v>
                </c:pt>
                <c:pt idx="301">
                  <c:v>46141</c:v>
                </c:pt>
                <c:pt idx="302">
                  <c:v>46142</c:v>
                </c:pt>
                <c:pt idx="303">
                  <c:v>46143</c:v>
                </c:pt>
                <c:pt idx="304">
                  <c:v>46144</c:v>
                </c:pt>
                <c:pt idx="305">
                  <c:v>46145</c:v>
                </c:pt>
                <c:pt idx="306">
                  <c:v>46146</c:v>
                </c:pt>
                <c:pt idx="307">
                  <c:v>46147</c:v>
                </c:pt>
                <c:pt idx="308">
                  <c:v>46148</c:v>
                </c:pt>
                <c:pt idx="309">
                  <c:v>46149</c:v>
                </c:pt>
                <c:pt idx="310">
                  <c:v>46150</c:v>
                </c:pt>
                <c:pt idx="311">
                  <c:v>46151</c:v>
                </c:pt>
                <c:pt idx="312">
                  <c:v>46152</c:v>
                </c:pt>
                <c:pt idx="313">
                  <c:v>46153</c:v>
                </c:pt>
                <c:pt idx="314">
                  <c:v>46154</c:v>
                </c:pt>
                <c:pt idx="315">
                  <c:v>46155</c:v>
                </c:pt>
                <c:pt idx="316">
                  <c:v>46156</c:v>
                </c:pt>
                <c:pt idx="317">
                  <c:v>46157</c:v>
                </c:pt>
                <c:pt idx="318">
                  <c:v>46158</c:v>
                </c:pt>
                <c:pt idx="319">
                  <c:v>46159</c:v>
                </c:pt>
                <c:pt idx="320">
                  <c:v>46160</c:v>
                </c:pt>
                <c:pt idx="321">
                  <c:v>46161</c:v>
                </c:pt>
                <c:pt idx="322">
                  <c:v>46162</c:v>
                </c:pt>
                <c:pt idx="323">
                  <c:v>46163</c:v>
                </c:pt>
                <c:pt idx="324">
                  <c:v>46164</c:v>
                </c:pt>
                <c:pt idx="325">
                  <c:v>46165</c:v>
                </c:pt>
                <c:pt idx="326">
                  <c:v>46166</c:v>
                </c:pt>
                <c:pt idx="327">
                  <c:v>46167</c:v>
                </c:pt>
                <c:pt idx="328">
                  <c:v>46168</c:v>
                </c:pt>
                <c:pt idx="329">
                  <c:v>46169</c:v>
                </c:pt>
                <c:pt idx="330">
                  <c:v>46170</c:v>
                </c:pt>
                <c:pt idx="331">
                  <c:v>46171</c:v>
                </c:pt>
                <c:pt idx="332">
                  <c:v>46172</c:v>
                </c:pt>
                <c:pt idx="333">
                  <c:v>46173</c:v>
                </c:pt>
                <c:pt idx="334">
                  <c:v>46174</c:v>
                </c:pt>
                <c:pt idx="335">
                  <c:v>46175</c:v>
                </c:pt>
                <c:pt idx="336">
                  <c:v>46176</c:v>
                </c:pt>
                <c:pt idx="337">
                  <c:v>46177</c:v>
                </c:pt>
                <c:pt idx="338">
                  <c:v>46178</c:v>
                </c:pt>
                <c:pt idx="339">
                  <c:v>46179</c:v>
                </c:pt>
                <c:pt idx="340">
                  <c:v>46180</c:v>
                </c:pt>
                <c:pt idx="341">
                  <c:v>46181</c:v>
                </c:pt>
                <c:pt idx="342">
                  <c:v>46182</c:v>
                </c:pt>
                <c:pt idx="343">
                  <c:v>46183</c:v>
                </c:pt>
                <c:pt idx="344">
                  <c:v>46184</c:v>
                </c:pt>
                <c:pt idx="345">
                  <c:v>46185</c:v>
                </c:pt>
                <c:pt idx="346">
                  <c:v>46186</c:v>
                </c:pt>
                <c:pt idx="347">
                  <c:v>46187</c:v>
                </c:pt>
                <c:pt idx="348">
                  <c:v>46188</c:v>
                </c:pt>
                <c:pt idx="349">
                  <c:v>46189</c:v>
                </c:pt>
                <c:pt idx="350">
                  <c:v>46190</c:v>
                </c:pt>
                <c:pt idx="351">
                  <c:v>46191</c:v>
                </c:pt>
                <c:pt idx="352">
                  <c:v>46192</c:v>
                </c:pt>
                <c:pt idx="353">
                  <c:v>46193</c:v>
                </c:pt>
                <c:pt idx="354">
                  <c:v>46194</c:v>
                </c:pt>
              </c:numCache>
            </c:numRef>
          </c:cat>
          <c:val>
            <c:numRef>
              <c:f>Лист1!$B$2:$B$356</c:f>
              <c:numCache>
                <c:formatCode>General</c:formatCode>
                <c:ptCount val="355"/>
                <c:pt idx="0">
                  <c:v>32</c:v>
                </c:pt>
                <c:pt idx="1">
                  <c:v>30</c:v>
                </c:pt>
                <c:pt idx="2">
                  <c:v>33</c:v>
                </c:pt>
                <c:pt idx="3">
                  <c:v>33</c:v>
                </c:pt>
                <c:pt idx="4">
                  <c:v>33</c:v>
                </c:pt>
                <c:pt idx="5">
                  <c:v>32</c:v>
                </c:pt>
                <c:pt idx="6">
                  <c:v>35</c:v>
                </c:pt>
                <c:pt idx="7">
                  <c:v>38</c:v>
                </c:pt>
                <c:pt idx="8">
                  <c:v>39</c:v>
                </c:pt>
                <c:pt idx="9">
                  <c:v>40</c:v>
                </c:pt>
                <c:pt idx="10">
                  <c:v>42</c:v>
                </c:pt>
                <c:pt idx="11">
                  <c:v>41</c:v>
                </c:pt>
                <c:pt idx="12">
                  <c:v>41</c:v>
                </c:pt>
                <c:pt idx="13">
                  <c:v>45</c:v>
                </c:pt>
                <c:pt idx="14">
                  <c:v>49</c:v>
                </c:pt>
                <c:pt idx="15">
                  <c:v>49</c:v>
                </c:pt>
                <c:pt idx="16">
                  <c:v>53</c:v>
                </c:pt>
                <c:pt idx="17">
                  <c:v>56</c:v>
                </c:pt>
                <c:pt idx="18">
                  <c:v>56</c:v>
                </c:pt>
                <c:pt idx="19">
                  <c:v>55</c:v>
                </c:pt>
                <c:pt idx="20">
                  <c:v>62</c:v>
                </c:pt>
                <c:pt idx="21">
                  <c:v>62</c:v>
                </c:pt>
                <c:pt idx="22">
                  <c:v>62</c:v>
                </c:pt>
                <c:pt idx="23">
                  <c:v>65</c:v>
                </c:pt>
                <c:pt idx="24">
                  <c:v>64</c:v>
                </c:pt>
                <c:pt idx="25">
                  <c:v>63</c:v>
                </c:pt>
                <c:pt idx="26">
                  <c:v>63</c:v>
                </c:pt>
                <c:pt idx="27">
                  <c:v>58</c:v>
                </c:pt>
                <c:pt idx="28">
                  <c:v>64</c:v>
                </c:pt>
                <c:pt idx="29">
                  <c:v>62</c:v>
                </c:pt>
                <c:pt idx="30">
                  <c:v>62</c:v>
                </c:pt>
                <c:pt idx="31">
                  <c:v>68</c:v>
                </c:pt>
                <c:pt idx="32">
                  <c:v>66</c:v>
                </c:pt>
                <c:pt idx="33">
                  <c:v>68</c:v>
                </c:pt>
                <c:pt idx="34">
                  <c:v>76</c:v>
                </c:pt>
                <c:pt idx="35">
                  <c:v>77</c:v>
                </c:pt>
                <c:pt idx="36">
                  <c:v>75</c:v>
                </c:pt>
                <c:pt idx="37">
                  <c:v>78</c:v>
                </c:pt>
                <c:pt idx="38">
                  <c:v>77</c:v>
                </c:pt>
                <c:pt idx="39">
                  <c:v>77</c:v>
                </c:pt>
                <c:pt idx="40">
                  <c:v>76</c:v>
                </c:pt>
                <c:pt idx="41">
                  <c:v>89</c:v>
                </c:pt>
                <c:pt idx="42">
                  <c:v>92</c:v>
                </c:pt>
                <c:pt idx="43">
                  <c:v>93</c:v>
                </c:pt>
                <c:pt idx="44">
                  <c:v>99</c:v>
                </c:pt>
                <c:pt idx="45">
                  <c:v>91</c:v>
                </c:pt>
                <c:pt idx="46">
                  <c:v>86</c:v>
                </c:pt>
                <c:pt idx="47">
                  <c:v>87</c:v>
                </c:pt>
                <c:pt idx="48">
                  <c:v>89</c:v>
                </c:pt>
                <c:pt idx="49">
                  <c:v>90</c:v>
                </c:pt>
                <c:pt idx="50">
                  <c:v>92</c:v>
                </c:pt>
                <c:pt idx="51">
                  <c:v>92</c:v>
                </c:pt>
                <c:pt idx="52">
                  <c:v>94</c:v>
                </c:pt>
                <c:pt idx="53">
                  <c:v>89</c:v>
                </c:pt>
                <c:pt idx="54">
                  <c:v>85</c:v>
                </c:pt>
                <c:pt idx="55">
                  <c:v>87</c:v>
                </c:pt>
                <c:pt idx="56">
                  <c:v>91</c:v>
                </c:pt>
                <c:pt idx="57">
                  <c:v>91</c:v>
                </c:pt>
                <c:pt idx="58">
                  <c:v>92</c:v>
                </c:pt>
                <c:pt idx="59">
                  <c:v>95</c:v>
                </c:pt>
                <c:pt idx="60">
                  <c:v>92</c:v>
                </c:pt>
                <c:pt idx="61">
                  <c:v>82</c:v>
                </c:pt>
                <c:pt idx="62">
                  <c:v>84</c:v>
                </c:pt>
                <c:pt idx="63">
                  <c:v>94</c:v>
                </c:pt>
                <c:pt idx="64">
                  <c:v>100</c:v>
                </c:pt>
                <c:pt idx="65">
                  <c:v>103</c:v>
                </c:pt>
                <c:pt idx="66">
                  <c:v>106</c:v>
                </c:pt>
                <c:pt idx="67">
                  <c:v>102</c:v>
                </c:pt>
                <c:pt idx="68">
                  <c:v>101</c:v>
                </c:pt>
                <c:pt idx="69">
                  <c:v>125</c:v>
                </c:pt>
                <c:pt idx="70">
                  <c:v>128</c:v>
                </c:pt>
                <c:pt idx="71">
                  <c:v>129</c:v>
                </c:pt>
                <c:pt idx="72">
                  <c:v>130</c:v>
                </c:pt>
                <c:pt idx="73">
                  <c:v>131</c:v>
                </c:pt>
                <c:pt idx="74">
                  <c:v>128</c:v>
                </c:pt>
                <c:pt idx="75">
                  <c:v>127</c:v>
                </c:pt>
                <c:pt idx="76">
                  <c:v>139</c:v>
                </c:pt>
                <c:pt idx="77">
                  <c:v>142</c:v>
                </c:pt>
                <c:pt idx="78">
                  <c:v>152</c:v>
                </c:pt>
                <c:pt idx="79">
                  <c:v>157</c:v>
                </c:pt>
                <c:pt idx="80">
                  <c:v>158</c:v>
                </c:pt>
                <c:pt idx="81">
                  <c:v>156</c:v>
                </c:pt>
                <c:pt idx="82">
                  <c:v>156</c:v>
                </c:pt>
                <c:pt idx="83">
                  <c:v>159</c:v>
                </c:pt>
                <c:pt idx="84">
                  <c:v>163</c:v>
                </c:pt>
                <c:pt idx="85">
                  <c:v>162</c:v>
                </c:pt>
                <c:pt idx="86">
                  <c:v>161</c:v>
                </c:pt>
                <c:pt idx="87">
                  <c:v>162</c:v>
                </c:pt>
                <c:pt idx="88">
                  <c:v>163</c:v>
                </c:pt>
                <c:pt idx="89">
                  <c:v>163</c:v>
                </c:pt>
                <c:pt idx="90">
                  <c:v>153</c:v>
                </c:pt>
                <c:pt idx="91">
                  <c:v>153</c:v>
                </c:pt>
                <c:pt idx="92">
                  <c:v>120</c:v>
                </c:pt>
                <c:pt idx="93">
                  <c:v>135</c:v>
                </c:pt>
                <c:pt idx="94">
                  <c:v>148</c:v>
                </c:pt>
                <c:pt idx="95">
                  <c:v>153</c:v>
                </c:pt>
                <c:pt idx="96">
                  <c:v>152</c:v>
                </c:pt>
                <c:pt idx="97">
                  <c:v>157</c:v>
                </c:pt>
                <c:pt idx="98">
                  <c:v>164</c:v>
                </c:pt>
                <c:pt idx="99">
                  <c:v>171</c:v>
                </c:pt>
                <c:pt idx="100">
                  <c:v>176</c:v>
                </c:pt>
                <c:pt idx="101">
                  <c:v>178</c:v>
                </c:pt>
                <c:pt idx="102">
                  <c:v>178</c:v>
                </c:pt>
                <c:pt idx="103">
                  <c:v>174</c:v>
                </c:pt>
                <c:pt idx="104">
                  <c:v>176</c:v>
                </c:pt>
                <c:pt idx="105">
                  <c:v>182</c:v>
                </c:pt>
                <c:pt idx="106">
                  <c:v>192</c:v>
                </c:pt>
                <c:pt idx="107">
                  <c:v>182</c:v>
                </c:pt>
                <c:pt idx="108">
                  <c:v>176</c:v>
                </c:pt>
                <c:pt idx="109">
                  <c:v>170</c:v>
                </c:pt>
                <c:pt idx="110">
                  <c:v>172</c:v>
                </c:pt>
                <c:pt idx="111">
                  <c:v>182</c:v>
                </c:pt>
                <c:pt idx="112">
                  <c:v>191</c:v>
                </c:pt>
                <c:pt idx="113">
                  <c:v>192</c:v>
                </c:pt>
                <c:pt idx="114">
                  <c:v>195</c:v>
                </c:pt>
                <c:pt idx="115">
                  <c:v>193</c:v>
                </c:pt>
                <c:pt idx="116">
                  <c:v>193</c:v>
                </c:pt>
                <c:pt idx="117">
                  <c:v>192</c:v>
                </c:pt>
                <c:pt idx="118">
                  <c:v>197</c:v>
                </c:pt>
                <c:pt idx="119">
                  <c:v>198</c:v>
                </c:pt>
                <c:pt idx="120">
                  <c:v>198</c:v>
                </c:pt>
                <c:pt idx="121">
                  <c:v>197</c:v>
                </c:pt>
                <c:pt idx="122">
                  <c:v>185</c:v>
                </c:pt>
                <c:pt idx="123">
                  <c:v>148</c:v>
                </c:pt>
                <c:pt idx="124">
                  <c:v>154</c:v>
                </c:pt>
                <c:pt idx="125">
                  <c:v>129</c:v>
                </c:pt>
                <c:pt idx="126">
                  <c:v>129</c:v>
                </c:pt>
                <c:pt idx="127">
                  <c:v>135</c:v>
                </c:pt>
                <c:pt idx="128">
                  <c:v>141</c:v>
                </c:pt>
                <c:pt idx="129">
                  <c:v>149</c:v>
                </c:pt>
                <c:pt idx="130">
                  <c:v>162</c:v>
                </c:pt>
                <c:pt idx="131">
                  <c:v>166</c:v>
                </c:pt>
                <c:pt idx="132">
                  <c:v>165</c:v>
                </c:pt>
                <c:pt idx="133">
                  <c:v>180</c:v>
                </c:pt>
                <c:pt idx="134">
                  <c:v>189</c:v>
                </c:pt>
                <c:pt idx="135">
                  <c:v>205</c:v>
                </c:pt>
                <c:pt idx="136">
                  <c:v>210</c:v>
                </c:pt>
                <c:pt idx="137">
                  <c:v>202</c:v>
                </c:pt>
                <c:pt idx="138">
                  <c:v>197</c:v>
                </c:pt>
                <c:pt idx="139">
                  <c:v>203</c:v>
                </c:pt>
                <c:pt idx="140">
                  <c:v>213</c:v>
                </c:pt>
                <c:pt idx="141">
                  <c:v>211</c:v>
                </c:pt>
                <c:pt idx="142">
                  <c:v>216</c:v>
                </c:pt>
                <c:pt idx="143">
                  <c:v>231</c:v>
                </c:pt>
                <c:pt idx="144">
                  <c:v>233</c:v>
                </c:pt>
                <c:pt idx="145">
                  <c:v>223</c:v>
                </c:pt>
                <c:pt idx="146">
                  <c:v>222</c:v>
                </c:pt>
                <c:pt idx="147">
                  <c:v>235</c:v>
                </c:pt>
                <c:pt idx="148">
                  <c:v>241</c:v>
                </c:pt>
                <c:pt idx="149">
                  <c:v>239</c:v>
                </c:pt>
                <c:pt idx="150">
                  <c:v>246</c:v>
                </c:pt>
                <c:pt idx="151">
                  <c:v>237</c:v>
                </c:pt>
                <c:pt idx="152">
                  <c:v>231</c:v>
                </c:pt>
                <c:pt idx="153">
                  <c:v>175</c:v>
                </c:pt>
                <c:pt idx="154">
                  <c:v>183</c:v>
                </c:pt>
                <c:pt idx="155">
                  <c:v>188</c:v>
                </c:pt>
                <c:pt idx="156">
                  <c:v>192</c:v>
                </c:pt>
                <c:pt idx="157">
                  <c:v>200</c:v>
                </c:pt>
                <c:pt idx="158">
                  <c:v>200</c:v>
                </c:pt>
                <c:pt idx="159">
                  <c:v>197</c:v>
                </c:pt>
                <c:pt idx="160">
                  <c:v>200</c:v>
                </c:pt>
                <c:pt idx="161">
                  <c:v>208</c:v>
                </c:pt>
                <c:pt idx="162">
                  <c:v>218</c:v>
                </c:pt>
                <c:pt idx="163">
                  <c:v>220</c:v>
                </c:pt>
                <c:pt idx="164">
                  <c:v>218</c:v>
                </c:pt>
                <c:pt idx="165">
                  <c:v>214</c:v>
                </c:pt>
                <c:pt idx="166">
                  <c:v>205</c:v>
                </c:pt>
                <c:pt idx="167">
                  <c:v>203</c:v>
                </c:pt>
                <c:pt idx="168">
                  <c:v>215</c:v>
                </c:pt>
                <c:pt idx="169">
                  <c:v>220</c:v>
                </c:pt>
                <c:pt idx="170">
                  <c:v>232</c:v>
                </c:pt>
                <c:pt idx="171">
                  <c:v>238</c:v>
                </c:pt>
                <c:pt idx="172">
                  <c:v>234</c:v>
                </c:pt>
                <c:pt idx="173">
                  <c:v>227</c:v>
                </c:pt>
                <c:pt idx="174">
                  <c:v>212</c:v>
                </c:pt>
                <c:pt idx="175">
                  <c:v>218</c:v>
                </c:pt>
                <c:pt idx="176">
                  <c:v>224</c:v>
                </c:pt>
                <c:pt idx="177">
                  <c:v>236</c:v>
                </c:pt>
                <c:pt idx="178">
                  <c:v>233</c:v>
                </c:pt>
                <c:pt idx="179">
                  <c:v>227</c:v>
                </c:pt>
                <c:pt idx="180">
                  <c:v>220</c:v>
                </c:pt>
                <c:pt idx="181">
                  <c:v>207</c:v>
                </c:pt>
                <c:pt idx="182">
                  <c:v>212</c:v>
                </c:pt>
                <c:pt idx="183">
                  <c:v>192</c:v>
                </c:pt>
                <c:pt idx="184">
                  <c:v>161</c:v>
                </c:pt>
                <c:pt idx="185">
                  <c:v>170</c:v>
                </c:pt>
                <c:pt idx="186">
                  <c:v>166</c:v>
                </c:pt>
                <c:pt idx="187">
                  <c:v>164</c:v>
                </c:pt>
                <c:pt idx="188">
                  <c:v>174</c:v>
                </c:pt>
                <c:pt idx="189">
                  <c:v>173</c:v>
                </c:pt>
                <c:pt idx="190">
                  <c:v>174</c:v>
                </c:pt>
                <c:pt idx="191">
                  <c:v>176</c:v>
                </c:pt>
                <c:pt idx="192">
                  <c:v>176</c:v>
                </c:pt>
                <c:pt idx="193">
                  <c:v>174</c:v>
                </c:pt>
                <c:pt idx="194">
                  <c:v>171</c:v>
                </c:pt>
                <c:pt idx="195">
                  <c:v>154</c:v>
                </c:pt>
                <c:pt idx="196">
                  <c:v>164</c:v>
                </c:pt>
                <c:pt idx="197">
                  <c:v>176</c:v>
                </c:pt>
                <c:pt idx="198">
                  <c:v>177</c:v>
                </c:pt>
                <c:pt idx="199">
                  <c:v>185</c:v>
                </c:pt>
                <c:pt idx="200">
                  <c:v>181</c:v>
                </c:pt>
                <c:pt idx="201">
                  <c:v>178</c:v>
                </c:pt>
                <c:pt idx="202">
                  <c:v>185</c:v>
                </c:pt>
                <c:pt idx="203">
                  <c:v>197</c:v>
                </c:pt>
                <c:pt idx="204">
                  <c:v>205</c:v>
                </c:pt>
                <c:pt idx="205">
                  <c:v>210</c:v>
                </c:pt>
                <c:pt idx="206">
                  <c:v>212</c:v>
                </c:pt>
                <c:pt idx="207">
                  <c:v>200</c:v>
                </c:pt>
                <c:pt idx="208">
                  <c:v>201</c:v>
                </c:pt>
                <c:pt idx="209">
                  <c:v>200</c:v>
                </c:pt>
                <c:pt idx="210">
                  <c:v>202</c:v>
                </c:pt>
                <c:pt idx="211">
                  <c:v>209</c:v>
                </c:pt>
                <c:pt idx="212">
                  <c:v>207</c:v>
                </c:pt>
                <c:pt idx="213">
                  <c:v>186</c:v>
                </c:pt>
                <c:pt idx="214">
                  <c:v>176</c:v>
                </c:pt>
                <c:pt idx="215">
                  <c:v>110</c:v>
                </c:pt>
                <c:pt idx="216">
                  <c:v>130</c:v>
                </c:pt>
                <c:pt idx="217">
                  <c:v>146</c:v>
                </c:pt>
                <c:pt idx="218">
                  <c:v>156</c:v>
                </c:pt>
                <c:pt idx="219">
                  <c:v>171</c:v>
                </c:pt>
                <c:pt idx="220">
                  <c:v>179</c:v>
                </c:pt>
                <c:pt idx="221">
                  <c:v>184</c:v>
                </c:pt>
                <c:pt idx="222">
                  <c:v>184</c:v>
                </c:pt>
                <c:pt idx="223">
                  <c:v>182</c:v>
                </c:pt>
                <c:pt idx="224">
                  <c:v>189</c:v>
                </c:pt>
                <c:pt idx="225">
                  <c:v>211</c:v>
                </c:pt>
                <c:pt idx="226">
                  <c:v>220</c:v>
                </c:pt>
                <c:pt idx="227">
                  <c:v>227</c:v>
                </c:pt>
                <c:pt idx="228">
                  <c:v>215</c:v>
                </c:pt>
                <c:pt idx="229">
                  <c:v>206</c:v>
                </c:pt>
                <c:pt idx="230">
                  <c:v>218</c:v>
                </c:pt>
                <c:pt idx="231">
                  <c:v>244</c:v>
                </c:pt>
                <c:pt idx="232">
                  <c:v>262</c:v>
                </c:pt>
                <c:pt idx="233">
                  <c:v>281</c:v>
                </c:pt>
                <c:pt idx="234">
                  <c:v>294</c:v>
                </c:pt>
                <c:pt idx="235">
                  <c:v>273</c:v>
                </c:pt>
                <c:pt idx="236">
                  <c:v>269</c:v>
                </c:pt>
                <c:pt idx="237">
                  <c:v>254</c:v>
                </c:pt>
                <c:pt idx="238">
                  <c:v>286</c:v>
                </c:pt>
                <c:pt idx="239">
                  <c:v>294</c:v>
                </c:pt>
                <c:pt idx="240">
                  <c:v>299</c:v>
                </c:pt>
                <c:pt idx="241">
                  <c:v>304</c:v>
                </c:pt>
                <c:pt idx="242">
                  <c:v>289</c:v>
                </c:pt>
                <c:pt idx="243">
                  <c:v>200</c:v>
                </c:pt>
                <c:pt idx="244">
                  <c:v>245</c:v>
                </c:pt>
                <c:pt idx="245">
                  <c:v>278</c:v>
                </c:pt>
                <c:pt idx="246">
                  <c:v>291</c:v>
                </c:pt>
                <c:pt idx="247">
                  <c:v>297</c:v>
                </c:pt>
                <c:pt idx="248">
                  <c:v>286</c:v>
                </c:pt>
                <c:pt idx="249">
                  <c:v>281</c:v>
                </c:pt>
                <c:pt idx="250">
                  <c:v>272</c:v>
                </c:pt>
                <c:pt idx="251">
                  <c:v>270</c:v>
                </c:pt>
                <c:pt idx="252">
                  <c:v>287</c:v>
                </c:pt>
                <c:pt idx="253">
                  <c:v>295</c:v>
                </c:pt>
                <c:pt idx="254">
                  <c:v>308</c:v>
                </c:pt>
                <c:pt idx="255">
                  <c:v>317</c:v>
                </c:pt>
                <c:pt idx="256">
                  <c:v>317</c:v>
                </c:pt>
                <c:pt idx="257">
                  <c:v>311</c:v>
                </c:pt>
                <c:pt idx="258">
                  <c:v>317</c:v>
                </c:pt>
                <c:pt idx="259">
                  <c:v>335</c:v>
                </c:pt>
                <c:pt idx="260">
                  <c:v>346</c:v>
                </c:pt>
                <c:pt idx="261">
                  <c:v>359</c:v>
                </c:pt>
                <c:pt idx="262">
                  <c:v>379</c:v>
                </c:pt>
                <c:pt idx="263">
                  <c:v>373</c:v>
                </c:pt>
                <c:pt idx="264">
                  <c:v>369</c:v>
                </c:pt>
                <c:pt idx="265">
                  <c:v>373</c:v>
                </c:pt>
                <c:pt idx="266">
                  <c:v>367</c:v>
                </c:pt>
                <c:pt idx="267">
                  <c:v>372</c:v>
                </c:pt>
                <c:pt idx="268">
                  <c:v>379</c:v>
                </c:pt>
                <c:pt idx="269">
                  <c:v>382</c:v>
                </c:pt>
                <c:pt idx="270">
                  <c:v>368</c:v>
                </c:pt>
                <c:pt idx="271">
                  <c:v>358</c:v>
                </c:pt>
                <c:pt idx="272">
                  <c:v>355</c:v>
                </c:pt>
                <c:pt idx="273">
                  <c:v>347</c:v>
                </c:pt>
                <c:pt idx="274">
                  <c:v>275</c:v>
                </c:pt>
                <c:pt idx="275">
                  <c:v>304</c:v>
                </c:pt>
                <c:pt idx="276">
                  <c:v>313</c:v>
                </c:pt>
                <c:pt idx="277">
                  <c:v>319</c:v>
                </c:pt>
                <c:pt idx="278">
                  <c:v>309</c:v>
                </c:pt>
                <c:pt idx="279">
                  <c:v>311</c:v>
                </c:pt>
                <c:pt idx="280">
                  <c:v>327</c:v>
                </c:pt>
                <c:pt idx="281">
                  <c:v>331</c:v>
                </c:pt>
                <c:pt idx="282">
                  <c:v>359</c:v>
                </c:pt>
                <c:pt idx="283">
                  <c:v>352</c:v>
                </c:pt>
                <c:pt idx="284">
                  <c:v>346</c:v>
                </c:pt>
                <c:pt idx="285">
                  <c:v>337</c:v>
                </c:pt>
                <c:pt idx="286">
                  <c:v>373</c:v>
                </c:pt>
                <c:pt idx="287">
                  <c:v>391</c:v>
                </c:pt>
                <c:pt idx="288">
                  <c:v>403</c:v>
                </c:pt>
                <c:pt idx="289">
                  <c:v>412</c:v>
                </c:pt>
                <c:pt idx="290">
                  <c:v>408</c:v>
                </c:pt>
                <c:pt idx="291">
                  <c:v>403</c:v>
                </c:pt>
                <c:pt idx="292">
                  <c:v>399</c:v>
                </c:pt>
                <c:pt idx="293">
                  <c:v>419</c:v>
                </c:pt>
                <c:pt idx="294">
                  <c:v>421</c:v>
                </c:pt>
                <c:pt idx="295">
                  <c:v>417</c:v>
                </c:pt>
                <c:pt idx="296">
                  <c:v>430</c:v>
                </c:pt>
                <c:pt idx="297">
                  <c:v>426</c:v>
                </c:pt>
                <c:pt idx="298">
                  <c:v>417</c:v>
                </c:pt>
                <c:pt idx="299">
                  <c:v>441</c:v>
                </c:pt>
                <c:pt idx="300">
                  <c:v>445</c:v>
                </c:pt>
                <c:pt idx="301">
                  <c:v>439</c:v>
                </c:pt>
                <c:pt idx="302">
                  <c:v>438</c:v>
                </c:pt>
                <c:pt idx="303">
                  <c:v>345</c:v>
                </c:pt>
                <c:pt idx="304">
                  <c:v>332</c:v>
                </c:pt>
                <c:pt idx="305">
                  <c:v>323</c:v>
                </c:pt>
                <c:pt idx="306">
                  <c:v>344</c:v>
                </c:pt>
                <c:pt idx="307">
                  <c:v>352</c:v>
                </c:pt>
                <c:pt idx="308">
                  <c:v>368</c:v>
                </c:pt>
                <c:pt idx="309">
                  <c:v>368</c:v>
                </c:pt>
                <c:pt idx="310">
                  <c:v>386</c:v>
                </c:pt>
                <c:pt idx="311">
                  <c:v>375</c:v>
                </c:pt>
                <c:pt idx="312">
                  <c:v>378</c:v>
                </c:pt>
                <c:pt idx="313">
                  <c:v>369</c:v>
                </c:pt>
                <c:pt idx="314">
                  <c:v>366</c:v>
                </c:pt>
                <c:pt idx="315">
                  <c:v>388</c:v>
                </c:pt>
                <c:pt idx="316">
                  <c:v>395</c:v>
                </c:pt>
                <c:pt idx="317">
                  <c:v>412</c:v>
                </c:pt>
                <c:pt idx="318">
                  <c:v>397</c:v>
                </c:pt>
                <c:pt idx="319">
                  <c:v>394</c:v>
                </c:pt>
                <c:pt idx="320">
                  <c:v>411</c:v>
                </c:pt>
                <c:pt idx="321">
                  <c:v>420</c:v>
                </c:pt>
                <c:pt idx="322">
                  <c:v>439</c:v>
                </c:pt>
                <c:pt idx="323">
                  <c:v>436</c:v>
                </c:pt>
                <c:pt idx="324">
                  <c:v>435</c:v>
                </c:pt>
                <c:pt idx="325">
                  <c:v>430</c:v>
                </c:pt>
                <c:pt idx="326">
                  <c:v>418</c:v>
                </c:pt>
                <c:pt idx="327">
                  <c:v>423</c:v>
                </c:pt>
                <c:pt idx="328">
                  <c:v>435</c:v>
                </c:pt>
                <c:pt idx="329">
                  <c:v>445</c:v>
                </c:pt>
                <c:pt idx="330">
                  <c:v>444</c:v>
                </c:pt>
                <c:pt idx="331">
                  <c:v>440</c:v>
                </c:pt>
                <c:pt idx="332">
                  <c:v>425</c:v>
                </c:pt>
                <c:pt idx="333">
                  <c:v>403</c:v>
                </c:pt>
                <c:pt idx="334">
                  <c:v>407</c:v>
                </c:pt>
                <c:pt idx="335">
                  <c:v>411</c:v>
                </c:pt>
                <c:pt idx="336">
                  <c:v>419</c:v>
                </c:pt>
                <c:pt idx="337">
                  <c:v>431</c:v>
                </c:pt>
                <c:pt idx="338">
                  <c:v>434</c:v>
                </c:pt>
                <c:pt idx="339">
                  <c:v>423</c:v>
                </c:pt>
                <c:pt idx="340">
                  <c:v>417</c:v>
                </c:pt>
                <c:pt idx="341">
                  <c:v>460</c:v>
                </c:pt>
                <c:pt idx="342">
                  <c:v>476</c:v>
                </c:pt>
                <c:pt idx="343">
                  <c:v>503</c:v>
                </c:pt>
                <c:pt idx="344">
                  <c:v>520</c:v>
                </c:pt>
                <c:pt idx="345">
                  <c:v>518</c:v>
                </c:pt>
                <c:pt idx="346">
                  <c:v>496</c:v>
                </c:pt>
                <c:pt idx="347">
                  <c:v>494</c:v>
                </c:pt>
                <c:pt idx="348">
                  <c:v>505</c:v>
                </c:pt>
                <c:pt idx="349">
                  <c:v>505</c:v>
                </c:pt>
                <c:pt idx="350">
                  <c:v>508</c:v>
                </c:pt>
                <c:pt idx="351">
                  <c:v>518</c:v>
                </c:pt>
                <c:pt idx="352">
                  <c:v>523</c:v>
                </c:pt>
                <c:pt idx="353">
                  <c:v>507</c:v>
                </c:pt>
                <c:pt idx="354">
                  <c:v>4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DB-4A22-B36A-DA67314BDCB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Уникальные КА</c:v>
                </c:pt>
              </c:strCache>
            </c:strRef>
          </c:tx>
          <c:spPr>
            <a:ln w="762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356</c:f>
              <c:numCache>
                <c:formatCode>dd\.mm\.yyyy</c:formatCode>
                <c:ptCount val="355"/>
                <c:pt idx="0">
                  <c:v>45839</c:v>
                </c:pt>
                <c:pt idx="1">
                  <c:v>45840</c:v>
                </c:pt>
                <c:pt idx="2">
                  <c:v>45841</c:v>
                </c:pt>
                <c:pt idx="3">
                  <c:v>45842</c:v>
                </c:pt>
                <c:pt idx="4">
                  <c:v>45843</c:v>
                </c:pt>
                <c:pt idx="5">
                  <c:v>45844</c:v>
                </c:pt>
                <c:pt idx="6">
                  <c:v>45845</c:v>
                </c:pt>
                <c:pt idx="7">
                  <c:v>45846</c:v>
                </c:pt>
                <c:pt idx="8">
                  <c:v>45847</c:v>
                </c:pt>
                <c:pt idx="9">
                  <c:v>45848</c:v>
                </c:pt>
                <c:pt idx="10">
                  <c:v>45849</c:v>
                </c:pt>
                <c:pt idx="11">
                  <c:v>45850</c:v>
                </c:pt>
                <c:pt idx="12">
                  <c:v>45851</c:v>
                </c:pt>
                <c:pt idx="13">
                  <c:v>45852</c:v>
                </c:pt>
                <c:pt idx="14">
                  <c:v>45853</c:v>
                </c:pt>
                <c:pt idx="15">
                  <c:v>45854</c:v>
                </c:pt>
                <c:pt idx="16">
                  <c:v>45855</c:v>
                </c:pt>
                <c:pt idx="17">
                  <c:v>45856</c:v>
                </c:pt>
                <c:pt idx="18">
                  <c:v>45857</c:v>
                </c:pt>
                <c:pt idx="19">
                  <c:v>45858</c:v>
                </c:pt>
                <c:pt idx="20">
                  <c:v>45859</c:v>
                </c:pt>
                <c:pt idx="21">
                  <c:v>45860</c:v>
                </c:pt>
                <c:pt idx="22">
                  <c:v>45861</c:v>
                </c:pt>
                <c:pt idx="23">
                  <c:v>45862</c:v>
                </c:pt>
                <c:pt idx="24">
                  <c:v>45863</c:v>
                </c:pt>
                <c:pt idx="25">
                  <c:v>45864</c:v>
                </c:pt>
                <c:pt idx="26">
                  <c:v>45865</c:v>
                </c:pt>
                <c:pt idx="27">
                  <c:v>45866</c:v>
                </c:pt>
                <c:pt idx="28">
                  <c:v>45867</c:v>
                </c:pt>
                <c:pt idx="29">
                  <c:v>45868</c:v>
                </c:pt>
                <c:pt idx="30">
                  <c:v>45869</c:v>
                </c:pt>
                <c:pt idx="31">
                  <c:v>45870</c:v>
                </c:pt>
                <c:pt idx="32">
                  <c:v>45871</c:v>
                </c:pt>
                <c:pt idx="33">
                  <c:v>45872</c:v>
                </c:pt>
                <c:pt idx="34">
                  <c:v>45873</c:v>
                </c:pt>
                <c:pt idx="35">
                  <c:v>45874</c:v>
                </c:pt>
                <c:pt idx="36">
                  <c:v>45875</c:v>
                </c:pt>
                <c:pt idx="37">
                  <c:v>45876</c:v>
                </c:pt>
                <c:pt idx="38">
                  <c:v>45877</c:v>
                </c:pt>
                <c:pt idx="39">
                  <c:v>45878</c:v>
                </c:pt>
                <c:pt idx="40">
                  <c:v>45879</c:v>
                </c:pt>
                <c:pt idx="41">
                  <c:v>45880</c:v>
                </c:pt>
                <c:pt idx="42">
                  <c:v>45881</c:v>
                </c:pt>
                <c:pt idx="43">
                  <c:v>45882</c:v>
                </c:pt>
                <c:pt idx="44">
                  <c:v>45883</c:v>
                </c:pt>
                <c:pt idx="45">
                  <c:v>45884</c:v>
                </c:pt>
                <c:pt idx="46">
                  <c:v>45885</c:v>
                </c:pt>
                <c:pt idx="47">
                  <c:v>45886</c:v>
                </c:pt>
                <c:pt idx="48">
                  <c:v>45887</c:v>
                </c:pt>
                <c:pt idx="49">
                  <c:v>45888</c:v>
                </c:pt>
                <c:pt idx="50">
                  <c:v>45889</c:v>
                </c:pt>
                <c:pt idx="51">
                  <c:v>45890</c:v>
                </c:pt>
                <c:pt idx="52">
                  <c:v>45891</c:v>
                </c:pt>
                <c:pt idx="53">
                  <c:v>45892</c:v>
                </c:pt>
                <c:pt idx="54">
                  <c:v>45893</c:v>
                </c:pt>
                <c:pt idx="55">
                  <c:v>45894</c:v>
                </c:pt>
                <c:pt idx="56">
                  <c:v>45895</c:v>
                </c:pt>
                <c:pt idx="57">
                  <c:v>45896</c:v>
                </c:pt>
                <c:pt idx="58">
                  <c:v>45897</c:v>
                </c:pt>
                <c:pt idx="59">
                  <c:v>45898</c:v>
                </c:pt>
                <c:pt idx="60">
                  <c:v>45899</c:v>
                </c:pt>
                <c:pt idx="61">
                  <c:v>45900</c:v>
                </c:pt>
                <c:pt idx="62">
                  <c:v>45901</c:v>
                </c:pt>
                <c:pt idx="63">
                  <c:v>45902</c:v>
                </c:pt>
                <c:pt idx="64">
                  <c:v>45903</c:v>
                </c:pt>
                <c:pt idx="65">
                  <c:v>45904</c:v>
                </c:pt>
                <c:pt idx="66">
                  <c:v>45905</c:v>
                </c:pt>
                <c:pt idx="67">
                  <c:v>45906</c:v>
                </c:pt>
                <c:pt idx="68">
                  <c:v>45907</c:v>
                </c:pt>
                <c:pt idx="69">
                  <c:v>45908</c:v>
                </c:pt>
                <c:pt idx="70">
                  <c:v>45909</c:v>
                </c:pt>
                <c:pt idx="71">
                  <c:v>45910</c:v>
                </c:pt>
                <c:pt idx="72">
                  <c:v>45911</c:v>
                </c:pt>
                <c:pt idx="73">
                  <c:v>45912</c:v>
                </c:pt>
                <c:pt idx="74">
                  <c:v>45913</c:v>
                </c:pt>
                <c:pt idx="75">
                  <c:v>45914</c:v>
                </c:pt>
                <c:pt idx="76">
                  <c:v>45915</c:v>
                </c:pt>
                <c:pt idx="77">
                  <c:v>45916</c:v>
                </c:pt>
                <c:pt idx="78">
                  <c:v>45917</c:v>
                </c:pt>
                <c:pt idx="79">
                  <c:v>45918</c:v>
                </c:pt>
                <c:pt idx="80">
                  <c:v>45919</c:v>
                </c:pt>
                <c:pt idx="81">
                  <c:v>45920</c:v>
                </c:pt>
                <c:pt idx="82">
                  <c:v>45921</c:v>
                </c:pt>
                <c:pt idx="83">
                  <c:v>45922</c:v>
                </c:pt>
                <c:pt idx="84">
                  <c:v>45923</c:v>
                </c:pt>
                <c:pt idx="85">
                  <c:v>45924</c:v>
                </c:pt>
                <c:pt idx="86">
                  <c:v>45925</c:v>
                </c:pt>
                <c:pt idx="87">
                  <c:v>45926</c:v>
                </c:pt>
                <c:pt idx="88">
                  <c:v>45927</c:v>
                </c:pt>
                <c:pt idx="89">
                  <c:v>45928</c:v>
                </c:pt>
                <c:pt idx="90">
                  <c:v>45929</c:v>
                </c:pt>
                <c:pt idx="91">
                  <c:v>45930</c:v>
                </c:pt>
                <c:pt idx="92">
                  <c:v>45931</c:v>
                </c:pt>
                <c:pt idx="93">
                  <c:v>45932</c:v>
                </c:pt>
                <c:pt idx="94">
                  <c:v>45933</c:v>
                </c:pt>
                <c:pt idx="95">
                  <c:v>45934</c:v>
                </c:pt>
                <c:pt idx="96">
                  <c:v>45935</c:v>
                </c:pt>
                <c:pt idx="97">
                  <c:v>45936</c:v>
                </c:pt>
                <c:pt idx="98">
                  <c:v>45937</c:v>
                </c:pt>
                <c:pt idx="99">
                  <c:v>45938</c:v>
                </c:pt>
                <c:pt idx="100">
                  <c:v>45939</c:v>
                </c:pt>
                <c:pt idx="101">
                  <c:v>45940</c:v>
                </c:pt>
                <c:pt idx="102">
                  <c:v>45941</c:v>
                </c:pt>
                <c:pt idx="103">
                  <c:v>45942</c:v>
                </c:pt>
                <c:pt idx="104">
                  <c:v>45943</c:v>
                </c:pt>
                <c:pt idx="105">
                  <c:v>45944</c:v>
                </c:pt>
                <c:pt idx="106">
                  <c:v>45945</c:v>
                </c:pt>
                <c:pt idx="107">
                  <c:v>45946</c:v>
                </c:pt>
                <c:pt idx="108">
                  <c:v>45947</c:v>
                </c:pt>
                <c:pt idx="109">
                  <c:v>45948</c:v>
                </c:pt>
                <c:pt idx="110">
                  <c:v>45949</c:v>
                </c:pt>
                <c:pt idx="111">
                  <c:v>45950</c:v>
                </c:pt>
                <c:pt idx="112">
                  <c:v>45951</c:v>
                </c:pt>
                <c:pt idx="113">
                  <c:v>45952</c:v>
                </c:pt>
                <c:pt idx="114">
                  <c:v>45953</c:v>
                </c:pt>
                <c:pt idx="115">
                  <c:v>45954</c:v>
                </c:pt>
                <c:pt idx="116">
                  <c:v>45955</c:v>
                </c:pt>
                <c:pt idx="117">
                  <c:v>45956</c:v>
                </c:pt>
                <c:pt idx="118">
                  <c:v>45957</c:v>
                </c:pt>
                <c:pt idx="119">
                  <c:v>45958</c:v>
                </c:pt>
                <c:pt idx="120">
                  <c:v>45959</c:v>
                </c:pt>
                <c:pt idx="121">
                  <c:v>45960</c:v>
                </c:pt>
                <c:pt idx="122">
                  <c:v>45961</c:v>
                </c:pt>
                <c:pt idx="123">
                  <c:v>45962</c:v>
                </c:pt>
                <c:pt idx="124">
                  <c:v>45963</c:v>
                </c:pt>
                <c:pt idx="125">
                  <c:v>45964</c:v>
                </c:pt>
                <c:pt idx="126">
                  <c:v>45965</c:v>
                </c:pt>
                <c:pt idx="127">
                  <c:v>45966</c:v>
                </c:pt>
                <c:pt idx="128">
                  <c:v>45967</c:v>
                </c:pt>
                <c:pt idx="129">
                  <c:v>45968</c:v>
                </c:pt>
                <c:pt idx="130">
                  <c:v>45969</c:v>
                </c:pt>
                <c:pt idx="131">
                  <c:v>45970</c:v>
                </c:pt>
                <c:pt idx="132">
                  <c:v>45971</c:v>
                </c:pt>
                <c:pt idx="133">
                  <c:v>45972</c:v>
                </c:pt>
                <c:pt idx="134">
                  <c:v>45973</c:v>
                </c:pt>
                <c:pt idx="135">
                  <c:v>45974</c:v>
                </c:pt>
                <c:pt idx="136">
                  <c:v>45975</c:v>
                </c:pt>
                <c:pt idx="137">
                  <c:v>45976</c:v>
                </c:pt>
                <c:pt idx="138">
                  <c:v>45977</c:v>
                </c:pt>
                <c:pt idx="139">
                  <c:v>45978</c:v>
                </c:pt>
                <c:pt idx="140">
                  <c:v>45979</c:v>
                </c:pt>
                <c:pt idx="141">
                  <c:v>45980</c:v>
                </c:pt>
                <c:pt idx="142">
                  <c:v>45981</c:v>
                </c:pt>
                <c:pt idx="143">
                  <c:v>45982</c:v>
                </c:pt>
                <c:pt idx="144">
                  <c:v>45983</c:v>
                </c:pt>
                <c:pt idx="145">
                  <c:v>45984</c:v>
                </c:pt>
                <c:pt idx="146">
                  <c:v>45985</c:v>
                </c:pt>
                <c:pt idx="147">
                  <c:v>45986</c:v>
                </c:pt>
                <c:pt idx="148">
                  <c:v>45987</c:v>
                </c:pt>
                <c:pt idx="149">
                  <c:v>45988</c:v>
                </c:pt>
                <c:pt idx="150">
                  <c:v>45989</c:v>
                </c:pt>
                <c:pt idx="151">
                  <c:v>45990</c:v>
                </c:pt>
                <c:pt idx="152">
                  <c:v>45991</c:v>
                </c:pt>
                <c:pt idx="153">
                  <c:v>45992</c:v>
                </c:pt>
                <c:pt idx="154">
                  <c:v>45993</c:v>
                </c:pt>
                <c:pt idx="155">
                  <c:v>45994</c:v>
                </c:pt>
                <c:pt idx="156">
                  <c:v>45995</c:v>
                </c:pt>
                <c:pt idx="157">
                  <c:v>45996</c:v>
                </c:pt>
                <c:pt idx="158">
                  <c:v>45997</c:v>
                </c:pt>
                <c:pt idx="159">
                  <c:v>45998</c:v>
                </c:pt>
                <c:pt idx="160">
                  <c:v>45999</c:v>
                </c:pt>
                <c:pt idx="161">
                  <c:v>46000</c:v>
                </c:pt>
                <c:pt idx="162">
                  <c:v>46001</c:v>
                </c:pt>
                <c:pt idx="163">
                  <c:v>46002</c:v>
                </c:pt>
                <c:pt idx="164">
                  <c:v>46003</c:v>
                </c:pt>
                <c:pt idx="165">
                  <c:v>46004</c:v>
                </c:pt>
                <c:pt idx="166">
                  <c:v>46005</c:v>
                </c:pt>
                <c:pt idx="167">
                  <c:v>46006</c:v>
                </c:pt>
                <c:pt idx="168">
                  <c:v>46007</c:v>
                </c:pt>
                <c:pt idx="169">
                  <c:v>46008</c:v>
                </c:pt>
                <c:pt idx="170">
                  <c:v>46009</c:v>
                </c:pt>
                <c:pt idx="171">
                  <c:v>46010</c:v>
                </c:pt>
                <c:pt idx="172">
                  <c:v>46011</c:v>
                </c:pt>
                <c:pt idx="173">
                  <c:v>46012</c:v>
                </c:pt>
                <c:pt idx="174">
                  <c:v>46013</c:v>
                </c:pt>
                <c:pt idx="175">
                  <c:v>46014</c:v>
                </c:pt>
                <c:pt idx="176">
                  <c:v>46015</c:v>
                </c:pt>
                <c:pt idx="177">
                  <c:v>46016</c:v>
                </c:pt>
                <c:pt idx="178">
                  <c:v>46017</c:v>
                </c:pt>
                <c:pt idx="179">
                  <c:v>46018</c:v>
                </c:pt>
                <c:pt idx="180">
                  <c:v>46019</c:v>
                </c:pt>
                <c:pt idx="181">
                  <c:v>46020</c:v>
                </c:pt>
                <c:pt idx="182">
                  <c:v>46021</c:v>
                </c:pt>
                <c:pt idx="183">
                  <c:v>46022</c:v>
                </c:pt>
                <c:pt idx="184">
                  <c:v>46023</c:v>
                </c:pt>
                <c:pt idx="185">
                  <c:v>46024</c:v>
                </c:pt>
                <c:pt idx="186">
                  <c:v>46025</c:v>
                </c:pt>
                <c:pt idx="187">
                  <c:v>46026</c:v>
                </c:pt>
                <c:pt idx="188">
                  <c:v>46027</c:v>
                </c:pt>
                <c:pt idx="189">
                  <c:v>46028</c:v>
                </c:pt>
                <c:pt idx="190">
                  <c:v>46029</c:v>
                </c:pt>
                <c:pt idx="191">
                  <c:v>46030</c:v>
                </c:pt>
                <c:pt idx="192">
                  <c:v>46031</c:v>
                </c:pt>
                <c:pt idx="193">
                  <c:v>46032</c:v>
                </c:pt>
                <c:pt idx="194">
                  <c:v>46033</c:v>
                </c:pt>
                <c:pt idx="195">
                  <c:v>46034</c:v>
                </c:pt>
                <c:pt idx="196">
                  <c:v>46035</c:v>
                </c:pt>
                <c:pt idx="197">
                  <c:v>46036</c:v>
                </c:pt>
                <c:pt idx="198">
                  <c:v>46037</c:v>
                </c:pt>
                <c:pt idx="199">
                  <c:v>46038</c:v>
                </c:pt>
                <c:pt idx="200">
                  <c:v>46039</c:v>
                </c:pt>
                <c:pt idx="201">
                  <c:v>46040</c:v>
                </c:pt>
                <c:pt idx="202">
                  <c:v>46041</c:v>
                </c:pt>
                <c:pt idx="203">
                  <c:v>46042</c:v>
                </c:pt>
                <c:pt idx="204">
                  <c:v>46043</c:v>
                </c:pt>
                <c:pt idx="205">
                  <c:v>46044</c:v>
                </c:pt>
                <c:pt idx="206">
                  <c:v>46045</c:v>
                </c:pt>
                <c:pt idx="207">
                  <c:v>46046</c:v>
                </c:pt>
                <c:pt idx="208">
                  <c:v>46047</c:v>
                </c:pt>
                <c:pt idx="209">
                  <c:v>46048</c:v>
                </c:pt>
                <c:pt idx="210">
                  <c:v>46049</c:v>
                </c:pt>
                <c:pt idx="211">
                  <c:v>46050</c:v>
                </c:pt>
                <c:pt idx="212">
                  <c:v>46051</c:v>
                </c:pt>
                <c:pt idx="213">
                  <c:v>46052</c:v>
                </c:pt>
                <c:pt idx="214">
                  <c:v>46053</c:v>
                </c:pt>
                <c:pt idx="215">
                  <c:v>46054</c:v>
                </c:pt>
                <c:pt idx="216">
                  <c:v>46055</c:v>
                </c:pt>
                <c:pt idx="217">
                  <c:v>46056</c:v>
                </c:pt>
                <c:pt idx="218">
                  <c:v>46057</c:v>
                </c:pt>
                <c:pt idx="219">
                  <c:v>46058</c:v>
                </c:pt>
                <c:pt idx="220">
                  <c:v>46059</c:v>
                </c:pt>
                <c:pt idx="221">
                  <c:v>46060</c:v>
                </c:pt>
                <c:pt idx="222">
                  <c:v>46061</c:v>
                </c:pt>
                <c:pt idx="223">
                  <c:v>46062</c:v>
                </c:pt>
                <c:pt idx="224">
                  <c:v>46063</c:v>
                </c:pt>
                <c:pt idx="225">
                  <c:v>46064</c:v>
                </c:pt>
                <c:pt idx="226">
                  <c:v>46065</c:v>
                </c:pt>
                <c:pt idx="227">
                  <c:v>46066</c:v>
                </c:pt>
                <c:pt idx="228">
                  <c:v>46067</c:v>
                </c:pt>
                <c:pt idx="229">
                  <c:v>46068</c:v>
                </c:pt>
                <c:pt idx="230">
                  <c:v>46069</c:v>
                </c:pt>
                <c:pt idx="231">
                  <c:v>46070</c:v>
                </c:pt>
                <c:pt idx="232">
                  <c:v>46071</c:v>
                </c:pt>
                <c:pt idx="233">
                  <c:v>46072</c:v>
                </c:pt>
                <c:pt idx="234">
                  <c:v>46073</c:v>
                </c:pt>
                <c:pt idx="235">
                  <c:v>46074</c:v>
                </c:pt>
                <c:pt idx="236">
                  <c:v>46075</c:v>
                </c:pt>
                <c:pt idx="237">
                  <c:v>46076</c:v>
                </c:pt>
                <c:pt idx="238">
                  <c:v>46077</c:v>
                </c:pt>
                <c:pt idx="239">
                  <c:v>46078</c:v>
                </c:pt>
                <c:pt idx="240">
                  <c:v>46079</c:v>
                </c:pt>
                <c:pt idx="241">
                  <c:v>46080</c:v>
                </c:pt>
                <c:pt idx="242">
                  <c:v>46081</c:v>
                </c:pt>
                <c:pt idx="243">
                  <c:v>46082</c:v>
                </c:pt>
                <c:pt idx="244">
                  <c:v>46083</c:v>
                </c:pt>
                <c:pt idx="245">
                  <c:v>46084</c:v>
                </c:pt>
                <c:pt idx="246">
                  <c:v>46085</c:v>
                </c:pt>
                <c:pt idx="247">
                  <c:v>46086</c:v>
                </c:pt>
                <c:pt idx="248">
                  <c:v>46087</c:v>
                </c:pt>
                <c:pt idx="249">
                  <c:v>46088</c:v>
                </c:pt>
                <c:pt idx="250">
                  <c:v>46089</c:v>
                </c:pt>
                <c:pt idx="251">
                  <c:v>46090</c:v>
                </c:pt>
                <c:pt idx="252">
                  <c:v>46091</c:v>
                </c:pt>
                <c:pt idx="253">
                  <c:v>46092</c:v>
                </c:pt>
                <c:pt idx="254">
                  <c:v>46093</c:v>
                </c:pt>
                <c:pt idx="255">
                  <c:v>46094</c:v>
                </c:pt>
                <c:pt idx="256">
                  <c:v>46095</c:v>
                </c:pt>
                <c:pt idx="257">
                  <c:v>46096</c:v>
                </c:pt>
                <c:pt idx="258">
                  <c:v>46097</c:v>
                </c:pt>
                <c:pt idx="259">
                  <c:v>46098</c:v>
                </c:pt>
                <c:pt idx="260">
                  <c:v>46099</c:v>
                </c:pt>
                <c:pt idx="261">
                  <c:v>46100</c:v>
                </c:pt>
                <c:pt idx="262">
                  <c:v>46101</c:v>
                </c:pt>
                <c:pt idx="263">
                  <c:v>46102</c:v>
                </c:pt>
                <c:pt idx="264">
                  <c:v>46103</c:v>
                </c:pt>
                <c:pt idx="265">
                  <c:v>46104</c:v>
                </c:pt>
                <c:pt idx="266">
                  <c:v>46105</c:v>
                </c:pt>
                <c:pt idx="267">
                  <c:v>46106</c:v>
                </c:pt>
                <c:pt idx="268">
                  <c:v>46107</c:v>
                </c:pt>
                <c:pt idx="269">
                  <c:v>46108</c:v>
                </c:pt>
                <c:pt idx="270">
                  <c:v>46109</c:v>
                </c:pt>
                <c:pt idx="271">
                  <c:v>46110</c:v>
                </c:pt>
                <c:pt idx="272">
                  <c:v>46111</c:v>
                </c:pt>
                <c:pt idx="273">
                  <c:v>46112</c:v>
                </c:pt>
                <c:pt idx="274">
                  <c:v>46113</c:v>
                </c:pt>
                <c:pt idx="275">
                  <c:v>46114</c:v>
                </c:pt>
                <c:pt idx="276">
                  <c:v>46115</c:v>
                </c:pt>
                <c:pt idx="277">
                  <c:v>46116</c:v>
                </c:pt>
                <c:pt idx="278">
                  <c:v>46117</c:v>
                </c:pt>
                <c:pt idx="279">
                  <c:v>46118</c:v>
                </c:pt>
                <c:pt idx="280">
                  <c:v>46119</c:v>
                </c:pt>
                <c:pt idx="281">
                  <c:v>46120</c:v>
                </c:pt>
                <c:pt idx="282">
                  <c:v>46121</c:v>
                </c:pt>
                <c:pt idx="283">
                  <c:v>46122</c:v>
                </c:pt>
                <c:pt idx="284">
                  <c:v>46123</c:v>
                </c:pt>
                <c:pt idx="285">
                  <c:v>46124</c:v>
                </c:pt>
                <c:pt idx="286">
                  <c:v>46125</c:v>
                </c:pt>
                <c:pt idx="287">
                  <c:v>46126</c:v>
                </c:pt>
                <c:pt idx="288">
                  <c:v>46127</c:v>
                </c:pt>
                <c:pt idx="289">
                  <c:v>46128</c:v>
                </c:pt>
                <c:pt idx="290">
                  <c:v>46129</c:v>
                </c:pt>
                <c:pt idx="291">
                  <c:v>46130</c:v>
                </c:pt>
                <c:pt idx="292">
                  <c:v>46131</c:v>
                </c:pt>
                <c:pt idx="293">
                  <c:v>46132</c:v>
                </c:pt>
                <c:pt idx="294">
                  <c:v>46134</c:v>
                </c:pt>
                <c:pt idx="295">
                  <c:v>46135</c:v>
                </c:pt>
                <c:pt idx="296">
                  <c:v>46136</c:v>
                </c:pt>
                <c:pt idx="297">
                  <c:v>46137</c:v>
                </c:pt>
                <c:pt idx="298">
                  <c:v>46138</c:v>
                </c:pt>
                <c:pt idx="299">
                  <c:v>46139</c:v>
                </c:pt>
                <c:pt idx="300">
                  <c:v>46140</c:v>
                </c:pt>
                <c:pt idx="301">
                  <c:v>46141</c:v>
                </c:pt>
                <c:pt idx="302">
                  <c:v>46142</c:v>
                </c:pt>
                <c:pt idx="303">
                  <c:v>46143</c:v>
                </c:pt>
                <c:pt idx="304">
                  <c:v>46144</c:v>
                </c:pt>
                <c:pt idx="305">
                  <c:v>46145</c:v>
                </c:pt>
                <c:pt idx="306">
                  <c:v>46146</c:v>
                </c:pt>
                <c:pt idx="307">
                  <c:v>46147</c:v>
                </c:pt>
                <c:pt idx="308">
                  <c:v>46148</c:v>
                </c:pt>
                <c:pt idx="309">
                  <c:v>46149</c:v>
                </c:pt>
                <c:pt idx="310">
                  <c:v>46150</c:v>
                </c:pt>
                <c:pt idx="311">
                  <c:v>46151</c:v>
                </c:pt>
                <c:pt idx="312">
                  <c:v>46152</c:v>
                </c:pt>
                <c:pt idx="313">
                  <c:v>46153</c:v>
                </c:pt>
                <c:pt idx="314">
                  <c:v>46154</c:v>
                </c:pt>
                <c:pt idx="315">
                  <c:v>46155</c:v>
                </c:pt>
                <c:pt idx="316">
                  <c:v>46156</c:v>
                </c:pt>
                <c:pt idx="317">
                  <c:v>46157</c:v>
                </c:pt>
                <c:pt idx="318">
                  <c:v>46158</c:v>
                </c:pt>
                <c:pt idx="319">
                  <c:v>46159</c:v>
                </c:pt>
                <c:pt idx="320">
                  <c:v>46160</c:v>
                </c:pt>
                <c:pt idx="321">
                  <c:v>46161</c:v>
                </c:pt>
                <c:pt idx="322">
                  <c:v>46162</c:v>
                </c:pt>
                <c:pt idx="323">
                  <c:v>46163</c:v>
                </c:pt>
                <c:pt idx="324">
                  <c:v>46164</c:v>
                </c:pt>
                <c:pt idx="325">
                  <c:v>46165</c:v>
                </c:pt>
                <c:pt idx="326">
                  <c:v>46166</c:v>
                </c:pt>
                <c:pt idx="327">
                  <c:v>46167</c:v>
                </c:pt>
                <c:pt idx="328">
                  <c:v>46168</c:v>
                </c:pt>
                <c:pt idx="329">
                  <c:v>46169</c:v>
                </c:pt>
                <c:pt idx="330">
                  <c:v>46170</c:v>
                </c:pt>
                <c:pt idx="331">
                  <c:v>46171</c:v>
                </c:pt>
                <c:pt idx="332">
                  <c:v>46172</c:v>
                </c:pt>
                <c:pt idx="333">
                  <c:v>46173</c:v>
                </c:pt>
                <c:pt idx="334">
                  <c:v>46174</c:v>
                </c:pt>
                <c:pt idx="335">
                  <c:v>46175</c:v>
                </c:pt>
                <c:pt idx="336">
                  <c:v>46176</c:v>
                </c:pt>
                <c:pt idx="337">
                  <c:v>46177</c:v>
                </c:pt>
                <c:pt idx="338">
                  <c:v>46178</c:v>
                </c:pt>
                <c:pt idx="339">
                  <c:v>46179</c:v>
                </c:pt>
                <c:pt idx="340">
                  <c:v>46180</c:v>
                </c:pt>
                <c:pt idx="341">
                  <c:v>46181</c:v>
                </c:pt>
                <c:pt idx="342">
                  <c:v>46182</c:v>
                </c:pt>
                <c:pt idx="343">
                  <c:v>46183</c:v>
                </c:pt>
                <c:pt idx="344">
                  <c:v>46184</c:v>
                </c:pt>
                <c:pt idx="345">
                  <c:v>46185</c:v>
                </c:pt>
                <c:pt idx="346">
                  <c:v>46186</c:v>
                </c:pt>
                <c:pt idx="347">
                  <c:v>46187</c:v>
                </c:pt>
                <c:pt idx="348">
                  <c:v>46188</c:v>
                </c:pt>
                <c:pt idx="349">
                  <c:v>46189</c:v>
                </c:pt>
                <c:pt idx="350">
                  <c:v>46190</c:v>
                </c:pt>
                <c:pt idx="351">
                  <c:v>46191</c:v>
                </c:pt>
                <c:pt idx="352">
                  <c:v>46192</c:v>
                </c:pt>
                <c:pt idx="353">
                  <c:v>46193</c:v>
                </c:pt>
                <c:pt idx="354">
                  <c:v>46194</c:v>
                </c:pt>
              </c:numCache>
            </c:numRef>
          </c:cat>
          <c:val>
            <c:numRef>
              <c:f>Лист1!$C$2:$C$356</c:f>
              <c:numCache>
                <c:formatCode>General</c:formatCode>
                <c:ptCount val="355"/>
                <c:pt idx="0">
                  <c:v>23</c:v>
                </c:pt>
                <c:pt idx="1">
                  <c:v>23</c:v>
                </c:pt>
                <c:pt idx="2">
                  <c:v>26</c:v>
                </c:pt>
                <c:pt idx="3">
                  <c:v>26</c:v>
                </c:pt>
                <c:pt idx="4">
                  <c:v>25</c:v>
                </c:pt>
                <c:pt idx="5">
                  <c:v>24</c:v>
                </c:pt>
                <c:pt idx="6">
                  <c:v>27</c:v>
                </c:pt>
                <c:pt idx="7">
                  <c:v>29</c:v>
                </c:pt>
                <c:pt idx="8">
                  <c:v>30</c:v>
                </c:pt>
                <c:pt idx="9">
                  <c:v>31</c:v>
                </c:pt>
                <c:pt idx="10">
                  <c:v>32</c:v>
                </c:pt>
                <c:pt idx="11">
                  <c:v>31</c:v>
                </c:pt>
                <c:pt idx="12">
                  <c:v>31</c:v>
                </c:pt>
                <c:pt idx="13">
                  <c:v>34</c:v>
                </c:pt>
                <c:pt idx="14">
                  <c:v>37</c:v>
                </c:pt>
                <c:pt idx="15">
                  <c:v>37</c:v>
                </c:pt>
                <c:pt idx="16">
                  <c:v>38</c:v>
                </c:pt>
                <c:pt idx="17">
                  <c:v>39</c:v>
                </c:pt>
                <c:pt idx="18">
                  <c:v>40</c:v>
                </c:pt>
                <c:pt idx="19">
                  <c:v>40</c:v>
                </c:pt>
                <c:pt idx="20">
                  <c:v>44</c:v>
                </c:pt>
                <c:pt idx="21">
                  <c:v>46</c:v>
                </c:pt>
                <c:pt idx="22">
                  <c:v>46</c:v>
                </c:pt>
                <c:pt idx="23">
                  <c:v>47</c:v>
                </c:pt>
                <c:pt idx="24">
                  <c:v>47</c:v>
                </c:pt>
                <c:pt idx="25">
                  <c:v>47</c:v>
                </c:pt>
                <c:pt idx="26">
                  <c:v>47</c:v>
                </c:pt>
                <c:pt idx="27">
                  <c:v>43</c:v>
                </c:pt>
                <c:pt idx="28">
                  <c:v>46</c:v>
                </c:pt>
                <c:pt idx="29">
                  <c:v>46</c:v>
                </c:pt>
                <c:pt idx="30">
                  <c:v>46</c:v>
                </c:pt>
                <c:pt idx="31">
                  <c:v>47</c:v>
                </c:pt>
                <c:pt idx="32">
                  <c:v>45</c:v>
                </c:pt>
                <c:pt idx="33">
                  <c:v>47</c:v>
                </c:pt>
                <c:pt idx="34">
                  <c:v>54</c:v>
                </c:pt>
                <c:pt idx="35">
                  <c:v>55</c:v>
                </c:pt>
                <c:pt idx="36">
                  <c:v>54</c:v>
                </c:pt>
                <c:pt idx="37">
                  <c:v>56</c:v>
                </c:pt>
                <c:pt idx="38">
                  <c:v>56</c:v>
                </c:pt>
                <c:pt idx="39">
                  <c:v>56</c:v>
                </c:pt>
                <c:pt idx="40">
                  <c:v>56</c:v>
                </c:pt>
                <c:pt idx="41">
                  <c:v>60</c:v>
                </c:pt>
                <c:pt idx="42">
                  <c:v>62</c:v>
                </c:pt>
                <c:pt idx="43">
                  <c:v>62</c:v>
                </c:pt>
                <c:pt idx="44">
                  <c:v>62</c:v>
                </c:pt>
                <c:pt idx="45">
                  <c:v>60</c:v>
                </c:pt>
                <c:pt idx="46">
                  <c:v>57</c:v>
                </c:pt>
                <c:pt idx="47">
                  <c:v>57</c:v>
                </c:pt>
                <c:pt idx="48">
                  <c:v>59</c:v>
                </c:pt>
                <c:pt idx="49">
                  <c:v>60</c:v>
                </c:pt>
                <c:pt idx="50">
                  <c:v>61</c:v>
                </c:pt>
                <c:pt idx="51">
                  <c:v>61</c:v>
                </c:pt>
                <c:pt idx="52">
                  <c:v>62</c:v>
                </c:pt>
                <c:pt idx="53">
                  <c:v>59</c:v>
                </c:pt>
                <c:pt idx="54">
                  <c:v>57</c:v>
                </c:pt>
                <c:pt idx="55">
                  <c:v>58</c:v>
                </c:pt>
                <c:pt idx="56">
                  <c:v>60</c:v>
                </c:pt>
                <c:pt idx="57">
                  <c:v>60</c:v>
                </c:pt>
                <c:pt idx="58">
                  <c:v>61</c:v>
                </c:pt>
                <c:pt idx="59">
                  <c:v>63</c:v>
                </c:pt>
                <c:pt idx="60">
                  <c:v>60</c:v>
                </c:pt>
                <c:pt idx="61">
                  <c:v>58</c:v>
                </c:pt>
                <c:pt idx="62">
                  <c:v>63</c:v>
                </c:pt>
                <c:pt idx="63">
                  <c:v>65</c:v>
                </c:pt>
                <c:pt idx="64">
                  <c:v>68</c:v>
                </c:pt>
                <c:pt idx="65">
                  <c:v>71</c:v>
                </c:pt>
                <c:pt idx="66">
                  <c:v>72</c:v>
                </c:pt>
                <c:pt idx="67">
                  <c:v>69</c:v>
                </c:pt>
                <c:pt idx="68">
                  <c:v>68</c:v>
                </c:pt>
                <c:pt idx="69">
                  <c:v>75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6</c:v>
                </c:pt>
                <c:pt idx="74">
                  <c:v>75</c:v>
                </c:pt>
                <c:pt idx="75">
                  <c:v>75</c:v>
                </c:pt>
                <c:pt idx="76">
                  <c:v>79</c:v>
                </c:pt>
                <c:pt idx="77">
                  <c:v>82</c:v>
                </c:pt>
                <c:pt idx="78">
                  <c:v>87</c:v>
                </c:pt>
                <c:pt idx="79">
                  <c:v>92</c:v>
                </c:pt>
                <c:pt idx="80">
                  <c:v>90</c:v>
                </c:pt>
                <c:pt idx="81">
                  <c:v>88</c:v>
                </c:pt>
                <c:pt idx="82">
                  <c:v>88</c:v>
                </c:pt>
                <c:pt idx="83">
                  <c:v>89</c:v>
                </c:pt>
                <c:pt idx="84">
                  <c:v>89</c:v>
                </c:pt>
                <c:pt idx="85">
                  <c:v>89</c:v>
                </c:pt>
                <c:pt idx="86">
                  <c:v>88</c:v>
                </c:pt>
                <c:pt idx="87">
                  <c:v>88</c:v>
                </c:pt>
                <c:pt idx="88">
                  <c:v>89</c:v>
                </c:pt>
                <c:pt idx="89">
                  <c:v>89</c:v>
                </c:pt>
                <c:pt idx="90">
                  <c:v>90</c:v>
                </c:pt>
                <c:pt idx="91">
                  <c:v>90</c:v>
                </c:pt>
                <c:pt idx="92">
                  <c:v>73</c:v>
                </c:pt>
                <c:pt idx="93">
                  <c:v>80</c:v>
                </c:pt>
                <c:pt idx="94">
                  <c:v>87</c:v>
                </c:pt>
                <c:pt idx="95">
                  <c:v>88</c:v>
                </c:pt>
                <c:pt idx="96">
                  <c:v>88</c:v>
                </c:pt>
                <c:pt idx="97">
                  <c:v>89</c:v>
                </c:pt>
                <c:pt idx="98">
                  <c:v>96</c:v>
                </c:pt>
                <c:pt idx="99">
                  <c:v>97</c:v>
                </c:pt>
                <c:pt idx="100">
                  <c:v>102</c:v>
                </c:pt>
                <c:pt idx="101">
                  <c:v>102</c:v>
                </c:pt>
                <c:pt idx="102">
                  <c:v>101</c:v>
                </c:pt>
                <c:pt idx="103">
                  <c:v>98</c:v>
                </c:pt>
                <c:pt idx="104">
                  <c:v>101</c:v>
                </c:pt>
                <c:pt idx="105">
                  <c:v>104</c:v>
                </c:pt>
                <c:pt idx="106">
                  <c:v>105</c:v>
                </c:pt>
                <c:pt idx="107">
                  <c:v>103</c:v>
                </c:pt>
                <c:pt idx="108">
                  <c:v>103</c:v>
                </c:pt>
                <c:pt idx="109">
                  <c:v>102</c:v>
                </c:pt>
                <c:pt idx="110">
                  <c:v>101</c:v>
                </c:pt>
                <c:pt idx="111">
                  <c:v>105</c:v>
                </c:pt>
                <c:pt idx="112">
                  <c:v>111</c:v>
                </c:pt>
                <c:pt idx="113">
                  <c:v>112</c:v>
                </c:pt>
                <c:pt idx="114">
                  <c:v>112</c:v>
                </c:pt>
                <c:pt idx="115">
                  <c:v>112</c:v>
                </c:pt>
                <c:pt idx="116">
                  <c:v>115</c:v>
                </c:pt>
                <c:pt idx="117">
                  <c:v>115</c:v>
                </c:pt>
                <c:pt idx="118">
                  <c:v>114</c:v>
                </c:pt>
                <c:pt idx="119">
                  <c:v>114</c:v>
                </c:pt>
                <c:pt idx="120">
                  <c:v>116</c:v>
                </c:pt>
                <c:pt idx="121">
                  <c:v>114</c:v>
                </c:pt>
                <c:pt idx="122">
                  <c:v>109</c:v>
                </c:pt>
                <c:pt idx="123">
                  <c:v>90</c:v>
                </c:pt>
                <c:pt idx="124">
                  <c:v>91</c:v>
                </c:pt>
                <c:pt idx="125">
                  <c:v>86</c:v>
                </c:pt>
                <c:pt idx="126">
                  <c:v>86</c:v>
                </c:pt>
                <c:pt idx="127">
                  <c:v>93</c:v>
                </c:pt>
                <c:pt idx="128">
                  <c:v>97</c:v>
                </c:pt>
                <c:pt idx="129">
                  <c:v>100</c:v>
                </c:pt>
                <c:pt idx="130">
                  <c:v>109</c:v>
                </c:pt>
                <c:pt idx="131">
                  <c:v>113</c:v>
                </c:pt>
                <c:pt idx="132">
                  <c:v>108</c:v>
                </c:pt>
                <c:pt idx="133">
                  <c:v>116</c:v>
                </c:pt>
                <c:pt idx="134">
                  <c:v>119</c:v>
                </c:pt>
                <c:pt idx="135">
                  <c:v>126</c:v>
                </c:pt>
                <c:pt idx="136">
                  <c:v>127</c:v>
                </c:pt>
                <c:pt idx="137">
                  <c:v>127</c:v>
                </c:pt>
                <c:pt idx="138">
                  <c:v>123</c:v>
                </c:pt>
                <c:pt idx="139">
                  <c:v>131</c:v>
                </c:pt>
                <c:pt idx="140">
                  <c:v>136</c:v>
                </c:pt>
                <c:pt idx="141">
                  <c:v>136</c:v>
                </c:pt>
                <c:pt idx="142">
                  <c:v>140</c:v>
                </c:pt>
                <c:pt idx="143">
                  <c:v>154</c:v>
                </c:pt>
                <c:pt idx="144">
                  <c:v>156</c:v>
                </c:pt>
                <c:pt idx="145">
                  <c:v>151</c:v>
                </c:pt>
                <c:pt idx="146">
                  <c:v>153</c:v>
                </c:pt>
                <c:pt idx="147">
                  <c:v>162</c:v>
                </c:pt>
                <c:pt idx="148">
                  <c:v>161</c:v>
                </c:pt>
                <c:pt idx="149">
                  <c:v>161</c:v>
                </c:pt>
                <c:pt idx="150">
                  <c:v>162</c:v>
                </c:pt>
                <c:pt idx="151">
                  <c:v>155</c:v>
                </c:pt>
                <c:pt idx="152">
                  <c:v>153</c:v>
                </c:pt>
                <c:pt idx="153">
                  <c:v>129</c:v>
                </c:pt>
                <c:pt idx="154">
                  <c:v>136</c:v>
                </c:pt>
                <c:pt idx="155">
                  <c:v>139</c:v>
                </c:pt>
                <c:pt idx="156">
                  <c:v>142</c:v>
                </c:pt>
                <c:pt idx="157">
                  <c:v>144</c:v>
                </c:pt>
                <c:pt idx="158">
                  <c:v>143</c:v>
                </c:pt>
                <c:pt idx="159">
                  <c:v>142</c:v>
                </c:pt>
                <c:pt idx="160">
                  <c:v>143</c:v>
                </c:pt>
                <c:pt idx="161">
                  <c:v>148</c:v>
                </c:pt>
                <c:pt idx="162">
                  <c:v>149</c:v>
                </c:pt>
                <c:pt idx="163">
                  <c:v>156</c:v>
                </c:pt>
                <c:pt idx="164">
                  <c:v>156</c:v>
                </c:pt>
                <c:pt idx="165">
                  <c:v>151</c:v>
                </c:pt>
                <c:pt idx="166">
                  <c:v>146</c:v>
                </c:pt>
                <c:pt idx="167">
                  <c:v>143</c:v>
                </c:pt>
                <c:pt idx="168">
                  <c:v>146</c:v>
                </c:pt>
                <c:pt idx="169">
                  <c:v>149</c:v>
                </c:pt>
                <c:pt idx="170">
                  <c:v>158</c:v>
                </c:pt>
                <c:pt idx="171">
                  <c:v>159</c:v>
                </c:pt>
                <c:pt idx="172">
                  <c:v>158</c:v>
                </c:pt>
                <c:pt idx="173">
                  <c:v>151</c:v>
                </c:pt>
                <c:pt idx="174">
                  <c:v>151</c:v>
                </c:pt>
                <c:pt idx="175">
                  <c:v>156</c:v>
                </c:pt>
                <c:pt idx="176">
                  <c:v>158</c:v>
                </c:pt>
                <c:pt idx="177">
                  <c:v>163</c:v>
                </c:pt>
                <c:pt idx="178">
                  <c:v>161</c:v>
                </c:pt>
                <c:pt idx="179">
                  <c:v>155</c:v>
                </c:pt>
                <c:pt idx="180">
                  <c:v>150</c:v>
                </c:pt>
                <c:pt idx="181">
                  <c:v>142</c:v>
                </c:pt>
                <c:pt idx="182">
                  <c:v>141</c:v>
                </c:pt>
                <c:pt idx="183">
                  <c:v>134</c:v>
                </c:pt>
                <c:pt idx="184">
                  <c:v>118</c:v>
                </c:pt>
                <c:pt idx="185">
                  <c:v>120</c:v>
                </c:pt>
                <c:pt idx="186">
                  <c:v>117</c:v>
                </c:pt>
                <c:pt idx="187">
                  <c:v>116</c:v>
                </c:pt>
                <c:pt idx="188">
                  <c:v>119</c:v>
                </c:pt>
                <c:pt idx="189">
                  <c:v>120</c:v>
                </c:pt>
                <c:pt idx="190">
                  <c:v>120</c:v>
                </c:pt>
                <c:pt idx="191">
                  <c:v>123</c:v>
                </c:pt>
                <c:pt idx="192">
                  <c:v>124</c:v>
                </c:pt>
                <c:pt idx="193">
                  <c:v>124</c:v>
                </c:pt>
                <c:pt idx="194">
                  <c:v>121</c:v>
                </c:pt>
                <c:pt idx="195">
                  <c:v>105</c:v>
                </c:pt>
                <c:pt idx="196">
                  <c:v>107</c:v>
                </c:pt>
                <c:pt idx="197">
                  <c:v>115</c:v>
                </c:pt>
                <c:pt idx="198">
                  <c:v>116</c:v>
                </c:pt>
                <c:pt idx="199">
                  <c:v>121</c:v>
                </c:pt>
                <c:pt idx="200">
                  <c:v>120</c:v>
                </c:pt>
                <c:pt idx="201">
                  <c:v>120</c:v>
                </c:pt>
                <c:pt idx="202">
                  <c:v>125</c:v>
                </c:pt>
                <c:pt idx="203">
                  <c:v>127</c:v>
                </c:pt>
                <c:pt idx="204">
                  <c:v>132</c:v>
                </c:pt>
                <c:pt idx="205">
                  <c:v>135</c:v>
                </c:pt>
                <c:pt idx="206">
                  <c:v>136</c:v>
                </c:pt>
                <c:pt idx="207">
                  <c:v>130</c:v>
                </c:pt>
                <c:pt idx="208">
                  <c:v>130</c:v>
                </c:pt>
                <c:pt idx="209">
                  <c:v>132</c:v>
                </c:pt>
                <c:pt idx="210">
                  <c:v>131</c:v>
                </c:pt>
                <c:pt idx="211">
                  <c:v>136</c:v>
                </c:pt>
                <c:pt idx="212">
                  <c:v>130</c:v>
                </c:pt>
                <c:pt idx="213">
                  <c:v>126</c:v>
                </c:pt>
                <c:pt idx="214">
                  <c:v>121</c:v>
                </c:pt>
                <c:pt idx="215">
                  <c:v>79</c:v>
                </c:pt>
                <c:pt idx="216">
                  <c:v>88</c:v>
                </c:pt>
                <c:pt idx="217">
                  <c:v>100</c:v>
                </c:pt>
                <c:pt idx="218">
                  <c:v>107</c:v>
                </c:pt>
                <c:pt idx="219">
                  <c:v>111</c:v>
                </c:pt>
                <c:pt idx="220">
                  <c:v>118</c:v>
                </c:pt>
                <c:pt idx="221">
                  <c:v>121</c:v>
                </c:pt>
                <c:pt idx="222">
                  <c:v>119</c:v>
                </c:pt>
                <c:pt idx="223">
                  <c:v>121</c:v>
                </c:pt>
                <c:pt idx="224">
                  <c:v>125</c:v>
                </c:pt>
                <c:pt idx="225">
                  <c:v>133</c:v>
                </c:pt>
                <c:pt idx="226">
                  <c:v>134</c:v>
                </c:pt>
                <c:pt idx="227">
                  <c:v>137</c:v>
                </c:pt>
                <c:pt idx="228">
                  <c:v>138</c:v>
                </c:pt>
                <c:pt idx="229">
                  <c:v>133</c:v>
                </c:pt>
                <c:pt idx="230">
                  <c:v>141</c:v>
                </c:pt>
                <c:pt idx="231">
                  <c:v>151</c:v>
                </c:pt>
                <c:pt idx="232">
                  <c:v>157</c:v>
                </c:pt>
                <c:pt idx="233">
                  <c:v>165</c:v>
                </c:pt>
                <c:pt idx="234">
                  <c:v>172</c:v>
                </c:pt>
                <c:pt idx="235">
                  <c:v>171</c:v>
                </c:pt>
                <c:pt idx="236">
                  <c:v>169</c:v>
                </c:pt>
                <c:pt idx="237">
                  <c:v>164</c:v>
                </c:pt>
                <c:pt idx="238">
                  <c:v>175</c:v>
                </c:pt>
                <c:pt idx="239">
                  <c:v>170</c:v>
                </c:pt>
                <c:pt idx="240">
                  <c:v>173</c:v>
                </c:pt>
                <c:pt idx="241">
                  <c:v>173</c:v>
                </c:pt>
                <c:pt idx="242">
                  <c:v>168</c:v>
                </c:pt>
                <c:pt idx="243">
                  <c:v>123</c:v>
                </c:pt>
                <c:pt idx="244">
                  <c:v>138</c:v>
                </c:pt>
                <c:pt idx="245">
                  <c:v>150</c:v>
                </c:pt>
                <c:pt idx="246">
                  <c:v>160</c:v>
                </c:pt>
                <c:pt idx="247">
                  <c:v>167</c:v>
                </c:pt>
                <c:pt idx="248">
                  <c:v>169</c:v>
                </c:pt>
                <c:pt idx="249">
                  <c:v>163</c:v>
                </c:pt>
                <c:pt idx="250">
                  <c:v>155</c:v>
                </c:pt>
                <c:pt idx="251">
                  <c:v>159</c:v>
                </c:pt>
                <c:pt idx="252">
                  <c:v>166</c:v>
                </c:pt>
                <c:pt idx="253">
                  <c:v>172</c:v>
                </c:pt>
                <c:pt idx="254">
                  <c:v>181</c:v>
                </c:pt>
                <c:pt idx="255">
                  <c:v>186</c:v>
                </c:pt>
                <c:pt idx="256">
                  <c:v>186</c:v>
                </c:pt>
                <c:pt idx="257">
                  <c:v>180</c:v>
                </c:pt>
                <c:pt idx="258">
                  <c:v>189</c:v>
                </c:pt>
                <c:pt idx="259">
                  <c:v>194</c:v>
                </c:pt>
                <c:pt idx="260">
                  <c:v>198</c:v>
                </c:pt>
                <c:pt idx="261">
                  <c:v>208</c:v>
                </c:pt>
                <c:pt idx="262">
                  <c:v>212</c:v>
                </c:pt>
                <c:pt idx="263">
                  <c:v>208</c:v>
                </c:pt>
                <c:pt idx="264">
                  <c:v>204</c:v>
                </c:pt>
                <c:pt idx="265">
                  <c:v>208</c:v>
                </c:pt>
                <c:pt idx="266">
                  <c:v>206</c:v>
                </c:pt>
                <c:pt idx="267">
                  <c:v>211</c:v>
                </c:pt>
                <c:pt idx="268">
                  <c:v>218</c:v>
                </c:pt>
                <c:pt idx="269">
                  <c:v>221</c:v>
                </c:pt>
                <c:pt idx="270">
                  <c:v>216</c:v>
                </c:pt>
                <c:pt idx="271">
                  <c:v>209</c:v>
                </c:pt>
                <c:pt idx="272">
                  <c:v>209</c:v>
                </c:pt>
                <c:pt idx="273">
                  <c:v>213</c:v>
                </c:pt>
                <c:pt idx="274">
                  <c:v>181</c:v>
                </c:pt>
                <c:pt idx="275">
                  <c:v>192</c:v>
                </c:pt>
                <c:pt idx="276">
                  <c:v>196</c:v>
                </c:pt>
                <c:pt idx="277">
                  <c:v>195</c:v>
                </c:pt>
                <c:pt idx="278">
                  <c:v>189</c:v>
                </c:pt>
                <c:pt idx="279">
                  <c:v>193</c:v>
                </c:pt>
                <c:pt idx="280">
                  <c:v>200</c:v>
                </c:pt>
                <c:pt idx="281">
                  <c:v>207</c:v>
                </c:pt>
                <c:pt idx="282">
                  <c:v>220</c:v>
                </c:pt>
                <c:pt idx="283">
                  <c:v>217</c:v>
                </c:pt>
                <c:pt idx="284">
                  <c:v>213</c:v>
                </c:pt>
                <c:pt idx="285">
                  <c:v>208</c:v>
                </c:pt>
                <c:pt idx="286">
                  <c:v>220</c:v>
                </c:pt>
                <c:pt idx="287">
                  <c:v>228</c:v>
                </c:pt>
                <c:pt idx="288">
                  <c:v>229</c:v>
                </c:pt>
                <c:pt idx="289">
                  <c:v>239</c:v>
                </c:pt>
                <c:pt idx="290">
                  <c:v>241</c:v>
                </c:pt>
                <c:pt idx="291">
                  <c:v>243</c:v>
                </c:pt>
                <c:pt idx="292">
                  <c:v>242</c:v>
                </c:pt>
                <c:pt idx="293">
                  <c:v>254</c:v>
                </c:pt>
                <c:pt idx="294">
                  <c:v>254</c:v>
                </c:pt>
                <c:pt idx="295">
                  <c:v>260</c:v>
                </c:pt>
                <c:pt idx="296">
                  <c:v>264</c:v>
                </c:pt>
                <c:pt idx="297">
                  <c:v>255</c:v>
                </c:pt>
                <c:pt idx="298">
                  <c:v>252</c:v>
                </c:pt>
                <c:pt idx="299">
                  <c:v>261</c:v>
                </c:pt>
                <c:pt idx="300">
                  <c:v>261</c:v>
                </c:pt>
                <c:pt idx="301">
                  <c:v>261</c:v>
                </c:pt>
                <c:pt idx="302">
                  <c:v>259</c:v>
                </c:pt>
                <c:pt idx="303">
                  <c:v>221</c:v>
                </c:pt>
                <c:pt idx="304">
                  <c:v>206</c:v>
                </c:pt>
                <c:pt idx="305">
                  <c:v>198</c:v>
                </c:pt>
                <c:pt idx="306">
                  <c:v>216</c:v>
                </c:pt>
                <c:pt idx="307">
                  <c:v>224</c:v>
                </c:pt>
                <c:pt idx="308">
                  <c:v>238</c:v>
                </c:pt>
                <c:pt idx="309">
                  <c:v>238</c:v>
                </c:pt>
                <c:pt idx="310">
                  <c:v>243</c:v>
                </c:pt>
                <c:pt idx="311">
                  <c:v>232</c:v>
                </c:pt>
                <c:pt idx="312">
                  <c:v>233</c:v>
                </c:pt>
                <c:pt idx="313">
                  <c:v>228</c:v>
                </c:pt>
                <c:pt idx="314">
                  <c:v>232</c:v>
                </c:pt>
                <c:pt idx="315">
                  <c:v>251</c:v>
                </c:pt>
                <c:pt idx="316">
                  <c:v>255</c:v>
                </c:pt>
                <c:pt idx="317">
                  <c:v>264</c:v>
                </c:pt>
                <c:pt idx="318">
                  <c:v>254</c:v>
                </c:pt>
                <c:pt idx="319">
                  <c:v>252</c:v>
                </c:pt>
                <c:pt idx="320">
                  <c:v>265</c:v>
                </c:pt>
                <c:pt idx="321">
                  <c:v>278</c:v>
                </c:pt>
                <c:pt idx="322">
                  <c:v>284</c:v>
                </c:pt>
                <c:pt idx="323">
                  <c:v>285</c:v>
                </c:pt>
                <c:pt idx="324">
                  <c:v>282</c:v>
                </c:pt>
                <c:pt idx="325">
                  <c:v>275</c:v>
                </c:pt>
                <c:pt idx="326">
                  <c:v>264</c:v>
                </c:pt>
                <c:pt idx="327">
                  <c:v>268</c:v>
                </c:pt>
                <c:pt idx="328">
                  <c:v>272</c:v>
                </c:pt>
                <c:pt idx="329">
                  <c:v>287</c:v>
                </c:pt>
                <c:pt idx="330">
                  <c:v>287</c:v>
                </c:pt>
                <c:pt idx="331">
                  <c:v>286</c:v>
                </c:pt>
                <c:pt idx="332">
                  <c:v>274</c:v>
                </c:pt>
                <c:pt idx="333">
                  <c:v>260</c:v>
                </c:pt>
                <c:pt idx="334">
                  <c:v>270</c:v>
                </c:pt>
                <c:pt idx="335">
                  <c:v>271</c:v>
                </c:pt>
                <c:pt idx="336">
                  <c:v>274</c:v>
                </c:pt>
                <c:pt idx="337">
                  <c:v>273</c:v>
                </c:pt>
                <c:pt idx="338">
                  <c:v>273</c:v>
                </c:pt>
                <c:pt idx="339">
                  <c:v>267</c:v>
                </c:pt>
                <c:pt idx="340">
                  <c:v>262</c:v>
                </c:pt>
                <c:pt idx="341">
                  <c:v>279</c:v>
                </c:pt>
                <c:pt idx="342">
                  <c:v>290</c:v>
                </c:pt>
                <c:pt idx="343">
                  <c:v>306</c:v>
                </c:pt>
                <c:pt idx="344">
                  <c:v>321</c:v>
                </c:pt>
                <c:pt idx="345">
                  <c:v>323</c:v>
                </c:pt>
                <c:pt idx="346">
                  <c:v>305</c:v>
                </c:pt>
                <c:pt idx="347">
                  <c:v>304</c:v>
                </c:pt>
                <c:pt idx="348">
                  <c:v>313</c:v>
                </c:pt>
                <c:pt idx="349">
                  <c:v>315</c:v>
                </c:pt>
                <c:pt idx="350">
                  <c:v>319</c:v>
                </c:pt>
                <c:pt idx="351">
                  <c:v>320</c:v>
                </c:pt>
                <c:pt idx="352">
                  <c:v>323</c:v>
                </c:pt>
                <c:pt idx="353">
                  <c:v>313</c:v>
                </c:pt>
                <c:pt idx="354">
                  <c:v>3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DB-4A22-B36A-DA67314BDC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68615584"/>
        <c:axId val="1399541711"/>
      </c:lineChart>
      <c:dateAx>
        <c:axId val="668615584"/>
        <c:scaling>
          <c:orientation val="minMax"/>
        </c:scaling>
        <c:delete val="0"/>
        <c:axPos val="b"/>
        <c:numFmt formatCode="dd\.mm\.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6E82A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99541711"/>
        <c:crosses val="autoZero"/>
        <c:auto val="1"/>
        <c:lblOffset val="100"/>
        <c:baseTimeUnit val="days"/>
      </c:dateAx>
      <c:valAx>
        <c:axId val="139954171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8615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00_15BD607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233FE8D-C70F-4390-96FA-88DC84BE0B25}" authorId="{268D9263-5173-028E-85A1-0B1D1D90B20F}" created="2026-06-25T06:12:00.083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64732539" sldId="256"/>
      <ac:graphicFrameMk id="2" creationId="{7E41534D-35CB-7CE5-9BF5-B1B512A4B0BA}"/>
    </ac:deMkLst>
    <p188:txBody>
      <a:bodyPr/>
      <a:lstStyle/>
      <a:p>
        <a:r>
          <a:rPr lang="ru-RU"/>
          <a:t>наверное, лучше КА написать полностью? (тогда РК тоже)</a:t>
        </a:r>
      </a:p>
    </p188:txBody>
  </p188:cm>
</p188:cmLst>
</file>

<file path=ppt/comments/modernComment_120_28A2661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21813BB-2C63-406A-A315-A36EBDEC3B45}" authorId="{268D9263-5173-028E-85A1-0B1D1D90B20F}" created="2026-06-25T06:00:00.04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681731615" sldId="288"/>
      <ac:spMk id="2" creationId="{90E35EB2-ACA8-29B4-EAEC-1C456AFAD0D0}"/>
      <ac:txMk cp="3" len="4">
        <ac:context len="8" hash="2835373313"/>
      </ac:txMk>
    </ac:txMkLst>
    <p188:pos x="7401264" y="420123"/>
    <p188:txBody>
      <a:bodyPr/>
      <a:lstStyle/>
      <a:p>
        <a:r>
          <a:rPr lang="ru-RU"/>
          <a:t>не нужно указать валюту?</a:t>
        </a:r>
      </a:p>
    </p188:txBody>
  </p188:cm>
</p188:cmLst>
</file>

<file path=ppt/comments/modernComment_121_8EFAD4B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6300485-2D85-471F-80AB-E7F80FE9D807}" authorId="{EA26CF07-0D2F-0FEC-1EC1-7ADFAB9A49EA}" created="2026-06-24T13:51:24.745">
    <pc:sldMkLst xmlns:pc="http://schemas.microsoft.com/office/powerpoint/2013/main/command">
      <pc:docMk/>
      <pc:sldMk cId="2398803121" sldId="289"/>
    </pc:sldMkLst>
    <p188:txBody>
      <a:bodyPr/>
      <a:lstStyle/>
      <a:p>
        <a:r>
          <a:rPr lang="ru-RU"/>
          <a:t>Джабба Хатт - отрицательный персонаж из ЗВ. Странно видеть его тут) если это пост мета ирония и спикеру ок, то ок)</a:t>
        </a:r>
      </a:p>
    </p188:txBody>
  </p188:cm>
  <p188:cm id="{41E7F9FE-747E-4377-A173-5294A9988B99}" authorId="{268D9263-5173-028E-85A1-0B1D1D90B20F}" created="2026-06-25T06:00:05.44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398803121" sldId="289"/>
      <ac:spMk id="2" creationId="{43708393-3E9D-35CB-96AF-52DD6DC350C8}"/>
      <ac:txMk cp="3" len="4">
        <ac:context len="8" hash="2835373313"/>
      </ac:txMk>
    </ac:txMkLst>
    <p188:pos x="3765935" y="417258"/>
    <p188:txBody>
      <a:bodyPr/>
      <a:lstStyle/>
      <a:p>
        <a:r>
          <a:rPr lang="ru-RU"/>
          <a:t>не нужно указать валюту?</a:t>
        </a:r>
      </a:p>
    </p188:txBody>
  </p188:cm>
  <p188:cm id="{E07ABF8E-D6E6-4A1D-B32C-B2A16D6BFC6D}" authorId="{268D9263-5173-028E-85A1-0B1D1D90B20F}" created="2026-06-25T06:00:09.49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398803121" sldId="289"/>
      <ac:spMk id="18" creationId="{BC47EFF4-F47B-4139-AD16-07A5AE72F3C4}"/>
      <ac:txMk cp="4" len="4">
        <ac:context len="9" hash="3284048780"/>
      </ac:txMk>
    </ac:txMkLst>
    <p188:pos x="9025496" y="418036"/>
    <p188:txBody>
      <a:bodyPr/>
      <a:lstStyle/>
      <a:p>
        <a:r>
          <a:rPr lang="ru-RU"/>
          <a:t>не нужно указать валюту?</a:t>
        </a:r>
      </a:p>
    </p188:txBody>
  </p188:cm>
</p188:cmLst>
</file>

<file path=ppt/comments/modernComment_12F_E183328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F8064AA-76F0-4365-B610-FC00DFB78081}" authorId="{268D9263-5173-028E-85A1-0B1D1D90B20F}" created="2026-06-25T06:06:16.24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783471751" sldId="303"/>
      <ac:spMk id="9" creationId="{822ACDD7-32FD-3739-8D6B-D7783477D590}"/>
      <ac:txMk cp="95" len="13">
        <ac:context len="177" hash="2332288074"/>
      </ac:txMk>
    </ac:txMkLst>
    <p188:pos x="8290144" y="1660742"/>
    <p188:txBody>
      <a:bodyPr/>
      <a:lstStyle/>
      <a:p>
        <a:r>
          <a:rPr lang="ru-RU"/>
          <a:t>не нужно указать ед. измерения?</a:t>
        </a:r>
      </a:p>
    </p188:txBody>
  </p188:cm>
</p188:cmLst>
</file>

<file path=ppt/comments/modernComment_137_1240ED4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E19A15C-B140-334E-8ECC-A331CE0040FF}" authorId="{E8883B41-F533-9B12-892C-8C9402980B31}" created="2026-06-22T10:35:52.99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06244935" sldId="311"/>
      <ac:picMk id="12" creationId="{FF835307-C939-789F-5798-83785E92FEB3}"/>
    </ac:deMkLst>
    <p188:replyLst/>
    <p188:txBody>
      <a:bodyPr/>
      <a:lstStyle/>
      <a:p>
        <a:r>
          <a:rPr lang="ru-RU"/>
          <a:t>скрин о паблишерах сюда точно не подходит)</a:t>
        </a:r>
      </a:p>
    </p188:txBody>
  </p188:cm>
</p188:cmLst>
</file>

<file path=ppt/comments/modernComment_7FFFFFFD_B1331F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B82B709-09FA-4C6E-9CE2-B11482F3ED4A}" authorId="{EA26CF07-0D2F-0FEC-1EC1-7ADFAB9A49EA}" created="2026-06-24T13:43:15.75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5807352" sldId="2147483645"/>
      <ac:spMk id="9" creationId="{1CB0D57B-3FC1-0C67-0FAF-1A6AA31E3B55}"/>
    </ac:deMkLst>
    <p188:txBody>
      <a:bodyPr/>
      <a:lstStyle/>
      <a:p>
        <a:r>
          <a:rPr lang="ru-RU"/>
          <a:t>Яндекс Реклама или Яндекс?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D229825-10BF-3644-89E6-B049F279C70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7DFDF4-DBC1-EA4C-B550-27B9F4CFCEE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59C77B-EB7F-884A-84DB-B0F1F9ECE81D}" type="datetimeFigureOut">
              <a:rPr lang="en-RU" smtClean="0">
                <a:latin typeface="YS Text Regular" pitchFamily="2" charset="0"/>
              </a:rPr>
              <a:t>06/25/2026</a:t>
            </a:fld>
            <a:endParaRPr lang="en-RU">
              <a:latin typeface="YS Text Regular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3DF04F-742A-0A47-894F-5D9D94E722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15E168-A95F-9D40-9ADB-977035C71C7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82F69E-2033-F148-9CE9-92E594800F98}" type="slidenum">
              <a:rPr lang="en-RU" smtClean="0">
                <a:latin typeface="YS Text Regular" pitchFamily="2" charset="0"/>
              </a:rPr>
              <a:t>‹#›</a:t>
            </a:fld>
            <a:endParaRPr lang="en-RU">
              <a:latin typeface="YS Text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2457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7B954CF8-AF7E-4EB9-A796-066AA6FAAF3E}" type="datetimeFigureOut">
              <a:rPr lang="ru-RU" smtClean="0"/>
              <a:pPr/>
              <a:t>25.06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ACE75DF2-1DC0-40EC-8693-A70E2755161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0390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1pPr>
    <a:lvl2pPr marL="914354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2pPr>
    <a:lvl3pPr marL="1828709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3pPr>
    <a:lvl4pPr marL="2743063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4pPr>
    <a:lvl5pPr marL="3657417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в</a:t>
            </a:r>
            <a:r>
              <a:rPr lang="ru-RU" sz="2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устройства становятся целой цифровой средой, которая подстраивается не только контентом, но и рекламой под пользователя 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5819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7C5ED0-4DF9-1C7A-ED8D-A554E6BD59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D948127-8639-B35B-0717-2AA61B22CB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BDAFB101-A017-06D0-0281-BFDCC6ADBC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EAED927-2359-1EC8-4895-5429E0BC11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4050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690C59-DB06-3E61-6336-F2FF440B30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CE653927-0BF6-C920-4CA9-71BA714E5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F4854E46-DC23-A38F-B654-10842348AF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1434618-BEB1-EC8C-6FB6-D3C04F2B3F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03709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CEA2B0-8DD2-39D9-DE66-2DA1D57FB9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53D092-D6F4-7ED1-AA29-AB91352B09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812A9E-EFE2-5ECE-11D5-94E61BEDA2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45F8F3-CD7B-D68E-6E53-3098F44010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52174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88361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6E7D3A-0D8D-A30A-780E-BC5C1AE56F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10DF65D5-6D2E-1E39-356B-C27338F6FA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02F250E4-3A24-1DF2-4E87-B5C9A38476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укционная видеореклама на </a:t>
            </a:r>
            <a:r>
              <a:rPr lang="ru-RU" sz="24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в</a:t>
            </a:r>
            <a:r>
              <a:rPr lang="ru-RU" sz="2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Директе дает возможность настраивать показы по </a:t>
            </a:r>
            <a:r>
              <a:rPr lang="ru-RU" sz="24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цдему</a:t>
            </a:r>
            <a:r>
              <a:rPr lang="ru-RU" sz="2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24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тресам</a:t>
            </a:r>
            <a:r>
              <a:rPr lang="ru-RU" sz="2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типу контента – без наценок на </a:t>
            </a:r>
            <a:r>
              <a:rPr lang="ru-RU" sz="24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аргетинги</a:t>
            </a:r>
            <a:r>
              <a:rPr lang="ru-RU" sz="2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Благодаря умным стратегиям медийной рекламы вам доступная умная оптимизация показов под важные цели бизнеса – будь то поисковый интерес для обогащения перфоманс-продвижения или же </a:t>
            </a:r>
            <a:r>
              <a:rPr lang="ru-RU" sz="24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посрсдственно</a:t>
            </a:r>
            <a:r>
              <a:rPr lang="ru-RU" sz="2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достижение целевых действий на сайте. Бесплатно в кабинете директа доступны исследования, которые помогут проанализировать влияние конкретной кампании на </a:t>
            </a:r>
            <a:r>
              <a:rPr lang="ru-RU" sz="24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в</a:t>
            </a:r>
            <a:r>
              <a:rPr lang="ru-RU" sz="2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на поисковый интерес, целевые действия, трафик на сайте и, конечно, знание о бренде 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65EBC9F-E62C-6B76-2B46-5EC46EED7D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879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1407039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796400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B91C1BE-9757-F6C2-CA00-D5F9E9E5C5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1144194"/>
            <a:ext cx="17862550" cy="3662734"/>
          </a:xfrm>
        </p:spPr>
        <p:txBody>
          <a:bodyPr vert="horz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88C61EF0-1A83-6293-2304-9718A527A40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70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5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3F413DB7-B596-1296-851D-73CB81551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DEE1852F-A42F-4480-9CEE-1F11E764A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0800"/>
            <a:ext cx="21492000" cy="1534010"/>
          </a:xfrm>
        </p:spPr>
        <p:txBody>
          <a:bodyPr/>
          <a:lstStyle>
            <a:lvl1pPr algn="l" defTabSz="1828709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lang="ru-RU" sz="5600" b="0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r>
              <a:rPr lang="en-US" dirty="0"/>
              <a:t>56 pt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35276267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56 pt + 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085D6528-428C-99AD-5A70-31A52E8CC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890395B1-EA0E-6BA5-188F-731A73A75E3D}"/>
              </a:ext>
            </a:extLst>
          </p:cNvPr>
          <p:cNvSpPr/>
          <p:nvPr/>
        </p:nvSpPr>
        <p:spPr>
          <a:xfrm>
            <a:off x="301624" y="302400"/>
            <a:ext cx="8702676" cy="13104812"/>
          </a:xfrm>
          <a:prstGeom prst="roundRect">
            <a:avLst>
              <a:gd name="adj" fmla="val 355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AC47B5AB-4F26-9000-A58A-9319661CD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9999" y="12369600"/>
            <a:ext cx="6654799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818F1B2D-9B2F-E402-C1F4-D1579F1A4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0800"/>
            <a:ext cx="6654799" cy="1533600"/>
          </a:xfrm>
        </p:spPr>
        <p:txBody>
          <a:bodyPr/>
          <a:lstStyle>
            <a:lvl1pPr algn="l" defTabSz="1828709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lang="ru-RU" sz="5600" b="0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r>
              <a:rPr lang="en-US" dirty="0"/>
              <a:t>56 pt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4856027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4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316FD2ED-9AC7-F3AD-B80D-0C765DEE4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62C427DF-3DDF-582C-ECDD-CCA124D334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4400"/>
            <a:ext cx="21492000" cy="615553"/>
          </a:xfrm>
        </p:spPr>
        <p:txBody>
          <a:bodyPr/>
          <a:lstStyle>
            <a:lvl1pPr>
              <a:lnSpc>
                <a:spcPct val="100000"/>
              </a:lnSpc>
              <a:defRPr sz="4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Небольшой заголовок </a:t>
            </a:r>
            <a:r>
              <a:rPr lang="en-US" dirty="0"/>
              <a:t>40 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70264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9E87C3E4-1A2E-C85E-B064-18A9B2C2E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592360" y="12366000"/>
            <a:ext cx="327013" cy="317972"/>
          </a:xfrm>
        </p:spPr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FE4CC2B2-965C-2419-EEAC-930A033226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</p:spTree>
    <p:extLst>
      <p:ext uri="{BB962C8B-B14F-4D97-AF65-F5344CB8AC3E}">
        <p14:creationId xmlns:p14="http://schemas.microsoft.com/office/powerpoint/2010/main" val="1808777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>
            <a:extLst>
              <a:ext uri="{FF2B5EF4-FFF2-40B4-BE49-F238E27FC236}">
                <a16:creationId xmlns:a16="http://schemas.microsoft.com/office/drawing/2014/main" id="{2C293702-EB37-CFF7-A1CB-233E37A4FFD1}"/>
              </a:ext>
            </a:extLst>
          </p:cNvPr>
          <p:cNvSpPr/>
          <p:nvPr userDrawn="1"/>
        </p:nvSpPr>
        <p:spPr>
          <a:xfrm>
            <a:off x="7794626" y="302400"/>
            <a:ext cx="16281400" cy="13104812"/>
          </a:xfrm>
          <a:prstGeom prst="roundRect">
            <a:avLst>
              <a:gd name="adj" fmla="val 227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footer">
            <a:extLst>
              <a:ext uri="{FF2B5EF4-FFF2-40B4-BE49-F238E27FC236}">
                <a16:creationId xmlns:a16="http://schemas.microsoft.com/office/drawing/2014/main" id="{77DBA660-865D-CA4E-1D16-3AED7BF540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0" y="12369600"/>
            <a:ext cx="5760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A05461F4-A499-2550-42AD-F07444CD2D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53032" y="2012612"/>
            <a:ext cx="5738343" cy="9849950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3000"/>
              </a:spcAft>
              <a:def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4D99278-2D64-1EC1-F7A0-008DCCB5F8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1088" y="3838025"/>
            <a:ext cx="14228293" cy="1238400"/>
          </a:xfrm>
        </p:spPr>
        <p:txBody>
          <a:bodyPr/>
          <a:lstStyle>
            <a:lvl1pPr>
              <a:lnSpc>
                <a:spcPct val="105000"/>
              </a:lnSpc>
              <a:spcAft>
                <a:spcPts val="0"/>
              </a:spcAft>
              <a:defRPr sz="2600"/>
            </a:lvl1pPr>
          </a:lstStyle>
          <a:p>
            <a:pPr lvl="0"/>
            <a:r>
              <a:rPr lang="ru-RU" dirty="0"/>
              <a:t>Результат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F41362D4-2514-73A2-0B32-F52D81C9D6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01088" y="1659600"/>
            <a:ext cx="14228293" cy="1688319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lang="ru-RU" sz="4800" kern="1200" dirty="0">
                <a:solidFill>
                  <a:schemeClr val="bg1"/>
                </a:solidFill>
                <a:latin typeface="YS Display Bold" pitchFamily="2" charset="-52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CDE8DD09-71DE-3758-BD48-321A7114BF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8000" y="982800"/>
            <a:ext cx="3023229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algn="r" fontAlgn="auto">
              <a:buClrTx/>
              <a:buSzTx/>
            </a:pPr>
            <a:r>
              <a:rPr lang="ru-RU" dirty="0"/>
              <a:t>ДАТА</a:t>
            </a:r>
          </a:p>
        </p:txBody>
      </p:sp>
      <p:sp>
        <p:nvSpPr>
          <p:cNvPr id="15" name="company">
            <a:extLst>
              <a:ext uri="{FF2B5EF4-FFF2-40B4-BE49-F238E27FC236}">
                <a16:creationId xmlns:a16="http://schemas.microsoft.com/office/drawing/2014/main" id="{556C3212-9887-624B-6E5B-C699D40D7A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3903" y="982800"/>
            <a:ext cx="9936000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fontAlgn="auto">
              <a:buClrTx/>
              <a:buSzTx/>
            </a:pPr>
            <a:r>
              <a:rPr lang="ru-RU" dirty="0"/>
              <a:t>НАЗВАНИЕ КОМПАНИИ</a:t>
            </a:r>
          </a:p>
        </p:txBody>
      </p:sp>
      <p:sp>
        <p:nvSpPr>
          <p:cNvPr id="17" name="icon">
            <a:extLst>
              <a:ext uri="{FF2B5EF4-FFF2-40B4-BE49-F238E27FC236}">
                <a16:creationId xmlns:a16="http://schemas.microsoft.com/office/drawing/2014/main" id="{E387E008-74EB-B835-C1A7-2F71574318BF}"/>
              </a:ext>
            </a:extLst>
          </p:cNvPr>
          <p:cNvSpPr>
            <a:spLocks noChangeAspect="1"/>
          </p:cNvSpPr>
          <p:nvPr userDrawn="1"/>
        </p:nvSpPr>
        <p:spPr>
          <a:xfrm>
            <a:off x="8719402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solidFill>
              <a:srgbClr val="6E82AA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case">
            <a:extLst>
              <a:ext uri="{FF2B5EF4-FFF2-40B4-BE49-F238E27FC236}">
                <a16:creationId xmlns:a16="http://schemas.microsoft.com/office/drawing/2014/main" id="{B2E2BA34-8040-DAC0-45A2-9E83D1942165}"/>
              </a:ext>
            </a:extLst>
          </p:cNvPr>
          <p:cNvSpPr/>
          <p:nvPr userDrawn="1"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  <p:sp>
        <p:nvSpPr>
          <p:cNvPr id="3" name="footer">
            <a:extLst>
              <a:ext uri="{FF2B5EF4-FFF2-40B4-BE49-F238E27FC236}">
                <a16:creationId xmlns:a16="http://schemas.microsoft.com/office/drawing/2014/main" id="{BBD51A12-5918-0654-C644-1150BC9D28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13637" y="12369600"/>
            <a:ext cx="14220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</p:spTree>
    <p:extLst>
      <p:ext uri="{BB962C8B-B14F-4D97-AF65-F5344CB8AC3E}">
        <p14:creationId xmlns:p14="http://schemas.microsoft.com/office/powerpoint/2010/main" val="2373248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8CFBFECA-8448-4E85-B236-8AF0376F920D}"/>
              </a:ext>
            </a:extLst>
          </p:cNvPr>
          <p:cNvSpPr/>
          <p:nvPr userDrawn="1"/>
        </p:nvSpPr>
        <p:spPr>
          <a:xfrm>
            <a:off x="12341224" y="303213"/>
            <a:ext cx="11734801" cy="13104812"/>
          </a:xfrm>
          <a:prstGeom prst="roundRect">
            <a:avLst>
              <a:gd name="adj" fmla="val 259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681CE9AC-2844-D72E-CC94-E8914BB194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0" y="12369600"/>
            <a:ext cx="9381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10" name="data">
            <a:extLst>
              <a:ext uri="{FF2B5EF4-FFF2-40B4-BE49-F238E27FC236}">
                <a16:creationId xmlns:a16="http://schemas.microsoft.com/office/drawing/2014/main" id="{D6CC76B7-9061-6038-9800-1FED6948BC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483144" y="982618"/>
            <a:ext cx="2448000" cy="307777"/>
          </a:xfrm>
        </p:spPr>
        <p:txBody>
          <a:bodyPr vert="horz" wrap="square" lIns="0" tIns="0" rIns="0" bIns="0" rtlCol="0">
            <a:spAutoFit/>
          </a:bodyPr>
          <a:lstStyle>
            <a:lvl1pPr algn="r"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fontAlgn="auto">
              <a:buClrTx/>
              <a:buSzTx/>
            </a:pPr>
            <a:r>
              <a:rPr lang="ru-RU" dirty="0"/>
              <a:t>ДАТА</a:t>
            </a:r>
          </a:p>
        </p:txBody>
      </p:sp>
      <p:sp>
        <p:nvSpPr>
          <p:cNvPr id="9" name="company">
            <a:extLst>
              <a:ext uri="{FF2B5EF4-FFF2-40B4-BE49-F238E27FC236}">
                <a16:creationId xmlns:a16="http://schemas.microsoft.com/office/drawing/2014/main" id="{25CC4E7F-CAE9-0019-53DC-E8B7B389C9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95292" y="982618"/>
            <a:ext cx="55800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000" spc="150" baseline="0">
                <a:solidFill>
                  <a:srgbClr val="6E82AA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КОМПАНИИ</a:t>
            </a:r>
          </a:p>
        </p:txBody>
      </p:sp>
      <p:sp>
        <p:nvSpPr>
          <p:cNvPr id="8" name="icon">
            <a:extLst>
              <a:ext uri="{FF2B5EF4-FFF2-40B4-BE49-F238E27FC236}">
                <a16:creationId xmlns:a16="http://schemas.microsoft.com/office/drawing/2014/main" id="{F7D68EDF-5ECE-C22A-05B2-60EB20DC42DF}"/>
              </a:ext>
            </a:extLst>
          </p:cNvPr>
          <p:cNvSpPr>
            <a:spLocks noChangeAspect="1"/>
          </p:cNvSpPr>
          <p:nvPr/>
        </p:nvSpPr>
        <p:spPr>
          <a:xfrm>
            <a:off x="13540791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case">
            <a:extLst>
              <a:ext uri="{FF2B5EF4-FFF2-40B4-BE49-F238E27FC236}">
                <a16:creationId xmlns:a16="http://schemas.microsoft.com/office/drawing/2014/main" id="{0201677F-2D91-376B-CE40-87ADF062D229}"/>
              </a:ext>
            </a:extLst>
          </p:cNvPr>
          <p:cNvSpPr/>
          <p:nvPr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4D51624A-E79D-0623-B246-F648CD97B5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41451" y="5713200"/>
            <a:ext cx="9380149" cy="2022990"/>
          </a:xfrm>
        </p:spPr>
        <p:txBody>
          <a:bodyPr/>
          <a:lstStyle>
            <a:lvl1pPr>
              <a:lnSpc>
                <a:spcPct val="104000"/>
              </a:lnSpc>
              <a:defRPr sz="3200">
                <a:latin typeface="+mn-lt"/>
              </a:defRPr>
            </a:lvl1pPr>
            <a:lvl2pPr>
              <a:lnSpc>
                <a:spcPct val="104000"/>
              </a:lnSpc>
              <a:defRPr sz="3200">
                <a:latin typeface="+mn-lt"/>
              </a:defRPr>
            </a:lvl2pPr>
            <a:lvl3pPr>
              <a:lnSpc>
                <a:spcPct val="104000"/>
              </a:lnSpc>
              <a:defRPr sz="3200">
                <a:latin typeface="+mn-lt"/>
              </a:defRPr>
            </a:lvl3pPr>
            <a:lvl4pPr>
              <a:lnSpc>
                <a:spcPct val="104000"/>
              </a:lnSpc>
              <a:defRPr sz="3200">
                <a:latin typeface="+mn-lt"/>
              </a:defRPr>
            </a:lvl4pPr>
            <a:lvl5pPr>
              <a:lnSpc>
                <a:spcPct val="104000"/>
              </a:lnSpc>
              <a:defRPr sz="3200">
                <a:latin typeface="+mn-lt"/>
              </a:defRPr>
            </a:lvl5pPr>
          </a:lstStyle>
          <a:p>
            <a:pPr lvl="0"/>
            <a:r>
              <a:rPr lang="ru-RU" dirty="0"/>
              <a:t>Развернутый результат кейса. Этот текст не должен дублировать цифры справа. Допускается использование не более шести широких строк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6FCFA56C-3384-2B97-9486-133A837A84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1" y="2171204"/>
            <a:ext cx="9380150" cy="2301015"/>
          </a:xfrm>
        </p:spPr>
        <p:txBody>
          <a:bodyPr/>
          <a:lstStyle>
            <a:lvl1pPr>
              <a:lnSpc>
                <a:spcPct val="89000"/>
              </a:lnSpc>
              <a:defRPr sz="5600"/>
            </a:lvl1pPr>
          </a:lstStyle>
          <a:p>
            <a:r>
              <a:rPr lang="ru-RU" dirty="0"/>
              <a:t>Краткий заголовок о сути кейса, используйте не больше четырех строк</a:t>
            </a:r>
          </a:p>
        </p:txBody>
      </p:sp>
      <p:sp>
        <p:nvSpPr>
          <p:cNvPr id="14" name="icon">
            <a:extLst>
              <a:ext uri="{FF2B5EF4-FFF2-40B4-BE49-F238E27FC236}">
                <a16:creationId xmlns:a16="http://schemas.microsoft.com/office/drawing/2014/main" id="{6409D026-F0FE-425F-A4D9-1D47E56CE911}"/>
              </a:ext>
            </a:extLst>
          </p:cNvPr>
          <p:cNvSpPr>
            <a:spLocks noChangeAspect="1"/>
          </p:cNvSpPr>
          <p:nvPr userDrawn="1"/>
        </p:nvSpPr>
        <p:spPr>
          <a:xfrm>
            <a:off x="13540791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case">
            <a:extLst>
              <a:ext uri="{FF2B5EF4-FFF2-40B4-BE49-F238E27FC236}">
                <a16:creationId xmlns:a16="http://schemas.microsoft.com/office/drawing/2014/main" id="{2EFFE8E3-5399-4DCC-8609-9EEDFA2256A9}"/>
              </a:ext>
            </a:extLst>
          </p:cNvPr>
          <p:cNvSpPr/>
          <p:nvPr userDrawn="1"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</p:spTree>
    <p:extLst>
      <p:ext uri="{BB962C8B-B14F-4D97-AF65-F5344CB8AC3E}">
        <p14:creationId xmlns:p14="http://schemas.microsoft.com/office/powerpoint/2010/main" val="1801726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_2">
            <a:extLst>
              <a:ext uri="{FF2B5EF4-FFF2-40B4-BE49-F238E27FC236}">
                <a16:creationId xmlns:a16="http://schemas.microsoft.com/office/drawing/2014/main" id="{635798A0-999C-4AF4-FEF0-78605A00B3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text_1">
            <a:extLst>
              <a:ext uri="{FF2B5EF4-FFF2-40B4-BE49-F238E27FC236}">
                <a16:creationId xmlns:a16="http://schemas.microsoft.com/office/drawing/2014/main" id="{1C23B8D3-3500-2140-D51F-0CFA58521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F87551C-C976-7D20-13CD-846B4366C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8699092"/>
            <a:ext cx="21492000" cy="3662734"/>
          </a:xfrm>
        </p:spPr>
        <p:txBody>
          <a:bodyPr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епоправимо улучшим вашу рекламу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C796A45-2228-9753-01BF-B211FB28FFD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82E178D6-1A24-4BEA-9C61-4E76D150734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1651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TA Ad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_2">
            <a:extLst>
              <a:ext uri="{FF2B5EF4-FFF2-40B4-BE49-F238E27FC236}">
                <a16:creationId xmlns:a16="http://schemas.microsoft.com/office/drawing/2014/main" id="{635798A0-999C-4AF4-FEF0-78605A00B3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text_1">
            <a:extLst>
              <a:ext uri="{FF2B5EF4-FFF2-40B4-BE49-F238E27FC236}">
                <a16:creationId xmlns:a16="http://schemas.microsoft.com/office/drawing/2014/main" id="{1C23B8D3-3500-2140-D51F-0CFA58521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F87551C-C976-7D20-13CD-846B4366C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8699092"/>
            <a:ext cx="21492000" cy="3662734"/>
          </a:xfrm>
        </p:spPr>
        <p:txBody>
          <a:bodyPr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стались вопросы? Обращайтесь!</a:t>
            </a:r>
          </a:p>
        </p:txBody>
      </p:sp>
      <p:pic>
        <p:nvPicPr>
          <p:cNvPr id="3" name="Рисунок 15">
            <a:extLst>
              <a:ext uri="{FF2B5EF4-FFF2-40B4-BE49-F238E27FC236}">
                <a16:creationId xmlns:a16="http://schemas.microsoft.com/office/drawing/2014/main" id="{DF494EA4-FC0D-C59C-350F-02E0C35BC37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1961476" y="1217613"/>
            <a:ext cx="971549" cy="97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385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TA with contac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A5A809-F589-5082-2CAC-7D23E9D3DA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1144800"/>
            <a:ext cx="18162588" cy="3662734"/>
          </a:xfrm>
        </p:spPr>
        <p:txBody>
          <a:bodyPr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стались вопросы? Свяжитесь с нами</a:t>
            </a:r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DDB09A1D-7A0A-A75F-DE09-367A4F93A17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EC18E09F-8B47-4D17-A640-A17A923EF6D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sp>
        <p:nvSpPr>
          <p:cNvPr id="29" name="text_8">
            <a:extLst>
              <a:ext uri="{FF2B5EF4-FFF2-40B4-BE49-F238E27FC236}">
                <a16:creationId xmlns:a16="http://schemas.microsoft.com/office/drawing/2014/main" id="{1763EB29-281C-DCFA-8D3C-A938DB1312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48750" y="12009645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Телефон</a:t>
            </a:r>
          </a:p>
        </p:txBody>
      </p:sp>
      <p:sp>
        <p:nvSpPr>
          <p:cNvPr id="30" name="text_7">
            <a:extLst>
              <a:ext uri="{FF2B5EF4-FFF2-40B4-BE49-F238E27FC236}">
                <a16:creationId xmlns:a16="http://schemas.microsoft.com/office/drawing/2014/main" id="{E0BF4D75-4EF8-D404-94FC-A6E20BAE58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48750" y="11399475"/>
            <a:ext cx="8448863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31" name="text_6">
            <a:extLst>
              <a:ext uri="{FF2B5EF4-FFF2-40B4-BE49-F238E27FC236}">
                <a16:creationId xmlns:a16="http://schemas.microsoft.com/office/drawing/2014/main" id="{AE76D02D-4A08-A68F-A089-F98F194454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48750" y="9880132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Должность</a:t>
            </a:r>
          </a:p>
        </p:txBody>
      </p:sp>
      <p:sp>
        <p:nvSpPr>
          <p:cNvPr id="32" name="text_5">
            <a:extLst>
              <a:ext uri="{FF2B5EF4-FFF2-40B4-BE49-F238E27FC236}">
                <a16:creationId xmlns:a16="http://schemas.microsoft.com/office/drawing/2014/main" id="{9685C2DA-75D8-DE87-5B9E-703A19A7EB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48750" y="9269962"/>
            <a:ext cx="8448863" cy="615553"/>
          </a:xfrm>
        </p:spPr>
        <p:txBody>
          <a:bodyPr wrap="square">
            <a:spAutoFit/>
          </a:bodyPr>
          <a:lstStyle>
            <a:lvl1pPr>
              <a:defRPr lang="ru-RU" sz="4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Имя Фамилия</a:t>
            </a:r>
          </a:p>
        </p:txBody>
      </p:sp>
      <p:sp>
        <p:nvSpPr>
          <p:cNvPr id="33" name="text_4">
            <a:extLst>
              <a:ext uri="{FF2B5EF4-FFF2-40B4-BE49-F238E27FC236}">
                <a16:creationId xmlns:a16="http://schemas.microsoft.com/office/drawing/2014/main" id="{F872F2E8-ED25-42E2-76ED-9D1BF5E223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40000" y="12009600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Телефон</a:t>
            </a:r>
          </a:p>
        </p:txBody>
      </p:sp>
      <p:sp>
        <p:nvSpPr>
          <p:cNvPr id="34" name="text_3">
            <a:extLst>
              <a:ext uri="{FF2B5EF4-FFF2-40B4-BE49-F238E27FC236}">
                <a16:creationId xmlns:a16="http://schemas.microsoft.com/office/drawing/2014/main" id="{4739DD05-981E-3831-DCF3-1298FECEE8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40000" y="11401200"/>
            <a:ext cx="8448863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35" name="text_2">
            <a:extLst>
              <a:ext uri="{FF2B5EF4-FFF2-40B4-BE49-F238E27FC236}">
                <a16:creationId xmlns:a16="http://schemas.microsoft.com/office/drawing/2014/main" id="{37682105-5CCA-9B0A-90DF-B12CDF39B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9880132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Должность</a:t>
            </a:r>
          </a:p>
        </p:txBody>
      </p:sp>
      <p:sp>
        <p:nvSpPr>
          <p:cNvPr id="36" name="text_1">
            <a:extLst>
              <a:ext uri="{FF2B5EF4-FFF2-40B4-BE49-F238E27FC236}">
                <a16:creationId xmlns:a16="http://schemas.microsoft.com/office/drawing/2014/main" id="{BC63450E-312F-72A9-8861-7507735D79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9269962"/>
            <a:ext cx="8448863" cy="615553"/>
          </a:xfrm>
        </p:spPr>
        <p:txBody>
          <a:bodyPr wrap="square">
            <a:spAutoFit/>
          </a:bodyPr>
          <a:lstStyle>
            <a:lvl1pPr>
              <a:defRPr lang="ru-RU" sz="4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Имя Фамилия</a:t>
            </a:r>
          </a:p>
        </p:txBody>
      </p:sp>
    </p:spTree>
    <p:extLst>
      <p:ext uri="{BB962C8B-B14F-4D97-AF65-F5344CB8AC3E}">
        <p14:creationId xmlns:p14="http://schemas.microsoft.com/office/powerpoint/2010/main" val="3890124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ograph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670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Типографика шаблона</a:t>
            </a:r>
            <a:endParaRPr lang="ru-RU" noProof="0" dirty="0"/>
          </a:p>
        </p:txBody>
      </p:sp>
      <p:sp>
        <p:nvSpPr>
          <p:cNvPr id="102" name="Заголовок 2">
            <a:extLst>
              <a:ext uri="{FF2B5EF4-FFF2-40B4-BE49-F238E27FC236}">
                <a16:creationId xmlns:a16="http://schemas.microsoft.com/office/drawing/2014/main" id="{9B9FC431-C7F0-221F-0BDD-4BF77D1C7B91}"/>
              </a:ext>
            </a:extLst>
          </p:cNvPr>
          <p:cNvSpPr txBox="1">
            <a:spLocks/>
          </p:cNvSpPr>
          <p:nvPr/>
        </p:nvSpPr>
        <p:spPr>
          <a:xfrm>
            <a:off x="3593515" y="7389420"/>
            <a:ext cx="441270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Заголовки слайдов</a:t>
            </a:r>
          </a:p>
        </p:txBody>
      </p:sp>
      <p:sp>
        <p:nvSpPr>
          <p:cNvPr id="103" name="Заголовок 2">
            <a:extLst>
              <a:ext uri="{FF2B5EF4-FFF2-40B4-BE49-F238E27FC236}">
                <a16:creationId xmlns:a16="http://schemas.microsoft.com/office/drawing/2014/main" id="{9FEFE45E-BDC5-18CC-1FB0-E3F7EABC74DB}"/>
              </a:ext>
            </a:extLst>
          </p:cNvPr>
          <p:cNvSpPr txBox="1">
            <a:spLocks/>
          </p:cNvSpPr>
          <p:nvPr/>
        </p:nvSpPr>
        <p:spPr>
          <a:xfrm>
            <a:off x="3593515" y="7965974"/>
            <a:ext cx="10833722" cy="124098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96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lnSpc>
                <a:spcPct val="82000"/>
              </a:lnSpc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3" name="Заголовок 2">
            <a:extLst>
              <a:ext uri="{FF2B5EF4-FFF2-40B4-BE49-F238E27FC236}">
                <a16:creationId xmlns:a16="http://schemas.microsoft.com/office/drawing/2014/main" id="{4801E485-2255-1B66-863D-269A7C7DEFCF}"/>
              </a:ext>
            </a:extLst>
          </p:cNvPr>
          <p:cNvSpPr txBox="1">
            <a:spLocks/>
          </p:cNvSpPr>
          <p:nvPr/>
        </p:nvSpPr>
        <p:spPr>
          <a:xfrm>
            <a:off x="3593515" y="2663386"/>
            <a:ext cx="6912016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Заголовки на титульном и разделительном слайдах</a:t>
            </a:r>
          </a:p>
        </p:txBody>
      </p:sp>
      <p:sp>
        <p:nvSpPr>
          <p:cNvPr id="114" name="Заголовок 2">
            <a:extLst>
              <a:ext uri="{FF2B5EF4-FFF2-40B4-BE49-F238E27FC236}">
                <a16:creationId xmlns:a16="http://schemas.microsoft.com/office/drawing/2014/main" id="{B7866C77-E67A-ACDE-3BBF-6065B2EE34AD}"/>
              </a:ext>
            </a:extLst>
          </p:cNvPr>
          <p:cNvSpPr txBox="1">
            <a:spLocks/>
          </p:cNvSpPr>
          <p:nvPr/>
        </p:nvSpPr>
        <p:spPr>
          <a:xfrm>
            <a:off x="3593515" y="3523758"/>
            <a:ext cx="14962488" cy="18806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spcAft>
                <a:spcPts val="2400"/>
              </a:spcAft>
              <a:defRPr sz="148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5" name="Заголовок 2">
            <a:extLst>
              <a:ext uri="{FF2B5EF4-FFF2-40B4-BE49-F238E27FC236}">
                <a16:creationId xmlns:a16="http://schemas.microsoft.com/office/drawing/2014/main" id="{5EE4AC7C-69B0-556B-6955-0E8132F9324F}"/>
              </a:ext>
            </a:extLst>
          </p:cNvPr>
          <p:cNvSpPr txBox="1">
            <a:spLocks/>
          </p:cNvSpPr>
          <p:nvPr/>
        </p:nvSpPr>
        <p:spPr>
          <a:xfrm>
            <a:off x="3593515" y="5446347"/>
            <a:ext cx="13954303" cy="152016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2000"/>
              </a:lnSpc>
              <a:spcAft>
                <a:spcPts val="2400"/>
              </a:spcAft>
              <a:defRPr sz="120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6" name="Скругленный прямоугольник 115">
            <a:extLst>
              <a:ext uri="{FF2B5EF4-FFF2-40B4-BE49-F238E27FC236}">
                <a16:creationId xmlns:a16="http://schemas.microsoft.com/office/drawing/2014/main" id="{ED9010C6-475F-D6C7-B38A-7731D824DB53}"/>
              </a:ext>
            </a:extLst>
          </p:cNvPr>
          <p:cNvSpPr/>
          <p:nvPr/>
        </p:nvSpPr>
        <p:spPr>
          <a:xfrm>
            <a:off x="1440000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148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7" name="Скругленный прямоугольник 116">
            <a:extLst>
              <a:ext uri="{FF2B5EF4-FFF2-40B4-BE49-F238E27FC236}">
                <a16:creationId xmlns:a16="http://schemas.microsoft.com/office/drawing/2014/main" id="{C32B5103-F6B5-1448-0638-7391F0425117}"/>
              </a:ext>
            </a:extLst>
          </p:cNvPr>
          <p:cNvSpPr/>
          <p:nvPr/>
        </p:nvSpPr>
        <p:spPr>
          <a:xfrm>
            <a:off x="1440000" y="551582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12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2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8" name="Скругленный прямоугольник 117">
            <a:extLst>
              <a:ext uri="{FF2B5EF4-FFF2-40B4-BE49-F238E27FC236}">
                <a16:creationId xmlns:a16="http://schemas.microsoft.com/office/drawing/2014/main" id="{F8362F25-FD11-35B5-1705-9ACC4348F2C0}"/>
              </a:ext>
            </a:extLst>
          </p:cNvPr>
          <p:cNvSpPr/>
          <p:nvPr/>
        </p:nvSpPr>
        <p:spPr>
          <a:xfrm>
            <a:off x="1440000" y="801087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96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2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9" name="Заголовок 2">
            <a:extLst>
              <a:ext uri="{FF2B5EF4-FFF2-40B4-BE49-F238E27FC236}">
                <a16:creationId xmlns:a16="http://schemas.microsoft.com/office/drawing/2014/main" id="{B4C60318-C407-FA16-5BD3-7186F1FFA769}"/>
              </a:ext>
            </a:extLst>
          </p:cNvPr>
          <p:cNvSpPr txBox="1">
            <a:spLocks/>
          </p:cNvSpPr>
          <p:nvPr/>
        </p:nvSpPr>
        <p:spPr>
          <a:xfrm>
            <a:off x="3593515" y="9356395"/>
            <a:ext cx="8351174" cy="93070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72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20" name="Скругленный прямоугольник 119">
            <a:extLst>
              <a:ext uri="{FF2B5EF4-FFF2-40B4-BE49-F238E27FC236}">
                <a16:creationId xmlns:a16="http://schemas.microsoft.com/office/drawing/2014/main" id="{F92BB29D-658B-7EB7-C9C9-4F3B8F3B0627}"/>
              </a:ext>
            </a:extLst>
          </p:cNvPr>
          <p:cNvSpPr/>
          <p:nvPr/>
        </p:nvSpPr>
        <p:spPr>
          <a:xfrm>
            <a:off x="1440000" y="94245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72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4" name="Заголовок 2">
            <a:extLst>
              <a:ext uri="{FF2B5EF4-FFF2-40B4-BE49-F238E27FC236}">
                <a16:creationId xmlns:a16="http://schemas.microsoft.com/office/drawing/2014/main" id="{4E56B7AE-17B4-E7E4-2818-B6D592E37993}"/>
              </a:ext>
            </a:extLst>
          </p:cNvPr>
          <p:cNvSpPr txBox="1">
            <a:spLocks/>
          </p:cNvSpPr>
          <p:nvPr/>
        </p:nvSpPr>
        <p:spPr>
          <a:xfrm>
            <a:off x="1440000" y="2663386"/>
            <a:ext cx="2085975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Размер / интерлиньяж</a:t>
            </a:r>
          </a:p>
        </p:txBody>
      </p:sp>
      <p:sp>
        <p:nvSpPr>
          <p:cNvPr id="140" name="Заголовок 2">
            <a:extLst>
              <a:ext uri="{FF2B5EF4-FFF2-40B4-BE49-F238E27FC236}">
                <a16:creationId xmlns:a16="http://schemas.microsoft.com/office/drawing/2014/main" id="{7D77EAFB-7407-02A0-827B-B7C5C51A4C77}"/>
              </a:ext>
            </a:extLst>
          </p:cNvPr>
          <p:cNvSpPr txBox="1">
            <a:spLocks/>
          </p:cNvSpPr>
          <p:nvPr/>
        </p:nvSpPr>
        <p:spPr>
          <a:xfrm>
            <a:off x="3593515" y="10436539"/>
            <a:ext cx="6912016" cy="76700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60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lnSpc>
                <a:spcPct val="89000"/>
              </a:lnSpc>
              <a:spcAft>
                <a:spcPts val="0"/>
              </a:spcAft>
            </a:pPr>
            <a:r>
              <a:rPr lang="en-US" sz="5600" b="0" dirty="0">
                <a:latin typeface="+mj-lt"/>
              </a:rPr>
              <a:t>YS Display Bold</a:t>
            </a:r>
            <a:endParaRPr lang="ru-RU" sz="5600" b="0" dirty="0">
              <a:latin typeface="+mj-lt"/>
            </a:endParaRPr>
          </a:p>
        </p:txBody>
      </p:sp>
      <p:sp>
        <p:nvSpPr>
          <p:cNvPr id="141" name="Скругленный прямоугольник 140">
            <a:extLst>
              <a:ext uri="{FF2B5EF4-FFF2-40B4-BE49-F238E27FC236}">
                <a16:creationId xmlns:a16="http://schemas.microsoft.com/office/drawing/2014/main" id="{12FC60E6-30DD-4027-31F7-5B303BE2E347}"/>
              </a:ext>
            </a:extLst>
          </p:cNvPr>
          <p:cNvSpPr/>
          <p:nvPr/>
        </p:nvSpPr>
        <p:spPr>
          <a:xfrm>
            <a:off x="1440000" y="1047378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56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42" name="Заголовок 2">
            <a:extLst>
              <a:ext uri="{FF2B5EF4-FFF2-40B4-BE49-F238E27FC236}">
                <a16:creationId xmlns:a16="http://schemas.microsoft.com/office/drawing/2014/main" id="{80132DA5-0E43-90D4-B609-0C26D91128E5}"/>
              </a:ext>
            </a:extLst>
          </p:cNvPr>
          <p:cNvSpPr txBox="1">
            <a:spLocks/>
          </p:cNvSpPr>
          <p:nvPr/>
        </p:nvSpPr>
        <p:spPr>
          <a:xfrm>
            <a:off x="3593515" y="11380042"/>
            <a:ext cx="3796473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3" name="Скругленный прямоугольник 142">
            <a:extLst>
              <a:ext uri="{FF2B5EF4-FFF2-40B4-BE49-F238E27FC236}">
                <a16:creationId xmlns:a16="http://schemas.microsoft.com/office/drawing/2014/main" id="{200E8E59-F0BF-D126-44C2-9FF82F4D9189}"/>
              </a:ext>
            </a:extLst>
          </p:cNvPr>
          <p:cNvSpPr/>
          <p:nvPr/>
        </p:nvSpPr>
        <p:spPr>
          <a:xfrm>
            <a:off x="1440000" y="11500469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" name="Заголовок 2">
            <a:extLst>
              <a:ext uri="{FF2B5EF4-FFF2-40B4-BE49-F238E27FC236}">
                <a16:creationId xmlns:a16="http://schemas.microsoft.com/office/drawing/2014/main" id="{C4F76B54-79DC-FB24-2A33-9CC81BD25CFF}"/>
              </a:ext>
            </a:extLst>
          </p:cNvPr>
          <p:cNvSpPr txBox="1">
            <a:spLocks/>
          </p:cNvSpPr>
          <p:nvPr/>
        </p:nvSpPr>
        <p:spPr>
          <a:xfrm>
            <a:off x="18148161" y="4511664"/>
            <a:ext cx="477592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Графики и схемы </a:t>
            </a:r>
            <a:br>
              <a:rPr lang="ru-RU" sz="2000" dirty="0">
                <a:solidFill>
                  <a:schemeClr val="tx1"/>
                </a:solidFill>
                <a:latin typeface="+mn-lt"/>
              </a:rPr>
            </a:br>
            <a:r>
              <a:rPr lang="ru-RU" sz="2000" dirty="0">
                <a:solidFill>
                  <a:schemeClr val="tx1"/>
                </a:solidFill>
                <a:latin typeface="+mn-lt"/>
              </a:rPr>
              <a:t>(зависит от типа презентаций)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611FB8FF-EA6F-5E60-9FC1-6E506B118140}"/>
              </a:ext>
            </a:extLst>
          </p:cNvPr>
          <p:cNvSpPr txBox="1">
            <a:spLocks/>
          </p:cNvSpPr>
          <p:nvPr/>
        </p:nvSpPr>
        <p:spPr>
          <a:xfrm>
            <a:off x="19614541" y="5960043"/>
            <a:ext cx="1505560" cy="46580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04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800" dirty="0">
                <a:solidFill>
                  <a:schemeClr val="tx1"/>
                </a:solidFill>
                <a:latin typeface="YS Text Regular"/>
                <a:ea typeface="+mn-ea"/>
                <a:cs typeface="+mn-cs"/>
              </a:rPr>
              <a:t>YS Text</a:t>
            </a:r>
            <a:endParaRPr lang="ru-RU" sz="2800" dirty="0">
              <a:solidFill>
                <a:schemeClr val="tx1"/>
              </a:solidFill>
              <a:latin typeface="YS Text Regular"/>
              <a:ea typeface="+mn-ea"/>
              <a:cs typeface="+mn-cs"/>
            </a:endParaRP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0425DA4B-261A-EB05-FD74-BD4734820FFA}"/>
              </a:ext>
            </a:extLst>
          </p:cNvPr>
          <p:cNvSpPr/>
          <p:nvPr/>
        </p:nvSpPr>
        <p:spPr>
          <a:xfrm>
            <a:off x="21120483" y="598575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408709CD-9CCD-6E81-59CF-6A7710E9B60B}"/>
              </a:ext>
            </a:extLst>
          </p:cNvPr>
          <p:cNvSpPr txBox="1">
            <a:spLocks/>
          </p:cNvSpPr>
          <p:nvPr/>
        </p:nvSpPr>
        <p:spPr>
          <a:xfrm>
            <a:off x="19781701" y="5262946"/>
            <a:ext cx="1338400" cy="421563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D91604DA-B195-9C86-427B-83A90CE76785}"/>
              </a:ext>
            </a:extLst>
          </p:cNvPr>
          <p:cNvSpPr/>
          <p:nvPr/>
        </p:nvSpPr>
        <p:spPr>
          <a:xfrm>
            <a:off x="21120483" y="528756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4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482576F2-4D47-7D20-05E3-ECB12856DC84}"/>
              </a:ext>
            </a:extLst>
          </p:cNvPr>
          <p:cNvSpPr txBox="1">
            <a:spLocks/>
          </p:cNvSpPr>
          <p:nvPr/>
        </p:nvSpPr>
        <p:spPr>
          <a:xfrm>
            <a:off x="16567686" y="5311607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чтения</a:t>
            </a:r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E714C57C-CF66-3DE8-E17F-46CDC285BD12}"/>
              </a:ext>
            </a:extLst>
          </p:cNvPr>
          <p:cNvSpPr txBox="1">
            <a:spLocks/>
          </p:cNvSpPr>
          <p:nvPr/>
        </p:nvSpPr>
        <p:spPr>
          <a:xfrm>
            <a:off x="16575088" y="6010428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выступления</a:t>
            </a:r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DC059372-D1F5-F695-DBB9-ACF2B6D4EC97}"/>
              </a:ext>
            </a:extLst>
          </p:cNvPr>
          <p:cNvSpPr txBox="1">
            <a:spLocks/>
          </p:cNvSpPr>
          <p:nvPr/>
        </p:nvSpPr>
        <p:spPr>
          <a:xfrm>
            <a:off x="20240356" y="6979309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Наборный текст</a:t>
            </a:r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3BFF4E70-7D81-EFFE-C0DD-4DC2ACED3485}"/>
              </a:ext>
            </a:extLst>
          </p:cNvPr>
          <p:cNvSpPr txBox="1">
            <a:spLocks/>
          </p:cNvSpPr>
          <p:nvPr/>
        </p:nvSpPr>
        <p:spPr>
          <a:xfrm>
            <a:off x="19247799" y="8802162"/>
            <a:ext cx="1855003" cy="59398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3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4412F45F-E32B-EF32-A56C-15C5EFD7A0C7}"/>
              </a:ext>
            </a:extLst>
          </p:cNvPr>
          <p:cNvSpPr txBox="1">
            <a:spLocks/>
          </p:cNvSpPr>
          <p:nvPr/>
        </p:nvSpPr>
        <p:spPr>
          <a:xfrm>
            <a:off x="19079899" y="9530488"/>
            <a:ext cx="2022904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Заголовок 2">
            <a:extLst>
              <a:ext uri="{FF2B5EF4-FFF2-40B4-BE49-F238E27FC236}">
                <a16:creationId xmlns:a16="http://schemas.microsoft.com/office/drawing/2014/main" id="{D8114C43-DB18-5F69-44D9-84B295402B42}"/>
              </a:ext>
            </a:extLst>
          </p:cNvPr>
          <p:cNvSpPr txBox="1">
            <a:spLocks/>
          </p:cNvSpPr>
          <p:nvPr/>
        </p:nvSpPr>
        <p:spPr>
          <a:xfrm>
            <a:off x="18732537" y="10320368"/>
            <a:ext cx="2370265" cy="75646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97000"/>
              </a:lnSpc>
              <a:spcAft>
                <a:spcPts val="2400"/>
              </a:spcAft>
            </a:pPr>
            <a:r>
              <a:rPr lang="en-US" sz="4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C22155CF-18F8-EC9B-D715-B73A98035F0D}"/>
              </a:ext>
            </a:extLst>
          </p:cNvPr>
          <p:cNvSpPr txBox="1">
            <a:spLocks/>
          </p:cNvSpPr>
          <p:nvPr/>
        </p:nvSpPr>
        <p:spPr>
          <a:xfrm>
            <a:off x="18390929" y="11246008"/>
            <a:ext cx="2711873" cy="806989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89000"/>
              </a:lnSpc>
              <a:spcAft>
                <a:spcPts val="2400"/>
              </a:spcAft>
            </a:pPr>
            <a:r>
              <a:rPr lang="en-US" sz="5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5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Заголовок 2">
            <a:extLst>
              <a:ext uri="{FF2B5EF4-FFF2-40B4-BE49-F238E27FC236}">
                <a16:creationId xmlns:a16="http://schemas.microsoft.com/office/drawing/2014/main" id="{09559A83-1DC3-BB90-EA04-EF59E0EEF31D}"/>
              </a:ext>
            </a:extLst>
          </p:cNvPr>
          <p:cNvSpPr txBox="1">
            <a:spLocks/>
          </p:cNvSpPr>
          <p:nvPr/>
        </p:nvSpPr>
        <p:spPr>
          <a:xfrm>
            <a:off x="20242896" y="2663386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Примечание</a:t>
            </a: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007CB92F-B233-4228-D1E4-DB81B4823FE5}"/>
              </a:ext>
            </a:extLst>
          </p:cNvPr>
          <p:cNvSpPr txBox="1">
            <a:spLocks/>
          </p:cNvSpPr>
          <p:nvPr/>
        </p:nvSpPr>
        <p:spPr>
          <a:xfrm>
            <a:off x="19957863" y="3552817"/>
            <a:ext cx="1144939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Заголовок 2">
            <a:extLst>
              <a:ext uri="{FF2B5EF4-FFF2-40B4-BE49-F238E27FC236}">
                <a16:creationId xmlns:a16="http://schemas.microsoft.com/office/drawing/2014/main" id="{3A38A01D-93DE-DE56-892A-7FA69624C765}"/>
              </a:ext>
            </a:extLst>
          </p:cNvPr>
          <p:cNvSpPr txBox="1">
            <a:spLocks/>
          </p:cNvSpPr>
          <p:nvPr/>
        </p:nvSpPr>
        <p:spPr>
          <a:xfrm>
            <a:off x="19597124" y="7530180"/>
            <a:ext cx="1505678" cy="470871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1800"/>
              </a:spcAft>
            </a:pPr>
            <a:r>
              <a:rPr lang="en-US" sz="2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E1DA972A-7632-70ED-FFDF-DCAB2371F423}"/>
              </a:ext>
            </a:extLst>
          </p:cNvPr>
          <p:cNvSpPr/>
          <p:nvPr/>
        </p:nvSpPr>
        <p:spPr>
          <a:xfrm>
            <a:off x="21120483" y="754449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7A850238-6A61-A9C7-B826-B6E429A18898}"/>
              </a:ext>
            </a:extLst>
          </p:cNvPr>
          <p:cNvSpPr/>
          <p:nvPr/>
        </p:nvSpPr>
        <p:spPr>
          <a:xfrm>
            <a:off x="21120483" y="82176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2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0F8F4971-A6EF-48CA-4F95-A2CB34994B4A}"/>
              </a:ext>
            </a:extLst>
          </p:cNvPr>
          <p:cNvSpPr/>
          <p:nvPr/>
        </p:nvSpPr>
        <p:spPr>
          <a:xfrm>
            <a:off x="21120483" y="894461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6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75FC9145-1D1D-2C74-8815-F0D3DBC4711E}"/>
              </a:ext>
            </a:extLst>
          </p:cNvPr>
          <p:cNvSpPr/>
          <p:nvPr/>
        </p:nvSpPr>
        <p:spPr>
          <a:xfrm>
            <a:off x="21120483" y="9690183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C24A8901-8571-181A-10BF-867CF3791BAC}"/>
              </a:ext>
            </a:extLst>
          </p:cNvPr>
          <p:cNvSpPr/>
          <p:nvPr/>
        </p:nvSpPr>
        <p:spPr>
          <a:xfrm>
            <a:off x="21120483" y="1050363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97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F17A8D9F-9B4C-11B2-EB37-A956F87D36FE}"/>
              </a:ext>
            </a:extLst>
          </p:cNvPr>
          <p:cNvSpPr/>
          <p:nvPr/>
        </p:nvSpPr>
        <p:spPr>
          <a:xfrm>
            <a:off x="21120483" y="1146879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56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63581A2F-99F2-DD83-EA90-FD1D966FD584}"/>
              </a:ext>
            </a:extLst>
          </p:cNvPr>
          <p:cNvSpPr/>
          <p:nvPr/>
        </p:nvSpPr>
        <p:spPr>
          <a:xfrm>
            <a:off x="21120483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tx2"/>
                </a:solidFill>
                <a:latin typeface="YS Text Regular" pitchFamily="2" charset="0"/>
              </a:rPr>
              <a:t>20 </a:t>
            </a:r>
            <a:r>
              <a:rPr lang="en-US" sz="2000" dirty="0">
                <a:solidFill>
                  <a:schemeClr val="tx2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tx2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tx2"/>
              </a:solidFill>
              <a:sym typeface="Arial"/>
            </a:endParaRPr>
          </a:p>
        </p:txBody>
      </p:sp>
      <p:sp>
        <p:nvSpPr>
          <p:cNvPr id="24" name="Заголовок 2">
            <a:extLst>
              <a:ext uri="{FF2B5EF4-FFF2-40B4-BE49-F238E27FC236}">
                <a16:creationId xmlns:a16="http://schemas.microsoft.com/office/drawing/2014/main" id="{5AC564A9-1570-B475-DD8C-907DCF1CA43F}"/>
              </a:ext>
            </a:extLst>
          </p:cNvPr>
          <p:cNvSpPr txBox="1">
            <a:spLocks/>
          </p:cNvSpPr>
          <p:nvPr/>
        </p:nvSpPr>
        <p:spPr>
          <a:xfrm>
            <a:off x="19426904" y="8135394"/>
            <a:ext cx="1675898" cy="53242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2400"/>
              </a:spcAft>
            </a:pPr>
            <a:r>
              <a:rPr lang="en-US" sz="32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Заголовок 2">
            <a:extLst>
              <a:ext uri="{FF2B5EF4-FFF2-40B4-BE49-F238E27FC236}">
                <a16:creationId xmlns:a16="http://schemas.microsoft.com/office/drawing/2014/main" id="{2E223A40-5637-B2B8-7A7D-CD393474E470}"/>
              </a:ext>
            </a:extLst>
          </p:cNvPr>
          <p:cNvSpPr txBox="1">
            <a:spLocks/>
          </p:cNvSpPr>
          <p:nvPr/>
        </p:nvSpPr>
        <p:spPr>
          <a:xfrm>
            <a:off x="17308166" y="8769961"/>
            <a:ext cx="162538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Основная размерность</a:t>
            </a:r>
          </a:p>
        </p:txBody>
      </p:sp>
      <p:sp>
        <p:nvSpPr>
          <p:cNvPr id="42" name="Заголовок 2">
            <a:extLst>
              <a:ext uri="{FF2B5EF4-FFF2-40B4-BE49-F238E27FC236}">
                <a16:creationId xmlns:a16="http://schemas.microsoft.com/office/drawing/2014/main" id="{46900514-2ECD-40F8-B977-4E54ACCBD2A6}"/>
              </a:ext>
            </a:extLst>
          </p:cNvPr>
          <p:cNvSpPr txBox="1">
            <a:spLocks/>
          </p:cNvSpPr>
          <p:nvPr userDrawn="1"/>
        </p:nvSpPr>
        <p:spPr>
          <a:xfrm>
            <a:off x="18148161" y="4511664"/>
            <a:ext cx="477592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Графики и схемы </a:t>
            </a:r>
            <a:br>
              <a:rPr lang="ru-RU" sz="2000" dirty="0">
                <a:solidFill>
                  <a:schemeClr val="tx1"/>
                </a:solidFill>
                <a:latin typeface="+mn-lt"/>
              </a:rPr>
            </a:br>
            <a:r>
              <a:rPr lang="ru-RU" sz="2000" dirty="0">
                <a:solidFill>
                  <a:schemeClr val="tx1"/>
                </a:solidFill>
                <a:latin typeface="+mn-lt"/>
              </a:rPr>
              <a:t>(зависит от типа презентаций)</a:t>
            </a:r>
          </a:p>
        </p:txBody>
      </p:sp>
      <p:sp>
        <p:nvSpPr>
          <p:cNvPr id="43" name="Заголовок 2">
            <a:extLst>
              <a:ext uri="{FF2B5EF4-FFF2-40B4-BE49-F238E27FC236}">
                <a16:creationId xmlns:a16="http://schemas.microsoft.com/office/drawing/2014/main" id="{F8C7D18D-4CDC-4A8F-8324-B2971080D12A}"/>
              </a:ext>
            </a:extLst>
          </p:cNvPr>
          <p:cNvSpPr txBox="1">
            <a:spLocks/>
          </p:cNvSpPr>
          <p:nvPr userDrawn="1"/>
        </p:nvSpPr>
        <p:spPr>
          <a:xfrm>
            <a:off x="19614541" y="5960043"/>
            <a:ext cx="1505560" cy="46580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04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800" dirty="0">
                <a:solidFill>
                  <a:schemeClr val="tx1"/>
                </a:solidFill>
                <a:latin typeface="YS Text Regular"/>
                <a:ea typeface="+mn-ea"/>
                <a:cs typeface="+mn-cs"/>
              </a:rPr>
              <a:t>YS Text</a:t>
            </a:r>
            <a:endParaRPr lang="ru-RU" sz="2800" dirty="0">
              <a:solidFill>
                <a:schemeClr val="tx1"/>
              </a:solidFill>
              <a:latin typeface="YS Text Regular"/>
              <a:ea typeface="+mn-ea"/>
              <a:cs typeface="+mn-cs"/>
            </a:endParaRPr>
          </a:p>
        </p:txBody>
      </p:sp>
      <p:sp>
        <p:nvSpPr>
          <p:cNvPr id="44" name="Скругленный прямоугольник 3">
            <a:extLst>
              <a:ext uri="{FF2B5EF4-FFF2-40B4-BE49-F238E27FC236}">
                <a16:creationId xmlns:a16="http://schemas.microsoft.com/office/drawing/2014/main" id="{59698BB8-011C-4BD1-82B0-D645E3A701E8}"/>
              </a:ext>
            </a:extLst>
          </p:cNvPr>
          <p:cNvSpPr/>
          <p:nvPr userDrawn="1"/>
        </p:nvSpPr>
        <p:spPr>
          <a:xfrm>
            <a:off x="21120483" y="598575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5" name="Заголовок 2">
            <a:extLst>
              <a:ext uri="{FF2B5EF4-FFF2-40B4-BE49-F238E27FC236}">
                <a16:creationId xmlns:a16="http://schemas.microsoft.com/office/drawing/2014/main" id="{7F5CA482-4534-42F9-AD31-7154918725A2}"/>
              </a:ext>
            </a:extLst>
          </p:cNvPr>
          <p:cNvSpPr txBox="1">
            <a:spLocks/>
          </p:cNvSpPr>
          <p:nvPr userDrawn="1"/>
        </p:nvSpPr>
        <p:spPr>
          <a:xfrm>
            <a:off x="19781701" y="5262946"/>
            <a:ext cx="1338400" cy="421563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6" name="Скругленный прямоугольник 5">
            <a:extLst>
              <a:ext uri="{FF2B5EF4-FFF2-40B4-BE49-F238E27FC236}">
                <a16:creationId xmlns:a16="http://schemas.microsoft.com/office/drawing/2014/main" id="{2212661F-56A1-42E2-BA07-921E40EF07E9}"/>
              </a:ext>
            </a:extLst>
          </p:cNvPr>
          <p:cNvSpPr/>
          <p:nvPr userDrawn="1"/>
        </p:nvSpPr>
        <p:spPr>
          <a:xfrm>
            <a:off x="21120483" y="528756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4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7" name="Заголовок 2">
            <a:extLst>
              <a:ext uri="{FF2B5EF4-FFF2-40B4-BE49-F238E27FC236}">
                <a16:creationId xmlns:a16="http://schemas.microsoft.com/office/drawing/2014/main" id="{51CA9A4E-1838-4CFC-9090-C10F16AD433A}"/>
              </a:ext>
            </a:extLst>
          </p:cNvPr>
          <p:cNvSpPr txBox="1">
            <a:spLocks/>
          </p:cNvSpPr>
          <p:nvPr userDrawn="1"/>
        </p:nvSpPr>
        <p:spPr>
          <a:xfrm>
            <a:off x="16567686" y="5311607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чтения</a:t>
            </a:r>
          </a:p>
        </p:txBody>
      </p:sp>
      <p:sp>
        <p:nvSpPr>
          <p:cNvPr id="48" name="Заголовок 2">
            <a:extLst>
              <a:ext uri="{FF2B5EF4-FFF2-40B4-BE49-F238E27FC236}">
                <a16:creationId xmlns:a16="http://schemas.microsoft.com/office/drawing/2014/main" id="{8DDE325B-0721-4354-AB82-80E3A4647377}"/>
              </a:ext>
            </a:extLst>
          </p:cNvPr>
          <p:cNvSpPr txBox="1">
            <a:spLocks/>
          </p:cNvSpPr>
          <p:nvPr userDrawn="1"/>
        </p:nvSpPr>
        <p:spPr>
          <a:xfrm>
            <a:off x="16575088" y="6010428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выступления</a:t>
            </a:r>
          </a:p>
        </p:txBody>
      </p:sp>
      <p:sp>
        <p:nvSpPr>
          <p:cNvPr id="49" name="Заголовок 2">
            <a:extLst>
              <a:ext uri="{FF2B5EF4-FFF2-40B4-BE49-F238E27FC236}">
                <a16:creationId xmlns:a16="http://schemas.microsoft.com/office/drawing/2014/main" id="{F7C647BF-B0F2-4615-8968-728B7600F579}"/>
              </a:ext>
            </a:extLst>
          </p:cNvPr>
          <p:cNvSpPr txBox="1">
            <a:spLocks/>
          </p:cNvSpPr>
          <p:nvPr userDrawn="1"/>
        </p:nvSpPr>
        <p:spPr>
          <a:xfrm>
            <a:off x="20240356" y="6979309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Наборный текст</a:t>
            </a:r>
          </a:p>
        </p:txBody>
      </p:sp>
      <p:sp>
        <p:nvSpPr>
          <p:cNvPr id="50" name="Заголовок 2">
            <a:extLst>
              <a:ext uri="{FF2B5EF4-FFF2-40B4-BE49-F238E27FC236}">
                <a16:creationId xmlns:a16="http://schemas.microsoft.com/office/drawing/2014/main" id="{0C804189-FFF2-4465-998E-ABC1CAF2DD39}"/>
              </a:ext>
            </a:extLst>
          </p:cNvPr>
          <p:cNvSpPr txBox="1">
            <a:spLocks/>
          </p:cNvSpPr>
          <p:nvPr userDrawn="1"/>
        </p:nvSpPr>
        <p:spPr>
          <a:xfrm>
            <a:off x="19247799" y="8802162"/>
            <a:ext cx="1855003" cy="59398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3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1" name="Заголовок 2">
            <a:extLst>
              <a:ext uri="{FF2B5EF4-FFF2-40B4-BE49-F238E27FC236}">
                <a16:creationId xmlns:a16="http://schemas.microsoft.com/office/drawing/2014/main" id="{241B0241-E26F-4317-AE0A-0ED1A747F71B}"/>
              </a:ext>
            </a:extLst>
          </p:cNvPr>
          <p:cNvSpPr txBox="1">
            <a:spLocks/>
          </p:cNvSpPr>
          <p:nvPr userDrawn="1"/>
        </p:nvSpPr>
        <p:spPr>
          <a:xfrm>
            <a:off x="19079899" y="9530488"/>
            <a:ext cx="2022904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2" name="Заголовок 2">
            <a:extLst>
              <a:ext uri="{FF2B5EF4-FFF2-40B4-BE49-F238E27FC236}">
                <a16:creationId xmlns:a16="http://schemas.microsoft.com/office/drawing/2014/main" id="{2F150289-B275-4308-9F91-5AD84A0975D1}"/>
              </a:ext>
            </a:extLst>
          </p:cNvPr>
          <p:cNvSpPr txBox="1">
            <a:spLocks/>
          </p:cNvSpPr>
          <p:nvPr userDrawn="1"/>
        </p:nvSpPr>
        <p:spPr>
          <a:xfrm>
            <a:off x="18732537" y="10320368"/>
            <a:ext cx="2370265" cy="75646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97000"/>
              </a:lnSpc>
              <a:spcAft>
                <a:spcPts val="2400"/>
              </a:spcAft>
            </a:pPr>
            <a:r>
              <a:rPr lang="en-US" sz="4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3" name="Заголовок 2">
            <a:extLst>
              <a:ext uri="{FF2B5EF4-FFF2-40B4-BE49-F238E27FC236}">
                <a16:creationId xmlns:a16="http://schemas.microsoft.com/office/drawing/2014/main" id="{F394F185-6EC7-4748-9984-DCE4A669CDEC}"/>
              </a:ext>
            </a:extLst>
          </p:cNvPr>
          <p:cNvSpPr txBox="1">
            <a:spLocks/>
          </p:cNvSpPr>
          <p:nvPr userDrawn="1"/>
        </p:nvSpPr>
        <p:spPr>
          <a:xfrm>
            <a:off x="18390929" y="11246008"/>
            <a:ext cx="2711873" cy="806989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89000"/>
              </a:lnSpc>
              <a:spcAft>
                <a:spcPts val="2400"/>
              </a:spcAft>
            </a:pPr>
            <a:r>
              <a:rPr lang="en-US" sz="5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5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4" name="Заголовок 2">
            <a:extLst>
              <a:ext uri="{FF2B5EF4-FFF2-40B4-BE49-F238E27FC236}">
                <a16:creationId xmlns:a16="http://schemas.microsoft.com/office/drawing/2014/main" id="{45F56AEE-A4DE-4E77-9029-8302CE045FC8}"/>
              </a:ext>
            </a:extLst>
          </p:cNvPr>
          <p:cNvSpPr txBox="1">
            <a:spLocks/>
          </p:cNvSpPr>
          <p:nvPr userDrawn="1"/>
        </p:nvSpPr>
        <p:spPr>
          <a:xfrm>
            <a:off x="20242896" y="2663386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Примечание</a:t>
            </a:r>
          </a:p>
        </p:txBody>
      </p:sp>
      <p:sp>
        <p:nvSpPr>
          <p:cNvPr id="55" name="Заголовок 2">
            <a:extLst>
              <a:ext uri="{FF2B5EF4-FFF2-40B4-BE49-F238E27FC236}">
                <a16:creationId xmlns:a16="http://schemas.microsoft.com/office/drawing/2014/main" id="{FB845D0E-30BC-4031-8454-71EBBBB387B7}"/>
              </a:ext>
            </a:extLst>
          </p:cNvPr>
          <p:cNvSpPr txBox="1">
            <a:spLocks/>
          </p:cNvSpPr>
          <p:nvPr userDrawn="1"/>
        </p:nvSpPr>
        <p:spPr>
          <a:xfrm>
            <a:off x="19957863" y="3552817"/>
            <a:ext cx="1144939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529091D7-E023-4369-961A-A7AF056666DC}"/>
              </a:ext>
            </a:extLst>
          </p:cNvPr>
          <p:cNvSpPr txBox="1">
            <a:spLocks/>
          </p:cNvSpPr>
          <p:nvPr userDrawn="1"/>
        </p:nvSpPr>
        <p:spPr>
          <a:xfrm>
            <a:off x="19597124" y="7530180"/>
            <a:ext cx="1505678" cy="470871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1800"/>
              </a:spcAft>
            </a:pPr>
            <a:r>
              <a:rPr lang="en-US" sz="2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7" name="Скругленный прямоугольник 16">
            <a:extLst>
              <a:ext uri="{FF2B5EF4-FFF2-40B4-BE49-F238E27FC236}">
                <a16:creationId xmlns:a16="http://schemas.microsoft.com/office/drawing/2014/main" id="{7F0CF69B-86A9-4D45-9585-84AAA3172CE8}"/>
              </a:ext>
            </a:extLst>
          </p:cNvPr>
          <p:cNvSpPr/>
          <p:nvPr userDrawn="1"/>
        </p:nvSpPr>
        <p:spPr>
          <a:xfrm>
            <a:off x="21120483" y="754449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8" name="Скругленный прямоугольник 17">
            <a:extLst>
              <a:ext uri="{FF2B5EF4-FFF2-40B4-BE49-F238E27FC236}">
                <a16:creationId xmlns:a16="http://schemas.microsoft.com/office/drawing/2014/main" id="{B62DE1D8-6CDB-4643-B7C4-41B3B0B6D55A}"/>
              </a:ext>
            </a:extLst>
          </p:cNvPr>
          <p:cNvSpPr/>
          <p:nvPr userDrawn="1"/>
        </p:nvSpPr>
        <p:spPr>
          <a:xfrm>
            <a:off x="21120483" y="82176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2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9" name="Скругленный прямоугольник 18">
            <a:extLst>
              <a:ext uri="{FF2B5EF4-FFF2-40B4-BE49-F238E27FC236}">
                <a16:creationId xmlns:a16="http://schemas.microsoft.com/office/drawing/2014/main" id="{94CC1745-156E-48A5-891C-2E1C7C31D9EA}"/>
              </a:ext>
            </a:extLst>
          </p:cNvPr>
          <p:cNvSpPr/>
          <p:nvPr userDrawn="1"/>
        </p:nvSpPr>
        <p:spPr>
          <a:xfrm>
            <a:off x="21120483" y="894461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6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0" name="Скругленный прямоугольник 19">
            <a:extLst>
              <a:ext uri="{FF2B5EF4-FFF2-40B4-BE49-F238E27FC236}">
                <a16:creationId xmlns:a16="http://schemas.microsoft.com/office/drawing/2014/main" id="{BDDA92CA-5762-43E2-88EE-E784B06F8C8B}"/>
              </a:ext>
            </a:extLst>
          </p:cNvPr>
          <p:cNvSpPr/>
          <p:nvPr userDrawn="1"/>
        </p:nvSpPr>
        <p:spPr>
          <a:xfrm>
            <a:off x="21120483" y="9690183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1" name="Скругленный прямоугольник 20">
            <a:extLst>
              <a:ext uri="{FF2B5EF4-FFF2-40B4-BE49-F238E27FC236}">
                <a16:creationId xmlns:a16="http://schemas.microsoft.com/office/drawing/2014/main" id="{4DF1C5D6-9A50-481C-AD3B-198F8B200B16}"/>
              </a:ext>
            </a:extLst>
          </p:cNvPr>
          <p:cNvSpPr/>
          <p:nvPr userDrawn="1"/>
        </p:nvSpPr>
        <p:spPr>
          <a:xfrm>
            <a:off x="21120483" y="1050363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97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2" name="Скругленный прямоугольник 21">
            <a:extLst>
              <a:ext uri="{FF2B5EF4-FFF2-40B4-BE49-F238E27FC236}">
                <a16:creationId xmlns:a16="http://schemas.microsoft.com/office/drawing/2014/main" id="{C4E2A585-1360-4502-86E4-3E20F7DF4005}"/>
              </a:ext>
            </a:extLst>
          </p:cNvPr>
          <p:cNvSpPr/>
          <p:nvPr userDrawn="1"/>
        </p:nvSpPr>
        <p:spPr>
          <a:xfrm>
            <a:off x="21120483" y="1146879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56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3" name="Скругленный прямоугольник 22">
            <a:extLst>
              <a:ext uri="{FF2B5EF4-FFF2-40B4-BE49-F238E27FC236}">
                <a16:creationId xmlns:a16="http://schemas.microsoft.com/office/drawing/2014/main" id="{5D8DD55B-1FE1-4DFB-ABF5-E21449308B8E}"/>
              </a:ext>
            </a:extLst>
          </p:cNvPr>
          <p:cNvSpPr/>
          <p:nvPr userDrawn="1"/>
        </p:nvSpPr>
        <p:spPr>
          <a:xfrm>
            <a:off x="21120483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4" name="Заголовок 2">
            <a:extLst>
              <a:ext uri="{FF2B5EF4-FFF2-40B4-BE49-F238E27FC236}">
                <a16:creationId xmlns:a16="http://schemas.microsoft.com/office/drawing/2014/main" id="{8627C992-6628-4EC3-B66A-7FD4DD4D1891}"/>
              </a:ext>
            </a:extLst>
          </p:cNvPr>
          <p:cNvSpPr txBox="1">
            <a:spLocks/>
          </p:cNvSpPr>
          <p:nvPr userDrawn="1"/>
        </p:nvSpPr>
        <p:spPr>
          <a:xfrm>
            <a:off x="19426904" y="8135394"/>
            <a:ext cx="1675898" cy="53242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2400"/>
              </a:spcAft>
            </a:pPr>
            <a:r>
              <a:rPr lang="en-US" sz="32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5" name="Заголовок 2">
            <a:extLst>
              <a:ext uri="{FF2B5EF4-FFF2-40B4-BE49-F238E27FC236}">
                <a16:creationId xmlns:a16="http://schemas.microsoft.com/office/drawing/2014/main" id="{00299CD3-2E47-4C8C-B502-48349F8012AE}"/>
              </a:ext>
            </a:extLst>
          </p:cNvPr>
          <p:cNvSpPr txBox="1">
            <a:spLocks/>
          </p:cNvSpPr>
          <p:nvPr userDrawn="1"/>
        </p:nvSpPr>
        <p:spPr>
          <a:xfrm>
            <a:off x="17308166" y="8769961"/>
            <a:ext cx="162538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Основная размерность</a:t>
            </a:r>
          </a:p>
        </p:txBody>
      </p:sp>
    </p:spTree>
    <p:extLst>
      <p:ext uri="{BB962C8B-B14F-4D97-AF65-F5344CB8AC3E}">
        <p14:creationId xmlns:p14="http://schemas.microsoft.com/office/powerpoint/2010/main" val="38538561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8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8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0E22720-58D6-7E6C-888F-7E3AD9A07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0000" y="10386597"/>
            <a:ext cx="18170402" cy="1534010"/>
          </a:xfrm>
        </p:spPr>
        <p:txBody>
          <a:bodyPr anchor="t"/>
          <a:lstStyle>
            <a:lvl1pPr>
              <a:lnSpc>
                <a:spcPct val="89000"/>
              </a:lnSpc>
              <a:defRPr sz="5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lnSpc>
                <a:spcPct val="89000"/>
              </a:lnSpc>
              <a:defRPr sz="5600">
                <a:latin typeface="+mn-lt"/>
              </a:defRPr>
            </a:lvl2pPr>
            <a:lvl3pPr>
              <a:lnSpc>
                <a:spcPct val="89000"/>
              </a:lnSpc>
              <a:defRPr sz="5600">
                <a:latin typeface="+mn-lt"/>
              </a:defRPr>
            </a:lvl3pPr>
            <a:lvl4pPr>
              <a:lnSpc>
                <a:spcPct val="89000"/>
              </a:lnSpc>
              <a:defRPr sz="5600">
                <a:latin typeface="+mn-lt"/>
              </a:defRPr>
            </a:lvl4pPr>
            <a:lvl5pPr>
              <a:lnSpc>
                <a:spcPct val="89000"/>
              </a:lnSpc>
              <a:defRPr sz="5600">
                <a:latin typeface="+mn-lt"/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6C2636-F924-EB3D-C3F7-C698E9988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6259603"/>
            <a:ext cx="19678650" cy="3662734"/>
          </a:xfrm>
        </p:spPr>
        <p:txBody>
          <a:bodyPr vert="horz"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88C61EF0-1A83-6293-2304-9718A527A40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566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ograph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670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Оформление списков</a:t>
            </a:r>
            <a:endParaRPr lang="ru-RU" noProof="0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BBA08F69-5FA1-C9F9-F659-52489D1E8E2F}"/>
              </a:ext>
            </a:extLst>
          </p:cNvPr>
          <p:cNvGrpSpPr/>
          <p:nvPr userDrawn="1"/>
        </p:nvGrpSpPr>
        <p:grpSpPr>
          <a:xfrm>
            <a:off x="3593514" y="10714273"/>
            <a:ext cx="7336989" cy="466900"/>
            <a:chOff x="12530137" y="2818368"/>
            <a:chExt cx="7490410" cy="466900"/>
          </a:xfrm>
        </p:grpSpPr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F21541D6-DAAF-B378-79DF-2D25D5408E4A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25F23708-7DBF-1541-09E2-AD714D48738E}"/>
                </a:ext>
              </a:extLst>
            </p:cNvPr>
            <p:cNvCxnSpPr/>
            <p:nvPr/>
          </p:nvCxnSpPr>
          <p:spPr>
            <a:xfrm>
              <a:off x="12530137" y="32852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5DE05A3-01C4-1918-102B-D10C8B9A1D40}"/>
              </a:ext>
            </a:extLst>
          </p:cNvPr>
          <p:cNvGrpSpPr/>
          <p:nvPr userDrawn="1"/>
        </p:nvGrpSpPr>
        <p:grpSpPr>
          <a:xfrm>
            <a:off x="3593514" y="3854138"/>
            <a:ext cx="7336989" cy="642185"/>
            <a:chOff x="12530137" y="2818368"/>
            <a:chExt cx="7490410" cy="642185"/>
          </a:xfrm>
        </p:grpSpPr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152267A2-7AC7-F229-716F-BC2FDFCD4532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C39A0FDC-8F0B-DF83-A3F8-6F830D87C090}"/>
                </a:ext>
              </a:extLst>
            </p:cNvPr>
            <p:cNvCxnSpPr/>
            <p:nvPr/>
          </p:nvCxnSpPr>
          <p:spPr>
            <a:xfrm>
              <a:off x="12530137" y="3460553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9D1819B6-7485-9CAE-AF06-2202DF0062DD}"/>
              </a:ext>
            </a:extLst>
          </p:cNvPr>
          <p:cNvGrpSpPr/>
          <p:nvPr userDrawn="1"/>
        </p:nvGrpSpPr>
        <p:grpSpPr>
          <a:xfrm>
            <a:off x="3593514" y="8451973"/>
            <a:ext cx="7336989" cy="598387"/>
            <a:chOff x="12530137" y="2818368"/>
            <a:chExt cx="7490410" cy="598387"/>
          </a:xfrm>
        </p:grpSpPr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8833937C-4FBB-24DC-8210-0F8EED56D6DE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868D7F01-273A-BF88-08EC-428B4E70A22B}"/>
                </a:ext>
              </a:extLst>
            </p:cNvPr>
            <p:cNvCxnSpPr/>
            <p:nvPr/>
          </p:nvCxnSpPr>
          <p:spPr>
            <a:xfrm>
              <a:off x="12530137" y="3416755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40B525F6-0465-CF62-F584-1652311C7D15}"/>
              </a:ext>
            </a:extLst>
          </p:cNvPr>
          <p:cNvGrpSpPr/>
          <p:nvPr userDrawn="1"/>
        </p:nvGrpSpPr>
        <p:grpSpPr>
          <a:xfrm>
            <a:off x="15097990" y="3853533"/>
            <a:ext cx="6121216" cy="457756"/>
            <a:chOff x="12530137" y="2818368"/>
            <a:chExt cx="7490410" cy="457756"/>
          </a:xfrm>
        </p:grpSpPr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C1635808-C46A-8287-7714-15D531B36974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7EF0B1E6-7852-61D5-E693-F1052AABC25D}"/>
                </a:ext>
              </a:extLst>
            </p:cNvPr>
            <p:cNvCxnSpPr/>
            <p:nvPr/>
          </p:nvCxnSpPr>
          <p:spPr>
            <a:xfrm>
              <a:off x="12530137" y="3276124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883B6805-8F50-BBEF-BAAB-CDB3CA7E34CF}"/>
              </a:ext>
            </a:extLst>
          </p:cNvPr>
          <p:cNvGrpSpPr/>
          <p:nvPr userDrawn="1"/>
        </p:nvGrpSpPr>
        <p:grpSpPr>
          <a:xfrm>
            <a:off x="15097990" y="6228895"/>
            <a:ext cx="6121216" cy="366692"/>
            <a:chOff x="12530137" y="2818368"/>
            <a:chExt cx="7490410" cy="366692"/>
          </a:xfrm>
        </p:grpSpPr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6F67DDC3-EDD3-C2B8-DDF7-41CE52ED3424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4843D186-88A3-C79E-A569-98C3EBBD419F}"/>
                </a:ext>
              </a:extLst>
            </p:cNvPr>
            <p:cNvCxnSpPr/>
            <p:nvPr/>
          </p:nvCxnSpPr>
          <p:spPr>
            <a:xfrm>
              <a:off x="12530137" y="3185060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430E9741-E1CA-DD3B-EDDD-3B91237CC262}"/>
              </a:ext>
            </a:extLst>
          </p:cNvPr>
          <p:cNvGrpSpPr/>
          <p:nvPr userDrawn="1"/>
        </p:nvGrpSpPr>
        <p:grpSpPr>
          <a:xfrm>
            <a:off x="15097990" y="10713245"/>
            <a:ext cx="6121216" cy="313527"/>
            <a:chOff x="12530137" y="2818368"/>
            <a:chExt cx="7490410" cy="313527"/>
          </a:xfrm>
        </p:grpSpPr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E7D46401-79D1-4E3E-EDB5-E9FA904B0AA3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CA7B7EB7-8E0E-D599-CE4F-91AB041BC98F}"/>
                </a:ext>
              </a:extLst>
            </p:cNvPr>
            <p:cNvCxnSpPr/>
            <p:nvPr/>
          </p:nvCxnSpPr>
          <p:spPr>
            <a:xfrm>
              <a:off x="12530137" y="3131895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B99A11D5-CA4A-B46C-23E1-E8A1AA0847C6}"/>
              </a:ext>
            </a:extLst>
          </p:cNvPr>
          <p:cNvGrpSpPr/>
          <p:nvPr userDrawn="1"/>
        </p:nvGrpSpPr>
        <p:grpSpPr>
          <a:xfrm>
            <a:off x="3593514" y="6228402"/>
            <a:ext cx="7248212" cy="596376"/>
            <a:chOff x="12530137" y="2818368"/>
            <a:chExt cx="7490410" cy="596376"/>
          </a:xfrm>
        </p:grpSpPr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91BA138C-0E8B-89F3-9DAE-17A73D19C858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8C074D7E-D9EE-4ADC-91D5-BE5867B7B603}"/>
                </a:ext>
              </a:extLst>
            </p:cNvPr>
            <p:cNvCxnSpPr/>
            <p:nvPr/>
          </p:nvCxnSpPr>
          <p:spPr>
            <a:xfrm>
              <a:off x="12530137" y="3414744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B9B61C55-0937-7C82-4FC3-9B942D126363}"/>
              </a:ext>
            </a:extLst>
          </p:cNvPr>
          <p:cNvGrpSpPr/>
          <p:nvPr userDrawn="1"/>
        </p:nvGrpSpPr>
        <p:grpSpPr>
          <a:xfrm>
            <a:off x="15097990" y="8472235"/>
            <a:ext cx="6121216" cy="366692"/>
            <a:chOff x="12530137" y="2818368"/>
            <a:chExt cx="7490410" cy="366692"/>
          </a:xfrm>
        </p:grpSpPr>
        <p:cxnSp>
          <p:nvCxnSpPr>
            <p:cNvPr id="45" name="Прямая соединительная линия 44">
              <a:extLst>
                <a:ext uri="{FF2B5EF4-FFF2-40B4-BE49-F238E27FC236}">
                  <a16:creationId xmlns:a16="http://schemas.microsoft.com/office/drawing/2014/main" id="{1AB78EFD-C914-283D-8C1E-D4F43715D465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889CAE63-B6A4-143B-807B-22A648F25FD7}"/>
                </a:ext>
              </a:extLst>
            </p:cNvPr>
            <p:cNvCxnSpPr/>
            <p:nvPr/>
          </p:nvCxnSpPr>
          <p:spPr>
            <a:xfrm>
              <a:off x="12530137" y="3185060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F4E1141C-A72E-F714-D5A6-9D0113A6F9C7}"/>
              </a:ext>
            </a:extLst>
          </p:cNvPr>
          <p:cNvSpPr/>
          <p:nvPr userDrawn="1"/>
        </p:nvSpPr>
        <p:spPr>
          <a:xfrm>
            <a:off x="1440000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4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27CDE54E-61E3-FB9F-A275-285C7D934DCC}"/>
              </a:ext>
            </a:extLst>
          </p:cNvPr>
          <p:cNvGrpSpPr/>
          <p:nvPr userDrawn="1"/>
        </p:nvGrpSpPr>
        <p:grpSpPr>
          <a:xfrm>
            <a:off x="10237711" y="3860230"/>
            <a:ext cx="692794" cy="630000"/>
            <a:chOff x="10237711" y="3860230"/>
            <a:chExt cx="692794" cy="630000"/>
          </a:xfrm>
        </p:grpSpPr>
        <p:cxnSp>
          <p:nvCxnSpPr>
            <p:cNvPr id="49" name="Прямая со стрелкой 48">
              <a:extLst>
                <a:ext uri="{FF2B5EF4-FFF2-40B4-BE49-F238E27FC236}">
                  <a16:creationId xmlns:a16="http://schemas.microsoft.com/office/drawing/2014/main" id="{DB390910-5DF4-3FF1-2AC4-1D014BAF28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3860230"/>
              <a:ext cx="0" cy="6300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Заголовок 2">
              <a:extLst>
                <a:ext uri="{FF2B5EF4-FFF2-40B4-BE49-F238E27FC236}">
                  <a16:creationId xmlns:a16="http://schemas.microsoft.com/office/drawing/2014/main" id="{54306E6B-7209-FB3F-39B6-1D625CC150B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343806" y="4028569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942A42A1-DC64-87FE-CB9F-60B87FC86ECC}"/>
              </a:ext>
            </a:extLst>
          </p:cNvPr>
          <p:cNvGrpSpPr/>
          <p:nvPr userDrawn="1"/>
        </p:nvGrpSpPr>
        <p:grpSpPr>
          <a:xfrm>
            <a:off x="3764224" y="3487876"/>
            <a:ext cx="374400" cy="1488051"/>
            <a:chOff x="3764224" y="3487876"/>
            <a:chExt cx="374400" cy="1488051"/>
          </a:xfrm>
        </p:grpSpPr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49739F22-E7F3-DE3E-0627-5D4DA7DF16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02521" y="3487876"/>
              <a:ext cx="0" cy="148805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id="{8880CABA-B7E7-2C9F-2AF5-A4808E9332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00327" y="3487876"/>
              <a:ext cx="0" cy="148805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 стрелкой 61">
              <a:extLst>
                <a:ext uri="{FF2B5EF4-FFF2-40B4-BE49-F238E27FC236}">
                  <a16:creationId xmlns:a16="http://schemas.microsoft.com/office/drawing/2014/main" id="{7BC92AE0-63BF-8D1B-33D7-D3F5475154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64224" y="4942290"/>
              <a:ext cx="374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Заголовок 2">
            <a:extLst>
              <a:ext uri="{FF2B5EF4-FFF2-40B4-BE49-F238E27FC236}">
                <a16:creationId xmlns:a16="http://schemas.microsoft.com/office/drawing/2014/main" id="{14A87D7D-F8B7-C833-009A-5106FD221E21}"/>
              </a:ext>
            </a:extLst>
          </p:cNvPr>
          <p:cNvSpPr txBox="1">
            <a:spLocks/>
          </p:cNvSpPr>
          <p:nvPr userDrawn="1"/>
        </p:nvSpPr>
        <p:spPr>
          <a:xfrm>
            <a:off x="3802521" y="5017903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4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8" name="Скругленный прямоугольник 67">
            <a:extLst>
              <a:ext uri="{FF2B5EF4-FFF2-40B4-BE49-F238E27FC236}">
                <a16:creationId xmlns:a16="http://schemas.microsoft.com/office/drawing/2014/main" id="{15AA429C-5AA2-5FE3-1C93-EDE321C3379B}"/>
              </a:ext>
            </a:extLst>
          </p:cNvPr>
          <p:cNvSpPr/>
          <p:nvPr userDrawn="1"/>
        </p:nvSpPr>
        <p:spPr>
          <a:xfrm>
            <a:off x="1440000" y="592405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36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A19B64B0-8BB2-6122-9BCF-73BD22D95E1E}"/>
              </a:ext>
            </a:extLst>
          </p:cNvPr>
          <p:cNvGrpSpPr/>
          <p:nvPr userDrawn="1"/>
        </p:nvGrpSpPr>
        <p:grpSpPr>
          <a:xfrm>
            <a:off x="10237711" y="6239453"/>
            <a:ext cx="1494295" cy="568800"/>
            <a:chOff x="10237711" y="6239453"/>
            <a:chExt cx="1494295" cy="568800"/>
          </a:xfrm>
        </p:grpSpPr>
        <p:cxnSp>
          <p:nvCxnSpPr>
            <p:cNvPr id="70" name="Прямая со стрелкой 69">
              <a:extLst>
                <a:ext uri="{FF2B5EF4-FFF2-40B4-BE49-F238E27FC236}">
                  <a16:creationId xmlns:a16="http://schemas.microsoft.com/office/drawing/2014/main" id="{E6459136-F5E9-ABD8-B2DA-0454454C2B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6239453"/>
              <a:ext cx="0" cy="5688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Заголовок 2">
              <a:extLst>
                <a:ext uri="{FF2B5EF4-FFF2-40B4-BE49-F238E27FC236}">
                  <a16:creationId xmlns:a16="http://schemas.microsoft.com/office/drawing/2014/main" id="{949FE326-7387-0CA0-8FF6-B091D1753C72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6367667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8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2CDCCA85-FFAC-655D-33A3-AE831BA3AF9E}"/>
              </a:ext>
            </a:extLst>
          </p:cNvPr>
          <p:cNvGrpSpPr/>
          <p:nvPr userDrawn="1"/>
        </p:nvGrpSpPr>
        <p:grpSpPr>
          <a:xfrm>
            <a:off x="3756752" y="5881317"/>
            <a:ext cx="338400" cy="1394788"/>
            <a:chOff x="3756752" y="5881317"/>
            <a:chExt cx="338400" cy="1394788"/>
          </a:xfrm>
        </p:grpSpPr>
        <p:cxnSp>
          <p:nvCxnSpPr>
            <p:cNvPr id="73" name="Прямая соединительная линия 72">
              <a:extLst>
                <a:ext uri="{FF2B5EF4-FFF2-40B4-BE49-F238E27FC236}">
                  <a16:creationId xmlns:a16="http://schemas.microsoft.com/office/drawing/2014/main" id="{944C357E-0944-7CC0-5050-F6B42EEB605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91369" y="5881317"/>
              <a:ext cx="0" cy="13947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Прямая соединительная линия 80">
              <a:extLst>
                <a:ext uri="{FF2B5EF4-FFF2-40B4-BE49-F238E27FC236}">
                  <a16:creationId xmlns:a16="http://schemas.microsoft.com/office/drawing/2014/main" id="{7B7FA1F9-43FE-0F9C-2698-804D1851BFE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060535" y="5881317"/>
              <a:ext cx="0" cy="13947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 стрелкой 85">
              <a:extLst>
                <a:ext uri="{FF2B5EF4-FFF2-40B4-BE49-F238E27FC236}">
                  <a16:creationId xmlns:a16="http://schemas.microsoft.com/office/drawing/2014/main" id="{A56941D4-5A3A-855F-0EB8-6CA33773CA8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756752" y="7247015"/>
              <a:ext cx="338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Заголовок 2">
            <a:extLst>
              <a:ext uri="{FF2B5EF4-FFF2-40B4-BE49-F238E27FC236}">
                <a16:creationId xmlns:a16="http://schemas.microsoft.com/office/drawing/2014/main" id="{F6E1DBA7-8B23-8A2A-D7FB-8FD274868F44}"/>
              </a:ext>
            </a:extLst>
          </p:cNvPr>
          <p:cNvSpPr txBox="1">
            <a:spLocks/>
          </p:cNvSpPr>
          <p:nvPr userDrawn="1"/>
        </p:nvSpPr>
        <p:spPr>
          <a:xfrm>
            <a:off x="3791369" y="7322628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3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8" name="Скругленный прямоугольник 87">
            <a:extLst>
              <a:ext uri="{FF2B5EF4-FFF2-40B4-BE49-F238E27FC236}">
                <a16:creationId xmlns:a16="http://schemas.microsoft.com/office/drawing/2014/main" id="{28F024E5-87C6-863B-3E39-D49393090DD7}"/>
              </a:ext>
            </a:extLst>
          </p:cNvPr>
          <p:cNvSpPr/>
          <p:nvPr userDrawn="1"/>
        </p:nvSpPr>
        <p:spPr>
          <a:xfrm>
            <a:off x="1440000" y="814697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3</a:t>
            </a:r>
            <a:r>
              <a:rPr lang="en-US" sz="2000" dirty="0">
                <a:solidFill>
                  <a:schemeClr val="bg1"/>
                </a:solidFill>
              </a:rPr>
              <a:t>2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89" name="Группа 88">
            <a:extLst>
              <a:ext uri="{FF2B5EF4-FFF2-40B4-BE49-F238E27FC236}">
                <a16:creationId xmlns:a16="http://schemas.microsoft.com/office/drawing/2014/main" id="{80686902-81AD-FBFF-1BD8-5AEA5E06B0BB}"/>
              </a:ext>
            </a:extLst>
          </p:cNvPr>
          <p:cNvGrpSpPr/>
          <p:nvPr userDrawn="1"/>
        </p:nvGrpSpPr>
        <p:grpSpPr>
          <a:xfrm>
            <a:off x="10237711" y="8463166"/>
            <a:ext cx="1494295" cy="576000"/>
            <a:chOff x="10237711" y="8463166"/>
            <a:chExt cx="1494295" cy="576000"/>
          </a:xfrm>
        </p:grpSpPr>
        <p:cxnSp>
          <p:nvCxnSpPr>
            <p:cNvPr id="90" name="Прямая со стрелкой 89">
              <a:extLst>
                <a:ext uri="{FF2B5EF4-FFF2-40B4-BE49-F238E27FC236}">
                  <a16:creationId xmlns:a16="http://schemas.microsoft.com/office/drawing/2014/main" id="{186463A0-17C1-DBED-77D7-12460451D4B4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8463166"/>
              <a:ext cx="0" cy="5760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Заголовок 2">
              <a:extLst>
                <a:ext uri="{FF2B5EF4-FFF2-40B4-BE49-F238E27FC236}">
                  <a16:creationId xmlns:a16="http://schemas.microsoft.com/office/drawing/2014/main" id="{5E51C364-E501-3A6E-0DF0-20319A487AB3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8604505"/>
              <a:ext cx="1388201" cy="293323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1F90DB11-DE43-A524-F531-DC2A88DB423A}"/>
              </a:ext>
            </a:extLst>
          </p:cNvPr>
          <p:cNvGrpSpPr/>
          <p:nvPr userDrawn="1"/>
        </p:nvGrpSpPr>
        <p:grpSpPr>
          <a:xfrm>
            <a:off x="3735226" y="8151518"/>
            <a:ext cx="324000" cy="1332031"/>
            <a:chOff x="3735226" y="8151518"/>
            <a:chExt cx="324000" cy="1332031"/>
          </a:xfrm>
        </p:grpSpPr>
        <p:cxnSp>
          <p:nvCxnSpPr>
            <p:cNvPr id="93" name="Прямая соединительная линия 92">
              <a:extLst>
                <a:ext uri="{FF2B5EF4-FFF2-40B4-BE49-F238E27FC236}">
                  <a16:creationId xmlns:a16="http://schemas.microsoft.com/office/drawing/2014/main" id="{AB889B07-D911-AF2A-BB3D-FE7D766A58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69065" y="8151518"/>
              <a:ext cx="0" cy="133203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Прямая соединительная линия 93">
              <a:extLst>
                <a:ext uri="{FF2B5EF4-FFF2-40B4-BE49-F238E27FC236}">
                  <a16:creationId xmlns:a16="http://schemas.microsoft.com/office/drawing/2014/main" id="{7007F9CB-ABAE-7296-0611-614162630E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25387" y="8151518"/>
              <a:ext cx="0" cy="133203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 стрелкой 94">
              <a:extLst>
                <a:ext uri="{FF2B5EF4-FFF2-40B4-BE49-F238E27FC236}">
                  <a16:creationId xmlns:a16="http://schemas.microsoft.com/office/drawing/2014/main" id="{B0C3D425-7F01-3C2C-3950-8F1639350C0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735226" y="9449756"/>
              <a:ext cx="3240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6" name="Заголовок 2">
            <a:extLst>
              <a:ext uri="{FF2B5EF4-FFF2-40B4-BE49-F238E27FC236}">
                <a16:creationId xmlns:a16="http://schemas.microsoft.com/office/drawing/2014/main" id="{84B042C5-79C3-2379-5994-3E392C059269}"/>
              </a:ext>
            </a:extLst>
          </p:cNvPr>
          <p:cNvSpPr txBox="1">
            <a:spLocks/>
          </p:cNvSpPr>
          <p:nvPr userDrawn="1"/>
        </p:nvSpPr>
        <p:spPr>
          <a:xfrm>
            <a:off x="3769065" y="9525369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2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3" name="Скругленный прямоугольник 172">
            <a:extLst>
              <a:ext uri="{FF2B5EF4-FFF2-40B4-BE49-F238E27FC236}">
                <a16:creationId xmlns:a16="http://schemas.microsoft.com/office/drawing/2014/main" id="{FC0C5C53-EE8D-1FBD-97C5-82DDAF727820}"/>
              </a:ext>
            </a:extLst>
          </p:cNvPr>
          <p:cNvSpPr/>
          <p:nvPr userDrawn="1"/>
        </p:nvSpPr>
        <p:spPr>
          <a:xfrm>
            <a:off x="1440000" y="1040013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8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D2F909DD-7316-65FC-AB6E-FC45628FACC3}"/>
              </a:ext>
            </a:extLst>
          </p:cNvPr>
          <p:cNvGrpSpPr/>
          <p:nvPr userDrawn="1"/>
        </p:nvGrpSpPr>
        <p:grpSpPr>
          <a:xfrm>
            <a:off x="10237711" y="10726323"/>
            <a:ext cx="1494295" cy="442800"/>
            <a:chOff x="10237711" y="10726323"/>
            <a:chExt cx="1494295" cy="442800"/>
          </a:xfrm>
        </p:grpSpPr>
        <p:cxnSp>
          <p:nvCxnSpPr>
            <p:cNvPr id="175" name="Прямая со стрелкой 174">
              <a:extLst>
                <a:ext uri="{FF2B5EF4-FFF2-40B4-BE49-F238E27FC236}">
                  <a16:creationId xmlns:a16="http://schemas.microsoft.com/office/drawing/2014/main" id="{327087FE-9344-94F1-B9AC-FBE5B969C9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237711" y="10726323"/>
              <a:ext cx="0" cy="4428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Заголовок 2">
              <a:extLst>
                <a:ext uri="{FF2B5EF4-FFF2-40B4-BE49-F238E27FC236}">
                  <a16:creationId xmlns:a16="http://schemas.microsoft.com/office/drawing/2014/main" id="{B2ED4744-9B10-780E-74ED-FFE7D9254522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10801062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8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2EAE7DC1-C691-7CD6-6536-64A1004D01F5}"/>
              </a:ext>
            </a:extLst>
          </p:cNvPr>
          <p:cNvGrpSpPr/>
          <p:nvPr userDrawn="1"/>
        </p:nvGrpSpPr>
        <p:grpSpPr>
          <a:xfrm>
            <a:off x="3718899" y="10445855"/>
            <a:ext cx="306000" cy="1149876"/>
            <a:chOff x="3718899" y="10445855"/>
            <a:chExt cx="306000" cy="1149876"/>
          </a:xfrm>
        </p:grpSpPr>
        <p:cxnSp>
          <p:nvCxnSpPr>
            <p:cNvPr id="178" name="Прямая соединительная линия 177">
              <a:extLst>
                <a:ext uri="{FF2B5EF4-FFF2-40B4-BE49-F238E27FC236}">
                  <a16:creationId xmlns:a16="http://schemas.microsoft.com/office/drawing/2014/main" id="{936226C2-525A-2C99-25F5-78F48419AC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51316" y="10445855"/>
              <a:ext cx="0" cy="114987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Прямая соединительная линия 178">
              <a:extLst>
                <a:ext uri="{FF2B5EF4-FFF2-40B4-BE49-F238E27FC236}">
                  <a16:creationId xmlns:a16="http://schemas.microsoft.com/office/drawing/2014/main" id="{3794AB55-BA21-9083-072B-6AC9FF2F96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2482" y="10445855"/>
              <a:ext cx="0" cy="114987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Прямая со стрелкой 186">
              <a:extLst>
                <a:ext uri="{FF2B5EF4-FFF2-40B4-BE49-F238E27FC236}">
                  <a16:creationId xmlns:a16="http://schemas.microsoft.com/office/drawing/2014/main" id="{40B71FC4-9648-88EE-AE74-C7E42CAAF8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18899" y="11563330"/>
              <a:ext cx="3060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2" name="Заголовок 2">
            <a:extLst>
              <a:ext uri="{FF2B5EF4-FFF2-40B4-BE49-F238E27FC236}">
                <a16:creationId xmlns:a16="http://schemas.microsoft.com/office/drawing/2014/main" id="{67DC9BE0-3054-78A2-FEC7-2B6394CB4FBD}"/>
              </a:ext>
            </a:extLst>
          </p:cNvPr>
          <p:cNvSpPr txBox="1">
            <a:spLocks/>
          </p:cNvSpPr>
          <p:nvPr userDrawn="1"/>
        </p:nvSpPr>
        <p:spPr>
          <a:xfrm>
            <a:off x="3751316" y="11638943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1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0" name="Скругленный прямоугольник 199">
            <a:extLst>
              <a:ext uri="{FF2B5EF4-FFF2-40B4-BE49-F238E27FC236}">
                <a16:creationId xmlns:a16="http://schemas.microsoft.com/office/drawing/2014/main" id="{292E02FE-1EA9-0E68-8CE9-E97515EC9746}"/>
              </a:ext>
            </a:extLst>
          </p:cNvPr>
          <p:cNvSpPr/>
          <p:nvPr userDrawn="1"/>
        </p:nvSpPr>
        <p:spPr>
          <a:xfrm>
            <a:off x="12944475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8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05" name="Группа 204">
            <a:extLst>
              <a:ext uri="{FF2B5EF4-FFF2-40B4-BE49-F238E27FC236}">
                <a16:creationId xmlns:a16="http://schemas.microsoft.com/office/drawing/2014/main" id="{3ED369CA-1CB2-6AF4-568A-0591B276D424}"/>
              </a:ext>
            </a:extLst>
          </p:cNvPr>
          <p:cNvGrpSpPr/>
          <p:nvPr userDrawn="1"/>
        </p:nvGrpSpPr>
        <p:grpSpPr>
          <a:xfrm>
            <a:off x="20526421" y="3862811"/>
            <a:ext cx="1494295" cy="439200"/>
            <a:chOff x="20526421" y="3862811"/>
            <a:chExt cx="1494295" cy="439200"/>
          </a:xfrm>
        </p:grpSpPr>
        <p:cxnSp>
          <p:nvCxnSpPr>
            <p:cNvPr id="206" name="Прямая со стрелкой 205">
              <a:extLst>
                <a:ext uri="{FF2B5EF4-FFF2-40B4-BE49-F238E27FC236}">
                  <a16:creationId xmlns:a16="http://schemas.microsoft.com/office/drawing/2014/main" id="{469CAD2C-E52B-34E9-8D7A-4CC3E6457C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3862811"/>
              <a:ext cx="0" cy="4392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" name="Заголовок 2">
              <a:extLst>
                <a:ext uri="{FF2B5EF4-FFF2-40B4-BE49-F238E27FC236}">
                  <a16:creationId xmlns:a16="http://schemas.microsoft.com/office/drawing/2014/main" id="{002F53BD-96B3-B480-3473-4AA7EFDEA6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3935750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8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208" name="Заголовок 2">
            <a:extLst>
              <a:ext uri="{FF2B5EF4-FFF2-40B4-BE49-F238E27FC236}">
                <a16:creationId xmlns:a16="http://schemas.microsoft.com/office/drawing/2014/main" id="{0A4D6B9F-CC6D-6C37-D590-CAE8FA503DF2}"/>
              </a:ext>
            </a:extLst>
          </p:cNvPr>
          <p:cNvSpPr txBox="1">
            <a:spLocks/>
          </p:cNvSpPr>
          <p:nvPr userDrawn="1"/>
        </p:nvSpPr>
        <p:spPr>
          <a:xfrm>
            <a:off x="15342882" y="4768457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2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9" name="Скругленный прямоугольник 208">
            <a:extLst>
              <a:ext uri="{FF2B5EF4-FFF2-40B4-BE49-F238E27FC236}">
                <a16:creationId xmlns:a16="http://schemas.microsoft.com/office/drawing/2014/main" id="{F3943946-06FA-1580-C625-73DDF1B1E1C9}"/>
              </a:ext>
            </a:extLst>
          </p:cNvPr>
          <p:cNvSpPr/>
          <p:nvPr userDrawn="1"/>
        </p:nvSpPr>
        <p:spPr>
          <a:xfrm>
            <a:off x="12944475" y="592405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24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10" name="Группа 209">
            <a:extLst>
              <a:ext uri="{FF2B5EF4-FFF2-40B4-BE49-F238E27FC236}">
                <a16:creationId xmlns:a16="http://schemas.microsoft.com/office/drawing/2014/main" id="{841809D8-835A-4A27-DE53-91BD24FFCD59}"/>
              </a:ext>
            </a:extLst>
          </p:cNvPr>
          <p:cNvGrpSpPr/>
          <p:nvPr userDrawn="1"/>
        </p:nvGrpSpPr>
        <p:grpSpPr>
          <a:xfrm>
            <a:off x="20526421" y="6239441"/>
            <a:ext cx="692793" cy="345600"/>
            <a:chOff x="20526421" y="6239441"/>
            <a:chExt cx="692793" cy="345600"/>
          </a:xfrm>
        </p:grpSpPr>
        <p:cxnSp>
          <p:nvCxnSpPr>
            <p:cNvPr id="211" name="Прямая со стрелкой 210">
              <a:extLst>
                <a:ext uri="{FF2B5EF4-FFF2-40B4-BE49-F238E27FC236}">
                  <a16:creationId xmlns:a16="http://schemas.microsoft.com/office/drawing/2014/main" id="{AE2486C0-B88D-C5E9-8BC1-AB7A78AF52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6239441"/>
              <a:ext cx="0" cy="345600"/>
            </a:xfrm>
            <a:prstGeom prst="straightConnector1">
              <a:avLst/>
            </a:prstGeom>
            <a:ln w="19050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2" name="Заголовок 2">
              <a:extLst>
                <a:ext uri="{FF2B5EF4-FFF2-40B4-BE49-F238E27FC236}">
                  <a16:creationId xmlns:a16="http://schemas.microsoft.com/office/drawing/2014/main" id="{26BB1269-E59A-5EF5-C868-FD57EC929B2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6265580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13" name="Группа 212">
            <a:extLst>
              <a:ext uri="{FF2B5EF4-FFF2-40B4-BE49-F238E27FC236}">
                <a16:creationId xmlns:a16="http://schemas.microsoft.com/office/drawing/2014/main" id="{AFF80234-3204-146C-E6D0-5A4BC6959BFE}"/>
              </a:ext>
            </a:extLst>
          </p:cNvPr>
          <p:cNvGrpSpPr/>
          <p:nvPr userDrawn="1"/>
        </p:nvGrpSpPr>
        <p:grpSpPr>
          <a:xfrm>
            <a:off x="15317308" y="5986663"/>
            <a:ext cx="223200" cy="998991"/>
            <a:chOff x="15317308" y="5986663"/>
            <a:chExt cx="223200" cy="998991"/>
          </a:xfrm>
        </p:grpSpPr>
        <p:cxnSp>
          <p:nvCxnSpPr>
            <p:cNvPr id="214" name="Прямая соединительная линия 213">
              <a:extLst>
                <a:ext uri="{FF2B5EF4-FFF2-40B4-BE49-F238E27FC236}">
                  <a16:creationId xmlns:a16="http://schemas.microsoft.com/office/drawing/2014/main" id="{74F1CBE8-19D2-9E84-E2EE-95DE9C36F3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53702" y="5986663"/>
              <a:ext cx="0" cy="99899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Прямая соединительная линия 214">
              <a:extLst>
                <a:ext uri="{FF2B5EF4-FFF2-40B4-BE49-F238E27FC236}">
                  <a16:creationId xmlns:a16="http://schemas.microsoft.com/office/drawing/2014/main" id="{0A05B016-6D54-DCFA-DBE6-B7268321D62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504114" y="5986663"/>
              <a:ext cx="0" cy="99899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Прямая со стрелкой 221">
              <a:extLst>
                <a:ext uri="{FF2B5EF4-FFF2-40B4-BE49-F238E27FC236}">
                  <a16:creationId xmlns:a16="http://schemas.microsoft.com/office/drawing/2014/main" id="{CACB05C2-957C-35AA-6F69-D6885190109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5317308" y="6947295"/>
              <a:ext cx="2232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8" name="Заголовок 2">
            <a:extLst>
              <a:ext uri="{FF2B5EF4-FFF2-40B4-BE49-F238E27FC236}">
                <a16:creationId xmlns:a16="http://schemas.microsoft.com/office/drawing/2014/main" id="{F5C0AC75-ECB4-5669-C69C-01EE978D71ED}"/>
              </a:ext>
            </a:extLst>
          </p:cNvPr>
          <p:cNvSpPr txBox="1">
            <a:spLocks/>
          </p:cNvSpPr>
          <p:nvPr userDrawn="1"/>
        </p:nvSpPr>
        <p:spPr>
          <a:xfrm>
            <a:off x="15325126" y="7022908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2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9" name="Скругленный прямоугольник 228">
            <a:extLst>
              <a:ext uri="{FF2B5EF4-FFF2-40B4-BE49-F238E27FC236}">
                <a16:creationId xmlns:a16="http://schemas.microsoft.com/office/drawing/2014/main" id="{3B0422D8-DCC6-9A1E-EAB7-303E4D8F67A1}"/>
              </a:ext>
            </a:extLst>
          </p:cNvPr>
          <p:cNvSpPr/>
          <p:nvPr userDrawn="1"/>
        </p:nvSpPr>
        <p:spPr>
          <a:xfrm>
            <a:off x="12944475" y="1040013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2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30" name="Группа 229">
            <a:extLst>
              <a:ext uri="{FF2B5EF4-FFF2-40B4-BE49-F238E27FC236}">
                <a16:creationId xmlns:a16="http://schemas.microsoft.com/office/drawing/2014/main" id="{6C00C230-4B8A-3A8E-8776-BCFE2FBA0CB2}"/>
              </a:ext>
            </a:extLst>
          </p:cNvPr>
          <p:cNvGrpSpPr/>
          <p:nvPr userDrawn="1"/>
        </p:nvGrpSpPr>
        <p:grpSpPr>
          <a:xfrm>
            <a:off x="15273876" y="10505404"/>
            <a:ext cx="194400" cy="885105"/>
            <a:chOff x="15273876" y="10505404"/>
            <a:chExt cx="194400" cy="885105"/>
          </a:xfrm>
        </p:grpSpPr>
        <p:cxnSp>
          <p:nvCxnSpPr>
            <p:cNvPr id="235" name="Прямая соединительная линия 234">
              <a:extLst>
                <a:ext uri="{FF2B5EF4-FFF2-40B4-BE49-F238E27FC236}">
                  <a16:creationId xmlns:a16="http://schemas.microsoft.com/office/drawing/2014/main" id="{BE8BBEF9-9E6D-FB90-5DDA-9018B748618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07700" y="10505404"/>
              <a:ext cx="0" cy="885105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Прямая соединительная линия 235">
              <a:extLst>
                <a:ext uri="{FF2B5EF4-FFF2-40B4-BE49-F238E27FC236}">
                  <a16:creationId xmlns:a16="http://schemas.microsoft.com/office/drawing/2014/main" id="{70E28C80-79D1-14C5-609E-12C90ABD8AB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434452" y="10505404"/>
              <a:ext cx="0" cy="885105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Прямая со стрелкой 236">
              <a:extLst>
                <a:ext uri="{FF2B5EF4-FFF2-40B4-BE49-F238E27FC236}">
                  <a16:creationId xmlns:a16="http://schemas.microsoft.com/office/drawing/2014/main" id="{C6A09B21-1AE3-2596-E2F4-7CCA457C0B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273876" y="11355462"/>
              <a:ext cx="194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8" name="Заголовок 2">
            <a:extLst>
              <a:ext uri="{FF2B5EF4-FFF2-40B4-BE49-F238E27FC236}">
                <a16:creationId xmlns:a16="http://schemas.microsoft.com/office/drawing/2014/main" id="{A60DFCB5-F8C6-DA91-23BD-807A84858C98}"/>
              </a:ext>
            </a:extLst>
          </p:cNvPr>
          <p:cNvSpPr txBox="1">
            <a:spLocks/>
          </p:cNvSpPr>
          <p:nvPr userDrawn="1"/>
        </p:nvSpPr>
        <p:spPr>
          <a:xfrm>
            <a:off x="15310983" y="11431075"/>
            <a:ext cx="463268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39" name="Группа 238">
            <a:extLst>
              <a:ext uri="{FF2B5EF4-FFF2-40B4-BE49-F238E27FC236}">
                <a16:creationId xmlns:a16="http://schemas.microsoft.com/office/drawing/2014/main" id="{7AADAE5F-6DD0-72CD-94ED-DACBB31FA87C}"/>
              </a:ext>
            </a:extLst>
          </p:cNvPr>
          <p:cNvGrpSpPr/>
          <p:nvPr userDrawn="1"/>
        </p:nvGrpSpPr>
        <p:grpSpPr>
          <a:xfrm>
            <a:off x="20526421" y="10723347"/>
            <a:ext cx="1353230" cy="293323"/>
            <a:chOff x="20526421" y="10723347"/>
            <a:chExt cx="1353230" cy="293323"/>
          </a:xfrm>
        </p:grpSpPr>
        <p:cxnSp>
          <p:nvCxnSpPr>
            <p:cNvPr id="240" name="Прямая со стрелкой 239">
              <a:extLst>
                <a:ext uri="{FF2B5EF4-FFF2-40B4-BE49-F238E27FC236}">
                  <a16:creationId xmlns:a16="http://schemas.microsoft.com/office/drawing/2014/main" id="{18F37B48-D2DE-BDE6-21FE-1A16C09A69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10726008"/>
              <a:ext cx="0" cy="288000"/>
            </a:xfrm>
            <a:prstGeom prst="straightConnector1">
              <a:avLst/>
            </a:prstGeom>
            <a:ln w="19050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1" name="Заголовок 2">
              <a:extLst>
                <a:ext uri="{FF2B5EF4-FFF2-40B4-BE49-F238E27FC236}">
                  <a16:creationId xmlns:a16="http://schemas.microsoft.com/office/drawing/2014/main" id="{5FEE5C71-3509-229B-FBDD-16E4AEAAF18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10723347"/>
              <a:ext cx="1247136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/ 6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242" name="Скругленный прямоугольник 241">
            <a:extLst>
              <a:ext uri="{FF2B5EF4-FFF2-40B4-BE49-F238E27FC236}">
                <a16:creationId xmlns:a16="http://schemas.microsoft.com/office/drawing/2014/main" id="{B88EC9B1-681E-E73E-7B35-AF4663B09436}"/>
              </a:ext>
            </a:extLst>
          </p:cNvPr>
          <p:cNvSpPr/>
          <p:nvPr userDrawn="1"/>
        </p:nvSpPr>
        <p:spPr>
          <a:xfrm>
            <a:off x="12944475" y="814697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4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43" name="Заголовок 2">
            <a:extLst>
              <a:ext uri="{FF2B5EF4-FFF2-40B4-BE49-F238E27FC236}">
                <a16:creationId xmlns:a16="http://schemas.microsoft.com/office/drawing/2014/main" id="{66179B4C-4138-08F3-8B85-FE5326C15E4B}"/>
              </a:ext>
            </a:extLst>
          </p:cNvPr>
          <p:cNvSpPr txBox="1">
            <a:spLocks/>
          </p:cNvSpPr>
          <p:nvPr userDrawn="1"/>
        </p:nvSpPr>
        <p:spPr>
          <a:xfrm>
            <a:off x="15212899" y="9241169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en-US" sz="2000" dirty="0">
                <a:solidFill>
                  <a:schemeClr val="tx1"/>
                </a:solidFill>
                <a:latin typeface="+mn-lt"/>
              </a:rPr>
              <a:t>0,9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44" name="Группа 243">
            <a:extLst>
              <a:ext uri="{FF2B5EF4-FFF2-40B4-BE49-F238E27FC236}">
                <a16:creationId xmlns:a16="http://schemas.microsoft.com/office/drawing/2014/main" id="{9CE2BAB8-1531-C284-8E9C-135EE0942FF8}"/>
              </a:ext>
            </a:extLst>
          </p:cNvPr>
          <p:cNvGrpSpPr/>
          <p:nvPr userDrawn="1"/>
        </p:nvGrpSpPr>
        <p:grpSpPr>
          <a:xfrm>
            <a:off x="20526421" y="8482781"/>
            <a:ext cx="692793" cy="345600"/>
            <a:chOff x="20526421" y="8482781"/>
            <a:chExt cx="692793" cy="345600"/>
          </a:xfrm>
        </p:grpSpPr>
        <p:cxnSp>
          <p:nvCxnSpPr>
            <p:cNvPr id="245" name="Прямая со стрелкой 244">
              <a:extLst>
                <a:ext uri="{FF2B5EF4-FFF2-40B4-BE49-F238E27FC236}">
                  <a16:creationId xmlns:a16="http://schemas.microsoft.com/office/drawing/2014/main" id="{65240C90-D02C-6584-0456-D677266B4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8482781"/>
              <a:ext cx="0" cy="3456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6" name="Заголовок 2">
              <a:extLst>
                <a:ext uri="{FF2B5EF4-FFF2-40B4-BE49-F238E27FC236}">
                  <a16:creationId xmlns:a16="http://schemas.microsoft.com/office/drawing/2014/main" id="{BF668602-3374-9879-DCD3-27D26B4E475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8508920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47" name="Группа 246">
            <a:extLst>
              <a:ext uri="{FF2B5EF4-FFF2-40B4-BE49-F238E27FC236}">
                <a16:creationId xmlns:a16="http://schemas.microsoft.com/office/drawing/2014/main" id="{4969670E-0B37-157D-8297-FB24247696EC}"/>
              </a:ext>
            </a:extLst>
          </p:cNvPr>
          <p:cNvGrpSpPr/>
          <p:nvPr userDrawn="1"/>
        </p:nvGrpSpPr>
        <p:grpSpPr>
          <a:xfrm>
            <a:off x="15182547" y="8210352"/>
            <a:ext cx="248399" cy="997688"/>
            <a:chOff x="15182547" y="8210352"/>
            <a:chExt cx="248399" cy="997688"/>
          </a:xfrm>
        </p:grpSpPr>
        <p:cxnSp>
          <p:nvCxnSpPr>
            <p:cNvPr id="248" name="Прямая соединительная линия 247">
              <a:extLst>
                <a:ext uri="{FF2B5EF4-FFF2-40B4-BE49-F238E27FC236}">
                  <a16:creationId xmlns:a16="http://schemas.microsoft.com/office/drawing/2014/main" id="{EC5B8ED5-F87D-69E1-A0EB-F48D98BB19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212899" y="8210352"/>
              <a:ext cx="0" cy="9976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Прямая соединительная линия 248">
              <a:extLst>
                <a:ext uri="{FF2B5EF4-FFF2-40B4-BE49-F238E27FC236}">
                  <a16:creationId xmlns:a16="http://schemas.microsoft.com/office/drawing/2014/main" id="{EB3F834E-336C-BB73-DF94-F90CD979DF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00595" y="8210352"/>
              <a:ext cx="0" cy="9976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Прямая со стрелкой 249">
              <a:extLst>
                <a:ext uri="{FF2B5EF4-FFF2-40B4-BE49-F238E27FC236}">
                  <a16:creationId xmlns:a16="http://schemas.microsoft.com/office/drawing/2014/main" id="{9AE514E7-A4EB-4450-F55E-5313D5022F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182547" y="9165556"/>
              <a:ext cx="248399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1" name="Группа 250">
            <a:extLst>
              <a:ext uri="{FF2B5EF4-FFF2-40B4-BE49-F238E27FC236}">
                <a16:creationId xmlns:a16="http://schemas.microsoft.com/office/drawing/2014/main" id="{13C353C2-3AA8-9A21-47B9-AC53B85FBDFF}"/>
              </a:ext>
            </a:extLst>
          </p:cNvPr>
          <p:cNvGrpSpPr/>
          <p:nvPr userDrawn="1"/>
        </p:nvGrpSpPr>
        <p:grpSpPr>
          <a:xfrm>
            <a:off x="15353064" y="3578556"/>
            <a:ext cx="187200" cy="1142326"/>
            <a:chOff x="15353064" y="3578556"/>
            <a:chExt cx="187200" cy="1142326"/>
          </a:xfrm>
        </p:grpSpPr>
        <p:cxnSp>
          <p:nvCxnSpPr>
            <p:cNvPr id="252" name="Прямая соединительная линия 251">
              <a:extLst>
                <a:ext uri="{FF2B5EF4-FFF2-40B4-BE49-F238E27FC236}">
                  <a16:creationId xmlns:a16="http://schemas.microsoft.com/office/drawing/2014/main" id="{39B99D12-47EA-0414-CD11-B8FA833EA7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88874" y="3578556"/>
              <a:ext cx="0" cy="114232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Прямая соединительная линия 252">
              <a:extLst>
                <a:ext uri="{FF2B5EF4-FFF2-40B4-BE49-F238E27FC236}">
                  <a16:creationId xmlns:a16="http://schemas.microsoft.com/office/drawing/2014/main" id="{2689987C-782C-2E4A-B4E9-C880136F254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504454" y="3578556"/>
              <a:ext cx="0" cy="114232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Прямая со стрелкой 253">
              <a:extLst>
                <a:ext uri="{FF2B5EF4-FFF2-40B4-BE49-F238E27FC236}">
                  <a16:creationId xmlns:a16="http://schemas.microsoft.com/office/drawing/2014/main" id="{CEF36537-CB37-6BDB-F31D-368A79E0BC9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5353064" y="4692844"/>
              <a:ext cx="1872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5" name="Заголовок 2">
            <a:extLst>
              <a:ext uri="{FF2B5EF4-FFF2-40B4-BE49-F238E27FC236}">
                <a16:creationId xmlns:a16="http://schemas.microsoft.com/office/drawing/2014/main" id="{C688E347-6C42-8E35-A17C-5D91DF75B106}"/>
              </a:ext>
            </a:extLst>
          </p:cNvPr>
          <p:cNvSpPr txBox="1">
            <a:spLocks/>
          </p:cNvSpPr>
          <p:nvPr userDrawn="1"/>
        </p:nvSpPr>
        <p:spPr>
          <a:xfrm>
            <a:off x="10343805" y="2663386"/>
            <a:ext cx="223953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defPPr>
              <a:defRPr lang="en-US"/>
            </a:defPPr>
            <a:lvl1pPr defTabSz="1828619">
              <a:lnSpc>
                <a:spcPct val="100000"/>
              </a:lnSpc>
              <a:spcBef>
                <a:spcPct val="0"/>
              </a:spcBef>
              <a:buNone/>
              <a:defRPr sz="2000" b="0" i="0">
                <a:solidFill>
                  <a:srgbClr val="4D5566"/>
                </a:solidFill>
                <a:ea typeface="+mj-ea"/>
                <a:cs typeface="+mj-cs"/>
              </a:defRPr>
            </a:lvl1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Много текста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/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мало текста</a:t>
            </a:r>
          </a:p>
        </p:txBody>
      </p:sp>
      <p:sp>
        <p:nvSpPr>
          <p:cNvPr id="256" name="Заголовок 2">
            <a:extLst>
              <a:ext uri="{FF2B5EF4-FFF2-40B4-BE49-F238E27FC236}">
                <a16:creationId xmlns:a16="http://schemas.microsoft.com/office/drawing/2014/main" id="{DDF6A9C8-CAF8-29F0-4941-B823737C8C58}"/>
              </a:ext>
            </a:extLst>
          </p:cNvPr>
          <p:cNvSpPr txBox="1">
            <a:spLocks/>
          </p:cNvSpPr>
          <p:nvPr userDrawn="1"/>
        </p:nvSpPr>
        <p:spPr>
          <a:xfrm>
            <a:off x="3593516" y="3376236"/>
            <a:ext cx="6506448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1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«Оптимизация»</a:t>
            </a:r>
          </a:p>
          <a:p>
            <a:pPr lvl="1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Стратегия</a:t>
            </a:r>
          </a:p>
        </p:txBody>
      </p:sp>
      <p:sp>
        <p:nvSpPr>
          <p:cNvPr id="257" name="Заголовок 2">
            <a:extLst>
              <a:ext uri="{FF2B5EF4-FFF2-40B4-BE49-F238E27FC236}">
                <a16:creationId xmlns:a16="http://schemas.microsoft.com/office/drawing/2014/main" id="{1B54990D-30E2-E1F0-5ACA-22D100804B49}"/>
              </a:ext>
            </a:extLst>
          </p:cNvPr>
          <p:cNvSpPr txBox="1">
            <a:spLocks/>
          </p:cNvSpPr>
          <p:nvPr userDrawn="1"/>
        </p:nvSpPr>
        <p:spPr>
          <a:xfrm>
            <a:off x="3593516" y="5788055"/>
            <a:ext cx="6506448" cy="14157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3">
              <a:buClr>
                <a:schemeClr val="accent3"/>
              </a:buClr>
            </a:pPr>
            <a:r>
              <a:rPr lang="ru-RU" dirty="0"/>
              <a:t>«Оптимизация конверсий»</a:t>
            </a:r>
          </a:p>
          <a:p>
            <a:pPr lvl="3">
              <a:buClr>
                <a:schemeClr val="accent3"/>
              </a:buClr>
            </a:pPr>
            <a:r>
              <a:rPr lang="ru-RU" dirty="0"/>
              <a:t>Прозрачная стратегия</a:t>
            </a:r>
          </a:p>
        </p:txBody>
      </p:sp>
      <p:sp>
        <p:nvSpPr>
          <p:cNvPr id="258" name="Заголовок 2">
            <a:extLst>
              <a:ext uri="{FF2B5EF4-FFF2-40B4-BE49-F238E27FC236}">
                <a16:creationId xmlns:a16="http://schemas.microsoft.com/office/drawing/2014/main" id="{7E4E10A7-03E5-1E65-AF3D-28BB2973A58D}"/>
              </a:ext>
            </a:extLst>
          </p:cNvPr>
          <p:cNvSpPr txBox="1">
            <a:spLocks/>
          </p:cNvSpPr>
          <p:nvPr userDrawn="1"/>
        </p:nvSpPr>
        <p:spPr>
          <a:xfrm>
            <a:off x="3593515" y="8056700"/>
            <a:ext cx="6506455" cy="13320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5">
              <a:buClr>
                <a:schemeClr val="accent3"/>
              </a:buClr>
            </a:pPr>
            <a:r>
              <a:rPr lang="ru-RU" dirty="0"/>
              <a:t>«Оптимизация конверсий»</a:t>
            </a:r>
          </a:p>
          <a:p>
            <a:pPr lvl="5">
              <a:buClr>
                <a:schemeClr val="accent3"/>
              </a:buClr>
            </a:pPr>
            <a:r>
              <a:rPr lang="ru-RU" dirty="0"/>
              <a:t>Прозрачная стратегия</a:t>
            </a:r>
          </a:p>
        </p:txBody>
      </p:sp>
      <p:sp>
        <p:nvSpPr>
          <p:cNvPr id="259" name="Заголовок 2">
            <a:extLst>
              <a:ext uri="{FF2B5EF4-FFF2-40B4-BE49-F238E27FC236}">
                <a16:creationId xmlns:a16="http://schemas.microsoft.com/office/drawing/2014/main" id="{3660A7FD-65EE-1A16-6FF9-F8CEC86DEB41}"/>
              </a:ext>
            </a:extLst>
          </p:cNvPr>
          <p:cNvSpPr txBox="1">
            <a:spLocks/>
          </p:cNvSpPr>
          <p:nvPr userDrawn="1"/>
        </p:nvSpPr>
        <p:spPr>
          <a:xfrm>
            <a:off x="3593515" y="10354440"/>
            <a:ext cx="6506460" cy="11271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7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lvl="7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0" name="Заголовок 2">
            <a:extLst>
              <a:ext uri="{FF2B5EF4-FFF2-40B4-BE49-F238E27FC236}">
                <a16:creationId xmlns:a16="http://schemas.microsoft.com/office/drawing/2014/main" id="{6883F058-B54E-82A1-3B1C-2E2B891BA88A}"/>
              </a:ext>
            </a:extLst>
          </p:cNvPr>
          <p:cNvSpPr txBox="1">
            <a:spLocks/>
          </p:cNvSpPr>
          <p:nvPr userDrawn="1"/>
        </p:nvSpPr>
        <p:spPr>
          <a:xfrm>
            <a:off x="15076724" y="3487876"/>
            <a:ext cx="5217042" cy="11271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8"/>
            <a:r>
              <a:rPr lang="ru-RU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lvl="8"/>
            <a:r>
              <a:rPr lang="ru-RU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1" name="Заголовок 2">
            <a:extLst>
              <a:ext uri="{FF2B5EF4-FFF2-40B4-BE49-F238E27FC236}">
                <a16:creationId xmlns:a16="http://schemas.microsoft.com/office/drawing/2014/main" id="{82A0A050-FC28-AA5F-F670-560155818EDA}"/>
              </a:ext>
            </a:extLst>
          </p:cNvPr>
          <p:cNvSpPr txBox="1">
            <a:spLocks/>
          </p:cNvSpPr>
          <p:nvPr userDrawn="1"/>
        </p:nvSpPr>
        <p:spPr>
          <a:xfrm>
            <a:off x="15076724" y="5893345"/>
            <a:ext cx="5217042" cy="998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432000" lvl="8" indent="-432000">
              <a:lnSpc>
                <a:spcPct val="110000"/>
              </a:lnSpc>
              <a:spcAft>
                <a:spcPts val="1200"/>
              </a:spcAft>
            </a:pPr>
            <a:r>
              <a:rPr lang="ru-RU" sz="2400" dirty="0"/>
              <a:t>«Оптимизация конверсий»</a:t>
            </a:r>
          </a:p>
          <a:p>
            <a:pPr marL="432000" lvl="8" indent="-432000">
              <a:lnSpc>
                <a:spcPct val="110000"/>
              </a:lnSpc>
              <a:spcAft>
                <a:spcPts val="1200"/>
              </a:spcAft>
            </a:pPr>
            <a:r>
              <a:rPr lang="ru-RU" sz="2400" dirty="0"/>
              <a:t>Прозрачная стратегия</a:t>
            </a:r>
          </a:p>
        </p:txBody>
      </p:sp>
      <p:sp>
        <p:nvSpPr>
          <p:cNvPr id="262" name="Заголовок 2">
            <a:extLst>
              <a:ext uri="{FF2B5EF4-FFF2-40B4-BE49-F238E27FC236}">
                <a16:creationId xmlns:a16="http://schemas.microsoft.com/office/drawing/2014/main" id="{4EA3A135-DAC2-8FD7-B9EA-08D22C00492C}"/>
              </a:ext>
            </a:extLst>
          </p:cNvPr>
          <p:cNvSpPr txBox="1">
            <a:spLocks/>
          </p:cNvSpPr>
          <p:nvPr userDrawn="1"/>
        </p:nvSpPr>
        <p:spPr>
          <a:xfrm>
            <a:off x="15076724" y="10425212"/>
            <a:ext cx="521704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360000" lvl="8" indent="-360000">
              <a:lnSpc>
                <a:spcPct val="110000"/>
              </a:lnSpc>
              <a:spcAft>
                <a:spcPts val="1200"/>
              </a:spcAft>
            </a:pPr>
            <a:r>
              <a:rPr lang="ru-RU" sz="2000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marL="360000" lvl="8" indent="-360000">
              <a:lnSpc>
                <a:spcPct val="110000"/>
              </a:lnSpc>
              <a:spcAft>
                <a:spcPts val="1200"/>
              </a:spcAft>
            </a:pPr>
            <a:r>
              <a:rPr lang="ru-RU" sz="2000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3" name="Заголовок 2">
            <a:extLst>
              <a:ext uri="{FF2B5EF4-FFF2-40B4-BE49-F238E27FC236}">
                <a16:creationId xmlns:a16="http://schemas.microsoft.com/office/drawing/2014/main" id="{92AFDADB-000E-8B71-DB6E-5E3991DF639F}"/>
              </a:ext>
            </a:extLst>
          </p:cNvPr>
          <p:cNvSpPr txBox="1">
            <a:spLocks/>
          </p:cNvSpPr>
          <p:nvPr userDrawn="1"/>
        </p:nvSpPr>
        <p:spPr>
          <a:xfrm>
            <a:off x="15076724" y="8131952"/>
            <a:ext cx="5217042" cy="9664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324000" lvl="7" indent="-324000">
              <a:lnSpc>
                <a:spcPct val="110000"/>
              </a:lnSpc>
              <a:spcAft>
                <a:spcPts val="1200"/>
              </a:spcAft>
              <a:buClr>
                <a:schemeClr val="accent3"/>
              </a:buClr>
            </a:pPr>
            <a:r>
              <a:rPr lang="ru-RU" sz="2400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marL="324000" lvl="7" indent="-324000">
              <a:lnSpc>
                <a:spcPct val="110000"/>
              </a:lnSpc>
              <a:spcAft>
                <a:spcPts val="1200"/>
              </a:spcAft>
              <a:buClr>
                <a:schemeClr val="accent3"/>
              </a:buClr>
            </a:pPr>
            <a:r>
              <a:rPr lang="ru-RU" sz="2400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5" name="Заголовок 2">
            <a:extLst>
              <a:ext uri="{FF2B5EF4-FFF2-40B4-BE49-F238E27FC236}">
                <a16:creationId xmlns:a16="http://schemas.microsoft.com/office/drawing/2014/main" id="{74CC19D4-5901-E03A-62A9-BFACFF0DD8A7}"/>
              </a:ext>
            </a:extLst>
          </p:cNvPr>
          <p:cNvSpPr txBox="1">
            <a:spLocks/>
          </p:cNvSpPr>
          <p:nvPr userDrawn="1"/>
        </p:nvSpPr>
        <p:spPr>
          <a:xfrm>
            <a:off x="1440000" y="2663386"/>
            <a:ext cx="2085975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Размер / интерлиньяж</a:t>
            </a:r>
          </a:p>
        </p:txBody>
      </p:sp>
    </p:spTree>
    <p:extLst>
      <p:ext uri="{BB962C8B-B14F-4D97-AF65-F5344CB8AC3E}">
        <p14:creationId xmlns:p14="http://schemas.microsoft.com/office/powerpoint/2010/main" val="3398063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940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Расширенная палитра</a:t>
            </a:r>
            <a:endParaRPr lang="ru-RU" noProof="0" dirty="0"/>
          </a:p>
        </p:txBody>
      </p:sp>
      <p:sp>
        <p:nvSpPr>
          <p:cNvPr id="885" name="Полилиния 884">
            <a:extLst>
              <a:ext uri="{FF2B5EF4-FFF2-40B4-BE49-F238E27FC236}">
                <a16:creationId xmlns:a16="http://schemas.microsoft.com/office/drawing/2014/main" id="{80017DE5-81D9-1628-DEAD-6538CA14EA74}"/>
              </a:ext>
            </a:extLst>
          </p:cNvPr>
          <p:cNvSpPr/>
          <p:nvPr userDrawn="1"/>
        </p:nvSpPr>
        <p:spPr>
          <a:xfrm>
            <a:off x="12270615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2" y="622284"/>
                  <a:pt x="1049331" y="622284"/>
                </a:cubicBezTo>
                <a:lnTo>
                  <a:pt x="149397" y="622284"/>
                </a:lnTo>
                <a:cubicBezTo>
                  <a:pt x="6688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DC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886" name="Заголовок 2">
            <a:extLst>
              <a:ext uri="{FF2B5EF4-FFF2-40B4-BE49-F238E27FC236}">
                <a16:creationId xmlns:a16="http://schemas.microsoft.com/office/drawing/2014/main" id="{47CB1D73-D624-E2FA-0FB7-DB39B704B9D0}"/>
              </a:ext>
            </a:extLst>
          </p:cNvPr>
          <p:cNvSpPr txBox="1">
            <a:spLocks/>
          </p:cNvSpPr>
          <p:nvPr userDrawn="1"/>
        </p:nvSpPr>
        <p:spPr>
          <a:xfrm>
            <a:off x="1820645" y="2479168"/>
            <a:ext cx="514985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YS Text Regular"/>
              </a:rPr>
              <a:t>Цвет зашит в основную палитру</a:t>
            </a:r>
          </a:p>
        </p:txBody>
      </p:sp>
      <p:sp>
        <p:nvSpPr>
          <p:cNvPr id="887" name="Заголовок 2">
            <a:extLst>
              <a:ext uri="{FF2B5EF4-FFF2-40B4-BE49-F238E27FC236}">
                <a16:creationId xmlns:a16="http://schemas.microsoft.com/office/drawing/2014/main" id="{CC133307-FAF0-B1C8-0664-8918273F3818}"/>
              </a:ext>
            </a:extLst>
          </p:cNvPr>
          <p:cNvSpPr txBox="1">
            <a:spLocks/>
          </p:cNvSpPr>
          <p:nvPr userDrawn="1"/>
        </p:nvSpPr>
        <p:spPr>
          <a:xfrm>
            <a:off x="1820645" y="2922608"/>
            <a:ext cx="514985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YS Text Regular"/>
              </a:rPr>
              <a:t>Цвет зашит в дополнительную палитру</a:t>
            </a:r>
          </a:p>
        </p:txBody>
      </p:sp>
      <p:sp>
        <p:nvSpPr>
          <p:cNvPr id="906" name="Полилиния 905">
            <a:extLst>
              <a:ext uri="{FF2B5EF4-FFF2-40B4-BE49-F238E27FC236}">
                <a16:creationId xmlns:a16="http://schemas.microsoft.com/office/drawing/2014/main" id="{6B37646B-82C9-1566-CF16-7ECC3C1BB686}"/>
              </a:ext>
            </a:extLst>
          </p:cNvPr>
          <p:cNvSpPr/>
          <p:nvPr userDrawn="1"/>
        </p:nvSpPr>
        <p:spPr>
          <a:xfrm>
            <a:off x="4142452" y="3787620"/>
            <a:ext cx="2557159" cy="726227"/>
          </a:xfrm>
          <a:custGeom>
            <a:avLst/>
            <a:gdLst>
              <a:gd name="connsiteX0" fmla="*/ 1860 w 2191162"/>
              <a:gd name="connsiteY0" fmla="*/ 1022 h 622284"/>
              <a:gd name="connsiteX1" fmla="*/ 2193023 w 2191162"/>
              <a:gd name="connsiteY1" fmla="*/ 1022 h 622284"/>
              <a:gd name="connsiteX2" fmla="*/ 2193023 w 2191162"/>
              <a:gd name="connsiteY2" fmla="*/ 623306 h 622284"/>
              <a:gd name="connsiteX3" fmla="*/ 1860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022"/>
                </a:moveTo>
                <a:lnTo>
                  <a:pt x="2193023" y="1022"/>
                </a:lnTo>
                <a:lnTo>
                  <a:pt x="2193023" y="623306"/>
                </a:lnTo>
                <a:lnTo>
                  <a:pt x="1860" y="623306"/>
                </a:lnTo>
                <a:close/>
              </a:path>
            </a:pathLst>
          </a:custGeom>
          <a:solidFill>
            <a:srgbClr val="23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7" name="Полилиния 906">
            <a:extLst>
              <a:ext uri="{FF2B5EF4-FFF2-40B4-BE49-F238E27FC236}">
                <a16:creationId xmlns:a16="http://schemas.microsoft.com/office/drawing/2014/main" id="{781F7B3D-DB89-9873-35FF-8FF479849533}"/>
              </a:ext>
            </a:extLst>
          </p:cNvPr>
          <p:cNvSpPr/>
          <p:nvPr userDrawn="1"/>
        </p:nvSpPr>
        <p:spPr>
          <a:xfrm>
            <a:off x="4265660" y="4089368"/>
            <a:ext cx="676629" cy="128468"/>
          </a:xfrm>
          <a:custGeom>
            <a:avLst/>
            <a:gdLst>
              <a:gd name="connsiteX0" fmla="*/ 22099 w 579786"/>
              <a:gd name="connsiteY0" fmla="*/ 108588 h 110081"/>
              <a:gd name="connsiteX1" fmla="*/ 10147 w 579786"/>
              <a:gd name="connsiteY1" fmla="*/ 108588 h 110081"/>
              <a:gd name="connsiteX2" fmla="*/ 16434 w 579786"/>
              <a:gd name="connsiteY2" fmla="*/ 77661 h 110081"/>
              <a:gd name="connsiteX3" fmla="*/ 0 w 579786"/>
              <a:gd name="connsiteY3" fmla="*/ 77661 h 110081"/>
              <a:gd name="connsiteX4" fmla="*/ 0 w 579786"/>
              <a:gd name="connsiteY4" fmla="*/ 67206 h 110081"/>
              <a:gd name="connsiteX5" fmla="*/ 18675 w 579786"/>
              <a:gd name="connsiteY5" fmla="*/ 67206 h 110081"/>
              <a:gd name="connsiteX6" fmla="*/ 24215 w 579786"/>
              <a:gd name="connsiteY6" fmla="*/ 40012 h 110081"/>
              <a:gd name="connsiteX7" fmla="*/ 4046 w 579786"/>
              <a:gd name="connsiteY7" fmla="*/ 40012 h 110081"/>
              <a:gd name="connsiteX8" fmla="*/ 4046 w 579786"/>
              <a:gd name="connsiteY8" fmla="*/ 29559 h 110081"/>
              <a:gd name="connsiteX9" fmla="*/ 26270 w 579786"/>
              <a:gd name="connsiteY9" fmla="*/ 29559 h 110081"/>
              <a:gd name="connsiteX10" fmla="*/ 32121 w 579786"/>
              <a:gd name="connsiteY10" fmla="*/ 1493 h 110081"/>
              <a:gd name="connsiteX11" fmla="*/ 44073 w 579786"/>
              <a:gd name="connsiteY11" fmla="*/ 1493 h 110081"/>
              <a:gd name="connsiteX12" fmla="*/ 38221 w 579786"/>
              <a:gd name="connsiteY12" fmla="*/ 29559 h 110081"/>
              <a:gd name="connsiteX13" fmla="*/ 60630 w 579786"/>
              <a:gd name="connsiteY13" fmla="*/ 29559 h 110081"/>
              <a:gd name="connsiteX14" fmla="*/ 66482 w 579786"/>
              <a:gd name="connsiteY14" fmla="*/ 1493 h 110081"/>
              <a:gd name="connsiteX15" fmla="*/ 78434 w 579786"/>
              <a:gd name="connsiteY15" fmla="*/ 1493 h 110081"/>
              <a:gd name="connsiteX16" fmla="*/ 72582 w 579786"/>
              <a:gd name="connsiteY16" fmla="*/ 29559 h 110081"/>
              <a:gd name="connsiteX17" fmla="*/ 89328 w 579786"/>
              <a:gd name="connsiteY17" fmla="*/ 29559 h 110081"/>
              <a:gd name="connsiteX18" fmla="*/ 89328 w 579786"/>
              <a:gd name="connsiteY18" fmla="*/ 40012 h 110081"/>
              <a:gd name="connsiteX19" fmla="*/ 70529 w 579786"/>
              <a:gd name="connsiteY19" fmla="*/ 40012 h 110081"/>
              <a:gd name="connsiteX20" fmla="*/ 64988 w 579786"/>
              <a:gd name="connsiteY20" fmla="*/ 67206 h 110081"/>
              <a:gd name="connsiteX21" fmla="*/ 85282 w 579786"/>
              <a:gd name="connsiteY21" fmla="*/ 67206 h 110081"/>
              <a:gd name="connsiteX22" fmla="*/ 85282 w 579786"/>
              <a:gd name="connsiteY22" fmla="*/ 77661 h 110081"/>
              <a:gd name="connsiteX23" fmla="*/ 62747 w 579786"/>
              <a:gd name="connsiteY23" fmla="*/ 77661 h 110081"/>
              <a:gd name="connsiteX24" fmla="*/ 56460 w 579786"/>
              <a:gd name="connsiteY24" fmla="*/ 108588 h 110081"/>
              <a:gd name="connsiteX25" fmla="*/ 44508 w 579786"/>
              <a:gd name="connsiteY25" fmla="*/ 108588 h 110081"/>
              <a:gd name="connsiteX26" fmla="*/ 50795 w 579786"/>
              <a:gd name="connsiteY26" fmla="*/ 77661 h 110081"/>
              <a:gd name="connsiteX27" fmla="*/ 28386 w 579786"/>
              <a:gd name="connsiteY27" fmla="*/ 77661 h 110081"/>
              <a:gd name="connsiteX28" fmla="*/ 22099 w 579786"/>
              <a:gd name="connsiteY28" fmla="*/ 108588 h 110081"/>
              <a:gd name="connsiteX29" fmla="*/ 30627 w 579786"/>
              <a:gd name="connsiteY29" fmla="*/ 67206 h 110081"/>
              <a:gd name="connsiteX30" fmla="*/ 53036 w 579786"/>
              <a:gd name="connsiteY30" fmla="*/ 67206 h 110081"/>
              <a:gd name="connsiteX31" fmla="*/ 58576 w 579786"/>
              <a:gd name="connsiteY31" fmla="*/ 40012 h 110081"/>
              <a:gd name="connsiteX32" fmla="*/ 36167 w 579786"/>
              <a:gd name="connsiteY32" fmla="*/ 40012 h 110081"/>
              <a:gd name="connsiteX33" fmla="*/ 30627 w 579786"/>
              <a:gd name="connsiteY33" fmla="*/ 67206 h 110081"/>
              <a:gd name="connsiteX34" fmla="*/ 170874 w 579786"/>
              <a:gd name="connsiteY34" fmla="*/ 108588 h 110081"/>
              <a:gd name="connsiteX35" fmla="*/ 102586 w 579786"/>
              <a:gd name="connsiteY35" fmla="*/ 108588 h 110081"/>
              <a:gd name="connsiteX36" fmla="*/ 102586 w 579786"/>
              <a:gd name="connsiteY36" fmla="*/ 94400 h 110081"/>
              <a:gd name="connsiteX37" fmla="*/ 128731 w 579786"/>
              <a:gd name="connsiteY37" fmla="*/ 72433 h 110081"/>
              <a:gd name="connsiteX38" fmla="*/ 144729 w 579786"/>
              <a:gd name="connsiteY38" fmla="*/ 56628 h 110081"/>
              <a:gd name="connsiteX39" fmla="*/ 152821 w 579786"/>
              <a:gd name="connsiteY39" fmla="*/ 43933 h 110081"/>
              <a:gd name="connsiteX40" fmla="*/ 155187 w 579786"/>
              <a:gd name="connsiteY40" fmla="*/ 32109 h 110081"/>
              <a:gd name="connsiteX41" fmla="*/ 149647 w 579786"/>
              <a:gd name="connsiteY41" fmla="*/ 17610 h 110081"/>
              <a:gd name="connsiteX42" fmla="*/ 134396 w 579786"/>
              <a:gd name="connsiteY42" fmla="*/ 12383 h 110081"/>
              <a:gd name="connsiteX43" fmla="*/ 105450 w 579786"/>
              <a:gd name="connsiteY43" fmla="*/ 27194 h 110081"/>
              <a:gd name="connsiteX44" fmla="*/ 105450 w 579786"/>
              <a:gd name="connsiteY44" fmla="*/ 12134 h 110081"/>
              <a:gd name="connsiteX45" fmla="*/ 134894 w 579786"/>
              <a:gd name="connsiteY45" fmla="*/ 0 h 110081"/>
              <a:gd name="connsiteX46" fmla="*/ 160291 w 579786"/>
              <a:gd name="connsiteY46" fmla="*/ 8401 h 110081"/>
              <a:gd name="connsiteX47" fmla="*/ 169691 w 579786"/>
              <a:gd name="connsiteY47" fmla="*/ 30803 h 110081"/>
              <a:gd name="connsiteX48" fmla="*/ 167263 w 579786"/>
              <a:gd name="connsiteY48" fmla="*/ 44804 h 110081"/>
              <a:gd name="connsiteX49" fmla="*/ 159233 w 579786"/>
              <a:gd name="connsiteY49" fmla="*/ 58681 h 110081"/>
              <a:gd name="connsiteX50" fmla="*/ 143546 w 579786"/>
              <a:gd name="connsiteY50" fmla="*/ 74860 h 110081"/>
              <a:gd name="connsiteX51" fmla="*/ 118148 w 579786"/>
              <a:gd name="connsiteY51" fmla="*/ 95769 h 110081"/>
              <a:gd name="connsiteX52" fmla="*/ 170874 w 579786"/>
              <a:gd name="connsiteY52" fmla="*/ 95769 h 110081"/>
              <a:gd name="connsiteX53" fmla="*/ 170874 w 579786"/>
              <a:gd name="connsiteY53" fmla="*/ 108588 h 110081"/>
              <a:gd name="connsiteX54" fmla="*/ 202184 w 579786"/>
              <a:gd name="connsiteY54" fmla="*/ 58992 h 110081"/>
              <a:gd name="connsiteX55" fmla="*/ 202184 w 579786"/>
              <a:gd name="connsiteY55" fmla="*/ 46298 h 110081"/>
              <a:gd name="connsiteX56" fmla="*/ 216564 w 579786"/>
              <a:gd name="connsiteY56" fmla="*/ 46298 h 110081"/>
              <a:gd name="connsiteX57" fmla="*/ 230135 w 579786"/>
              <a:gd name="connsiteY57" fmla="*/ 41817 h 110081"/>
              <a:gd name="connsiteX58" fmla="*/ 235551 w 579786"/>
              <a:gd name="connsiteY58" fmla="*/ 28812 h 110081"/>
              <a:gd name="connsiteX59" fmla="*/ 230570 w 579786"/>
              <a:gd name="connsiteY59" fmla="*/ 16864 h 110081"/>
              <a:gd name="connsiteX60" fmla="*/ 216377 w 579786"/>
              <a:gd name="connsiteY60" fmla="*/ 12383 h 110081"/>
              <a:gd name="connsiteX61" fmla="*/ 201749 w 579786"/>
              <a:gd name="connsiteY61" fmla="*/ 15246 h 110081"/>
              <a:gd name="connsiteX62" fmla="*/ 187743 w 579786"/>
              <a:gd name="connsiteY62" fmla="*/ 24331 h 110081"/>
              <a:gd name="connsiteX63" fmla="*/ 187743 w 579786"/>
              <a:gd name="connsiteY63" fmla="*/ 9707 h 110081"/>
              <a:gd name="connsiteX64" fmla="*/ 216564 w 579786"/>
              <a:gd name="connsiteY64" fmla="*/ 0 h 110081"/>
              <a:gd name="connsiteX65" fmla="*/ 240592 w 579786"/>
              <a:gd name="connsiteY65" fmla="*/ 7779 h 110081"/>
              <a:gd name="connsiteX66" fmla="*/ 249432 w 579786"/>
              <a:gd name="connsiteY66" fmla="*/ 28065 h 110081"/>
              <a:gd name="connsiteX67" fmla="*/ 243767 w 579786"/>
              <a:gd name="connsiteY67" fmla="*/ 44244 h 110081"/>
              <a:gd name="connsiteX68" fmla="*/ 230446 w 579786"/>
              <a:gd name="connsiteY68" fmla="*/ 52147 h 110081"/>
              <a:gd name="connsiteX69" fmla="*/ 241962 w 579786"/>
              <a:gd name="connsiteY69" fmla="*/ 56441 h 110081"/>
              <a:gd name="connsiteX70" fmla="*/ 250614 w 579786"/>
              <a:gd name="connsiteY70" fmla="*/ 65153 h 110081"/>
              <a:gd name="connsiteX71" fmla="*/ 253914 w 579786"/>
              <a:gd name="connsiteY71" fmla="*/ 77661 h 110081"/>
              <a:gd name="connsiteX72" fmla="*/ 248996 w 579786"/>
              <a:gd name="connsiteY72" fmla="*/ 94836 h 110081"/>
              <a:gd name="connsiteX73" fmla="*/ 235364 w 579786"/>
              <a:gd name="connsiteY73" fmla="*/ 106224 h 110081"/>
              <a:gd name="connsiteX74" fmla="*/ 215506 w 579786"/>
              <a:gd name="connsiteY74" fmla="*/ 110082 h 110081"/>
              <a:gd name="connsiteX75" fmla="*/ 185004 w 579786"/>
              <a:gd name="connsiteY75" fmla="*/ 100997 h 110081"/>
              <a:gd name="connsiteX76" fmla="*/ 185004 w 579786"/>
              <a:gd name="connsiteY76" fmla="*/ 86062 h 110081"/>
              <a:gd name="connsiteX77" fmla="*/ 198761 w 579786"/>
              <a:gd name="connsiteY77" fmla="*/ 94711 h 110081"/>
              <a:gd name="connsiteX78" fmla="*/ 215630 w 579786"/>
              <a:gd name="connsiteY78" fmla="*/ 97823 h 110081"/>
              <a:gd name="connsiteX79" fmla="*/ 232998 w 579786"/>
              <a:gd name="connsiteY79" fmla="*/ 92596 h 110081"/>
              <a:gd name="connsiteX80" fmla="*/ 239410 w 579786"/>
              <a:gd name="connsiteY80" fmla="*/ 77972 h 110081"/>
              <a:gd name="connsiteX81" fmla="*/ 233558 w 579786"/>
              <a:gd name="connsiteY81" fmla="*/ 64095 h 110081"/>
              <a:gd name="connsiteX82" fmla="*/ 215942 w 579786"/>
              <a:gd name="connsiteY82" fmla="*/ 58992 h 110081"/>
              <a:gd name="connsiteX83" fmla="*/ 202184 w 579786"/>
              <a:gd name="connsiteY83" fmla="*/ 58992 h 110081"/>
              <a:gd name="connsiteX84" fmla="*/ 300912 w 579786"/>
              <a:gd name="connsiteY84" fmla="*/ 110082 h 110081"/>
              <a:gd name="connsiteX85" fmla="*/ 282735 w 579786"/>
              <a:gd name="connsiteY85" fmla="*/ 104233 h 110081"/>
              <a:gd name="connsiteX86" fmla="*/ 270036 w 579786"/>
              <a:gd name="connsiteY86" fmla="*/ 86311 h 110081"/>
              <a:gd name="connsiteX87" fmla="*/ 265554 w 579786"/>
              <a:gd name="connsiteY87" fmla="*/ 54947 h 110081"/>
              <a:gd name="connsiteX88" fmla="*/ 270036 w 579786"/>
              <a:gd name="connsiteY88" fmla="*/ 23584 h 110081"/>
              <a:gd name="connsiteX89" fmla="*/ 282735 w 579786"/>
              <a:gd name="connsiteY89" fmla="*/ 5849 h 110081"/>
              <a:gd name="connsiteX90" fmla="*/ 300912 w 579786"/>
              <a:gd name="connsiteY90" fmla="*/ 186 h 110081"/>
              <a:gd name="connsiteX91" fmla="*/ 319026 w 579786"/>
              <a:gd name="connsiteY91" fmla="*/ 5849 h 110081"/>
              <a:gd name="connsiteX92" fmla="*/ 331413 w 579786"/>
              <a:gd name="connsiteY92" fmla="*/ 23584 h 110081"/>
              <a:gd name="connsiteX93" fmla="*/ 335896 w 579786"/>
              <a:gd name="connsiteY93" fmla="*/ 54698 h 110081"/>
              <a:gd name="connsiteX94" fmla="*/ 331413 w 579786"/>
              <a:gd name="connsiteY94" fmla="*/ 86062 h 110081"/>
              <a:gd name="connsiteX95" fmla="*/ 319026 w 579786"/>
              <a:gd name="connsiteY95" fmla="*/ 104233 h 110081"/>
              <a:gd name="connsiteX96" fmla="*/ 300912 w 579786"/>
              <a:gd name="connsiteY96" fmla="*/ 110082 h 110081"/>
              <a:gd name="connsiteX97" fmla="*/ 300787 w 579786"/>
              <a:gd name="connsiteY97" fmla="*/ 98258 h 110081"/>
              <a:gd name="connsiteX98" fmla="*/ 312116 w 579786"/>
              <a:gd name="connsiteY98" fmla="*/ 94275 h 110081"/>
              <a:gd name="connsiteX99" fmla="*/ 319337 w 579786"/>
              <a:gd name="connsiteY99" fmla="*/ 80648 h 110081"/>
              <a:gd name="connsiteX100" fmla="*/ 321828 w 579786"/>
              <a:gd name="connsiteY100" fmla="*/ 55134 h 110081"/>
              <a:gd name="connsiteX101" fmla="*/ 319462 w 579786"/>
              <a:gd name="connsiteY101" fmla="*/ 29745 h 110081"/>
              <a:gd name="connsiteX102" fmla="*/ 312303 w 579786"/>
              <a:gd name="connsiteY102" fmla="*/ 16117 h 110081"/>
              <a:gd name="connsiteX103" fmla="*/ 300912 w 579786"/>
              <a:gd name="connsiteY103" fmla="*/ 11947 h 110081"/>
              <a:gd name="connsiteX104" fmla="*/ 289458 w 579786"/>
              <a:gd name="connsiteY104" fmla="*/ 16117 h 110081"/>
              <a:gd name="connsiteX105" fmla="*/ 282113 w 579786"/>
              <a:gd name="connsiteY105" fmla="*/ 29745 h 110081"/>
              <a:gd name="connsiteX106" fmla="*/ 279560 w 579786"/>
              <a:gd name="connsiteY106" fmla="*/ 55134 h 110081"/>
              <a:gd name="connsiteX107" fmla="*/ 281988 w 579786"/>
              <a:gd name="connsiteY107" fmla="*/ 80648 h 110081"/>
              <a:gd name="connsiteX108" fmla="*/ 289271 w 579786"/>
              <a:gd name="connsiteY108" fmla="*/ 94275 h 110081"/>
              <a:gd name="connsiteX109" fmla="*/ 300787 w 579786"/>
              <a:gd name="connsiteY109" fmla="*/ 98258 h 110081"/>
              <a:gd name="connsiteX110" fmla="*/ 383080 w 579786"/>
              <a:gd name="connsiteY110" fmla="*/ 110082 h 110081"/>
              <a:gd name="connsiteX111" fmla="*/ 364841 w 579786"/>
              <a:gd name="connsiteY111" fmla="*/ 104233 h 110081"/>
              <a:gd name="connsiteX112" fmla="*/ 352143 w 579786"/>
              <a:gd name="connsiteY112" fmla="*/ 86311 h 110081"/>
              <a:gd name="connsiteX113" fmla="*/ 347661 w 579786"/>
              <a:gd name="connsiteY113" fmla="*/ 54947 h 110081"/>
              <a:gd name="connsiteX114" fmla="*/ 352143 w 579786"/>
              <a:gd name="connsiteY114" fmla="*/ 23584 h 110081"/>
              <a:gd name="connsiteX115" fmla="*/ 364841 w 579786"/>
              <a:gd name="connsiteY115" fmla="*/ 5849 h 110081"/>
              <a:gd name="connsiteX116" fmla="*/ 383080 w 579786"/>
              <a:gd name="connsiteY116" fmla="*/ 186 h 110081"/>
              <a:gd name="connsiteX117" fmla="*/ 401133 w 579786"/>
              <a:gd name="connsiteY117" fmla="*/ 5849 h 110081"/>
              <a:gd name="connsiteX118" fmla="*/ 413582 w 579786"/>
              <a:gd name="connsiteY118" fmla="*/ 23584 h 110081"/>
              <a:gd name="connsiteX119" fmla="*/ 418064 w 579786"/>
              <a:gd name="connsiteY119" fmla="*/ 54698 h 110081"/>
              <a:gd name="connsiteX120" fmla="*/ 413582 w 579786"/>
              <a:gd name="connsiteY120" fmla="*/ 86062 h 110081"/>
              <a:gd name="connsiteX121" fmla="*/ 401133 w 579786"/>
              <a:gd name="connsiteY121" fmla="*/ 104233 h 110081"/>
              <a:gd name="connsiteX122" fmla="*/ 383080 w 579786"/>
              <a:gd name="connsiteY122" fmla="*/ 110082 h 110081"/>
              <a:gd name="connsiteX123" fmla="*/ 382956 w 579786"/>
              <a:gd name="connsiteY123" fmla="*/ 98258 h 110081"/>
              <a:gd name="connsiteX124" fmla="*/ 394285 w 579786"/>
              <a:gd name="connsiteY124" fmla="*/ 94275 h 110081"/>
              <a:gd name="connsiteX125" fmla="*/ 401443 w 579786"/>
              <a:gd name="connsiteY125" fmla="*/ 80648 h 110081"/>
              <a:gd name="connsiteX126" fmla="*/ 403996 w 579786"/>
              <a:gd name="connsiteY126" fmla="*/ 55134 h 110081"/>
              <a:gd name="connsiteX127" fmla="*/ 401630 w 579786"/>
              <a:gd name="connsiteY127" fmla="*/ 29745 h 110081"/>
              <a:gd name="connsiteX128" fmla="*/ 394409 w 579786"/>
              <a:gd name="connsiteY128" fmla="*/ 16117 h 110081"/>
              <a:gd name="connsiteX129" fmla="*/ 383080 w 579786"/>
              <a:gd name="connsiteY129" fmla="*/ 11947 h 110081"/>
              <a:gd name="connsiteX130" fmla="*/ 371564 w 579786"/>
              <a:gd name="connsiteY130" fmla="*/ 16117 h 110081"/>
              <a:gd name="connsiteX131" fmla="*/ 364281 w 579786"/>
              <a:gd name="connsiteY131" fmla="*/ 29745 h 110081"/>
              <a:gd name="connsiteX132" fmla="*/ 361729 w 579786"/>
              <a:gd name="connsiteY132" fmla="*/ 55134 h 110081"/>
              <a:gd name="connsiteX133" fmla="*/ 364094 w 579786"/>
              <a:gd name="connsiteY133" fmla="*/ 80648 h 110081"/>
              <a:gd name="connsiteX134" fmla="*/ 371440 w 579786"/>
              <a:gd name="connsiteY134" fmla="*/ 94275 h 110081"/>
              <a:gd name="connsiteX135" fmla="*/ 382956 w 579786"/>
              <a:gd name="connsiteY135" fmla="*/ 98258 h 110081"/>
              <a:gd name="connsiteX136" fmla="*/ 460269 w 579786"/>
              <a:gd name="connsiteY136" fmla="*/ 110082 h 110081"/>
              <a:gd name="connsiteX137" fmla="*/ 431759 w 579786"/>
              <a:gd name="connsiteY137" fmla="*/ 102490 h 110081"/>
              <a:gd name="connsiteX138" fmla="*/ 431759 w 579786"/>
              <a:gd name="connsiteY138" fmla="*/ 87804 h 110081"/>
              <a:gd name="connsiteX139" fmla="*/ 444894 w 579786"/>
              <a:gd name="connsiteY139" fmla="*/ 95458 h 110081"/>
              <a:gd name="connsiteX140" fmla="*/ 460269 w 579786"/>
              <a:gd name="connsiteY140" fmla="*/ 97823 h 110081"/>
              <a:gd name="connsiteX141" fmla="*/ 477325 w 579786"/>
              <a:gd name="connsiteY141" fmla="*/ 91102 h 110081"/>
              <a:gd name="connsiteX142" fmla="*/ 483426 w 579786"/>
              <a:gd name="connsiteY142" fmla="*/ 73491 h 110081"/>
              <a:gd name="connsiteX143" fmla="*/ 477450 w 579786"/>
              <a:gd name="connsiteY143" fmla="*/ 56441 h 110081"/>
              <a:gd name="connsiteX144" fmla="*/ 462385 w 579786"/>
              <a:gd name="connsiteY144" fmla="*/ 51089 h 110081"/>
              <a:gd name="connsiteX145" fmla="*/ 451741 w 579786"/>
              <a:gd name="connsiteY145" fmla="*/ 53329 h 110081"/>
              <a:gd name="connsiteX146" fmla="*/ 445641 w 579786"/>
              <a:gd name="connsiteY146" fmla="*/ 57810 h 110081"/>
              <a:gd name="connsiteX147" fmla="*/ 434747 w 579786"/>
              <a:gd name="connsiteY147" fmla="*/ 57810 h 110081"/>
              <a:gd name="connsiteX148" fmla="*/ 434747 w 579786"/>
              <a:gd name="connsiteY148" fmla="*/ 1493 h 110081"/>
              <a:gd name="connsiteX149" fmla="*/ 492701 w 579786"/>
              <a:gd name="connsiteY149" fmla="*/ 1493 h 110081"/>
              <a:gd name="connsiteX150" fmla="*/ 492701 w 579786"/>
              <a:gd name="connsiteY150" fmla="*/ 14374 h 110081"/>
              <a:gd name="connsiteX151" fmla="*/ 447010 w 579786"/>
              <a:gd name="connsiteY151" fmla="*/ 14374 h 110081"/>
              <a:gd name="connsiteX152" fmla="*/ 447010 w 579786"/>
              <a:gd name="connsiteY152" fmla="*/ 44991 h 110081"/>
              <a:gd name="connsiteX153" fmla="*/ 454293 w 579786"/>
              <a:gd name="connsiteY153" fmla="*/ 41071 h 110081"/>
              <a:gd name="connsiteX154" fmla="*/ 464626 w 579786"/>
              <a:gd name="connsiteY154" fmla="*/ 39266 h 110081"/>
              <a:gd name="connsiteX155" fmla="*/ 481372 w 579786"/>
              <a:gd name="connsiteY155" fmla="*/ 43186 h 110081"/>
              <a:gd name="connsiteX156" fmla="*/ 493137 w 579786"/>
              <a:gd name="connsiteY156" fmla="*/ 54512 h 110081"/>
              <a:gd name="connsiteX157" fmla="*/ 497619 w 579786"/>
              <a:gd name="connsiteY157" fmla="*/ 73181 h 110081"/>
              <a:gd name="connsiteX158" fmla="*/ 493012 w 579786"/>
              <a:gd name="connsiteY158" fmla="*/ 92596 h 110081"/>
              <a:gd name="connsiteX159" fmla="*/ 480126 w 579786"/>
              <a:gd name="connsiteY159" fmla="*/ 105601 h 110081"/>
              <a:gd name="connsiteX160" fmla="*/ 460269 w 579786"/>
              <a:gd name="connsiteY160" fmla="*/ 110082 h 110081"/>
              <a:gd name="connsiteX161" fmla="*/ 542437 w 579786"/>
              <a:gd name="connsiteY161" fmla="*/ 110082 h 110081"/>
              <a:gd name="connsiteX162" fmla="*/ 513865 w 579786"/>
              <a:gd name="connsiteY162" fmla="*/ 102490 h 110081"/>
              <a:gd name="connsiteX163" fmla="*/ 513865 w 579786"/>
              <a:gd name="connsiteY163" fmla="*/ 87804 h 110081"/>
              <a:gd name="connsiteX164" fmla="*/ 527062 w 579786"/>
              <a:gd name="connsiteY164" fmla="*/ 95458 h 110081"/>
              <a:gd name="connsiteX165" fmla="*/ 542437 w 579786"/>
              <a:gd name="connsiteY165" fmla="*/ 97823 h 110081"/>
              <a:gd name="connsiteX166" fmla="*/ 559431 w 579786"/>
              <a:gd name="connsiteY166" fmla="*/ 91102 h 110081"/>
              <a:gd name="connsiteX167" fmla="*/ 565594 w 579786"/>
              <a:gd name="connsiteY167" fmla="*/ 73491 h 110081"/>
              <a:gd name="connsiteX168" fmla="*/ 559618 w 579786"/>
              <a:gd name="connsiteY168" fmla="*/ 56441 h 110081"/>
              <a:gd name="connsiteX169" fmla="*/ 544492 w 579786"/>
              <a:gd name="connsiteY169" fmla="*/ 51089 h 110081"/>
              <a:gd name="connsiteX170" fmla="*/ 533909 w 579786"/>
              <a:gd name="connsiteY170" fmla="*/ 53329 h 110081"/>
              <a:gd name="connsiteX171" fmla="*/ 527809 w 579786"/>
              <a:gd name="connsiteY171" fmla="*/ 57810 h 110081"/>
              <a:gd name="connsiteX172" fmla="*/ 516853 w 579786"/>
              <a:gd name="connsiteY172" fmla="*/ 57810 h 110081"/>
              <a:gd name="connsiteX173" fmla="*/ 516853 w 579786"/>
              <a:gd name="connsiteY173" fmla="*/ 1493 h 110081"/>
              <a:gd name="connsiteX174" fmla="*/ 574870 w 579786"/>
              <a:gd name="connsiteY174" fmla="*/ 1493 h 110081"/>
              <a:gd name="connsiteX175" fmla="*/ 574870 w 579786"/>
              <a:gd name="connsiteY175" fmla="*/ 14374 h 110081"/>
              <a:gd name="connsiteX176" fmla="*/ 529116 w 579786"/>
              <a:gd name="connsiteY176" fmla="*/ 14374 h 110081"/>
              <a:gd name="connsiteX177" fmla="*/ 529116 w 579786"/>
              <a:gd name="connsiteY177" fmla="*/ 44991 h 110081"/>
              <a:gd name="connsiteX178" fmla="*/ 536462 w 579786"/>
              <a:gd name="connsiteY178" fmla="*/ 41071 h 110081"/>
              <a:gd name="connsiteX179" fmla="*/ 546733 w 579786"/>
              <a:gd name="connsiteY179" fmla="*/ 39266 h 110081"/>
              <a:gd name="connsiteX180" fmla="*/ 563478 w 579786"/>
              <a:gd name="connsiteY180" fmla="*/ 43186 h 110081"/>
              <a:gd name="connsiteX181" fmla="*/ 575305 w 579786"/>
              <a:gd name="connsiteY181" fmla="*/ 54512 h 110081"/>
              <a:gd name="connsiteX182" fmla="*/ 579787 w 579786"/>
              <a:gd name="connsiteY182" fmla="*/ 73181 h 110081"/>
              <a:gd name="connsiteX183" fmla="*/ 575118 w 579786"/>
              <a:gd name="connsiteY183" fmla="*/ 92596 h 110081"/>
              <a:gd name="connsiteX184" fmla="*/ 562295 w 579786"/>
              <a:gd name="connsiteY184" fmla="*/ 105601 h 110081"/>
              <a:gd name="connsiteX185" fmla="*/ 542437 w 579786"/>
              <a:gd name="connsiteY18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7978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08588"/>
                </a:moveTo>
                <a:lnTo>
                  <a:pt x="102586" y="108588"/>
                </a:lnTo>
                <a:lnTo>
                  <a:pt x="102586" y="94400"/>
                </a:lnTo>
                <a:cubicBezTo>
                  <a:pt x="113231" y="85812"/>
                  <a:pt x="121946" y="78532"/>
                  <a:pt x="128731" y="72433"/>
                </a:cubicBezTo>
                <a:cubicBezTo>
                  <a:pt x="135641" y="66397"/>
                  <a:pt x="140932" y="61108"/>
                  <a:pt x="144729" y="56628"/>
                </a:cubicBezTo>
                <a:cubicBezTo>
                  <a:pt x="148588" y="52023"/>
                  <a:pt x="151328" y="47791"/>
                  <a:pt x="152821" y="43933"/>
                </a:cubicBezTo>
                <a:cubicBezTo>
                  <a:pt x="154378" y="40012"/>
                  <a:pt x="155187" y="36092"/>
                  <a:pt x="155187" y="32109"/>
                </a:cubicBezTo>
                <a:cubicBezTo>
                  <a:pt x="155187" y="25949"/>
                  <a:pt x="153319" y="21095"/>
                  <a:pt x="149647" y="17610"/>
                </a:cubicBezTo>
                <a:cubicBezTo>
                  <a:pt x="145974" y="14125"/>
                  <a:pt x="140869" y="12383"/>
                  <a:pt x="134396" y="12383"/>
                </a:cubicBezTo>
                <a:cubicBezTo>
                  <a:pt x="124062" y="12383"/>
                  <a:pt x="114414" y="17361"/>
                  <a:pt x="105450" y="27194"/>
                </a:cubicBezTo>
                <a:lnTo>
                  <a:pt x="105450" y="12134"/>
                </a:lnTo>
                <a:cubicBezTo>
                  <a:pt x="113729" y="4044"/>
                  <a:pt x="123502" y="0"/>
                  <a:pt x="134894" y="0"/>
                </a:cubicBezTo>
                <a:cubicBezTo>
                  <a:pt x="145600" y="0"/>
                  <a:pt x="154066" y="2800"/>
                  <a:pt x="160291" y="8401"/>
                </a:cubicBezTo>
                <a:cubicBezTo>
                  <a:pt x="166516" y="13877"/>
                  <a:pt x="169691" y="21344"/>
                  <a:pt x="169691" y="30803"/>
                </a:cubicBezTo>
                <a:cubicBezTo>
                  <a:pt x="169691" y="35657"/>
                  <a:pt x="168881" y="40324"/>
                  <a:pt x="167263" y="44804"/>
                </a:cubicBezTo>
                <a:cubicBezTo>
                  <a:pt x="165769" y="49222"/>
                  <a:pt x="163093" y="53827"/>
                  <a:pt x="159233" y="58681"/>
                </a:cubicBezTo>
                <a:cubicBezTo>
                  <a:pt x="155436" y="63473"/>
                  <a:pt x="150207" y="68887"/>
                  <a:pt x="143546" y="74860"/>
                </a:cubicBezTo>
                <a:cubicBezTo>
                  <a:pt x="136885" y="80835"/>
                  <a:pt x="128420" y="87804"/>
                  <a:pt x="118148" y="95769"/>
                </a:cubicBezTo>
                <a:lnTo>
                  <a:pt x="170874" y="95769"/>
                </a:lnTo>
                <a:lnTo>
                  <a:pt x="170874" y="108588"/>
                </a:lnTo>
                <a:close/>
                <a:moveTo>
                  <a:pt x="202184" y="58992"/>
                </a:moveTo>
                <a:lnTo>
                  <a:pt x="202184" y="46298"/>
                </a:lnTo>
                <a:lnTo>
                  <a:pt x="216564" y="46298"/>
                </a:lnTo>
                <a:cubicBezTo>
                  <a:pt x="222105" y="46298"/>
                  <a:pt x="226649" y="44804"/>
                  <a:pt x="230135" y="41817"/>
                </a:cubicBezTo>
                <a:cubicBezTo>
                  <a:pt x="233745" y="38768"/>
                  <a:pt x="235551" y="34412"/>
                  <a:pt x="235551" y="28812"/>
                </a:cubicBezTo>
                <a:cubicBezTo>
                  <a:pt x="235551" y="23771"/>
                  <a:pt x="233870" y="19788"/>
                  <a:pt x="230570" y="16864"/>
                </a:cubicBezTo>
                <a:cubicBezTo>
                  <a:pt x="227333" y="13877"/>
                  <a:pt x="222602" y="12383"/>
                  <a:pt x="216377" y="12383"/>
                </a:cubicBezTo>
                <a:cubicBezTo>
                  <a:pt x="211211" y="12383"/>
                  <a:pt x="206355" y="13379"/>
                  <a:pt x="201749" y="15246"/>
                </a:cubicBezTo>
                <a:cubicBezTo>
                  <a:pt x="197267" y="17113"/>
                  <a:pt x="192599" y="20162"/>
                  <a:pt x="187743" y="24331"/>
                </a:cubicBezTo>
                <a:lnTo>
                  <a:pt x="187743" y="9707"/>
                </a:lnTo>
                <a:cubicBezTo>
                  <a:pt x="195711" y="3235"/>
                  <a:pt x="205297" y="0"/>
                  <a:pt x="216564" y="0"/>
                </a:cubicBezTo>
                <a:cubicBezTo>
                  <a:pt x="226836" y="0"/>
                  <a:pt x="234804" y="2613"/>
                  <a:pt x="240592" y="7779"/>
                </a:cubicBezTo>
                <a:cubicBezTo>
                  <a:pt x="246506" y="12943"/>
                  <a:pt x="249432" y="19726"/>
                  <a:pt x="249432" y="28065"/>
                </a:cubicBezTo>
                <a:cubicBezTo>
                  <a:pt x="249432" y="34848"/>
                  <a:pt x="247502" y="40262"/>
                  <a:pt x="243767" y="44244"/>
                </a:cubicBezTo>
                <a:cubicBezTo>
                  <a:pt x="240032" y="48227"/>
                  <a:pt x="235613" y="50840"/>
                  <a:pt x="230446" y="52147"/>
                </a:cubicBezTo>
                <a:cubicBezTo>
                  <a:pt x="234617" y="52707"/>
                  <a:pt x="238476" y="54201"/>
                  <a:pt x="241962" y="56441"/>
                </a:cubicBezTo>
                <a:cubicBezTo>
                  <a:pt x="245510" y="58681"/>
                  <a:pt x="248436" y="61543"/>
                  <a:pt x="250614" y="65153"/>
                </a:cubicBezTo>
                <a:cubicBezTo>
                  <a:pt x="252793" y="68700"/>
                  <a:pt x="253914" y="72869"/>
                  <a:pt x="253914" y="77661"/>
                </a:cubicBezTo>
                <a:cubicBezTo>
                  <a:pt x="253914" y="84257"/>
                  <a:pt x="252233" y="89982"/>
                  <a:pt x="248996" y="94836"/>
                </a:cubicBezTo>
                <a:cubicBezTo>
                  <a:pt x="245697" y="99752"/>
                  <a:pt x="241152" y="103486"/>
                  <a:pt x="235364" y="106224"/>
                </a:cubicBezTo>
                <a:cubicBezTo>
                  <a:pt x="229699" y="108775"/>
                  <a:pt x="223101" y="110082"/>
                  <a:pt x="215506" y="110082"/>
                </a:cubicBezTo>
                <a:cubicBezTo>
                  <a:pt x="202371" y="110082"/>
                  <a:pt x="192225" y="107033"/>
                  <a:pt x="185004" y="100997"/>
                </a:cubicBezTo>
                <a:lnTo>
                  <a:pt x="185004" y="86062"/>
                </a:lnTo>
                <a:cubicBezTo>
                  <a:pt x="188802" y="89733"/>
                  <a:pt x="193408" y="92596"/>
                  <a:pt x="198761" y="94711"/>
                </a:cubicBezTo>
                <a:cubicBezTo>
                  <a:pt x="204177" y="96765"/>
                  <a:pt x="209779" y="97823"/>
                  <a:pt x="215630" y="97823"/>
                </a:cubicBezTo>
                <a:cubicBezTo>
                  <a:pt x="223038" y="97823"/>
                  <a:pt x="228827" y="96080"/>
                  <a:pt x="232998" y="92596"/>
                </a:cubicBezTo>
                <a:cubicBezTo>
                  <a:pt x="237293" y="89048"/>
                  <a:pt x="239410" y="84132"/>
                  <a:pt x="239410" y="77972"/>
                </a:cubicBezTo>
                <a:cubicBezTo>
                  <a:pt x="239410" y="71998"/>
                  <a:pt x="237480" y="67393"/>
                  <a:pt x="233558" y="64095"/>
                </a:cubicBezTo>
                <a:cubicBezTo>
                  <a:pt x="229823" y="60673"/>
                  <a:pt x="223910" y="58992"/>
                  <a:pt x="215942" y="58992"/>
                </a:cubicBezTo>
                <a:lnTo>
                  <a:pt x="202184" y="58992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460269" y="110082"/>
                </a:moveTo>
                <a:cubicBezTo>
                  <a:pt x="448317" y="110082"/>
                  <a:pt x="438793" y="107530"/>
                  <a:pt x="431759" y="102490"/>
                </a:cubicBezTo>
                <a:lnTo>
                  <a:pt x="431759" y="87804"/>
                </a:lnTo>
                <a:cubicBezTo>
                  <a:pt x="435930" y="91226"/>
                  <a:pt x="440287" y="93778"/>
                  <a:pt x="444894" y="95458"/>
                </a:cubicBezTo>
                <a:cubicBezTo>
                  <a:pt x="449500" y="97014"/>
                  <a:pt x="454604" y="97823"/>
                  <a:pt x="460269" y="97823"/>
                </a:cubicBezTo>
                <a:cubicBezTo>
                  <a:pt x="467676" y="97823"/>
                  <a:pt x="473341" y="95583"/>
                  <a:pt x="477325" y="91102"/>
                </a:cubicBezTo>
                <a:cubicBezTo>
                  <a:pt x="481372" y="86621"/>
                  <a:pt x="483426" y="80772"/>
                  <a:pt x="483426" y="73491"/>
                </a:cubicBezTo>
                <a:cubicBezTo>
                  <a:pt x="483426" y="65713"/>
                  <a:pt x="481434" y="60050"/>
                  <a:pt x="477450" y="56441"/>
                </a:cubicBezTo>
                <a:cubicBezTo>
                  <a:pt x="473466" y="52894"/>
                  <a:pt x="468423" y="51089"/>
                  <a:pt x="462385" y="51089"/>
                </a:cubicBezTo>
                <a:cubicBezTo>
                  <a:pt x="457966" y="51089"/>
                  <a:pt x="454480" y="51836"/>
                  <a:pt x="451741" y="53329"/>
                </a:cubicBezTo>
                <a:cubicBezTo>
                  <a:pt x="449064" y="54698"/>
                  <a:pt x="447010" y="56192"/>
                  <a:pt x="445641" y="57810"/>
                </a:cubicBezTo>
                <a:lnTo>
                  <a:pt x="434747" y="57810"/>
                </a:lnTo>
                <a:lnTo>
                  <a:pt x="434747" y="1493"/>
                </a:lnTo>
                <a:lnTo>
                  <a:pt x="492701" y="1493"/>
                </a:lnTo>
                <a:lnTo>
                  <a:pt x="492701" y="14374"/>
                </a:lnTo>
                <a:lnTo>
                  <a:pt x="447010" y="14374"/>
                </a:lnTo>
                <a:lnTo>
                  <a:pt x="447010" y="44991"/>
                </a:lnTo>
                <a:cubicBezTo>
                  <a:pt x="449002" y="43498"/>
                  <a:pt x="451430" y="42190"/>
                  <a:pt x="454293" y="41071"/>
                </a:cubicBezTo>
                <a:cubicBezTo>
                  <a:pt x="457219" y="39888"/>
                  <a:pt x="460642" y="39266"/>
                  <a:pt x="464626" y="39266"/>
                </a:cubicBezTo>
                <a:cubicBezTo>
                  <a:pt x="470789" y="39266"/>
                  <a:pt x="476391" y="40572"/>
                  <a:pt x="481372" y="43186"/>
                </a:cubicBezTo>
                <a:cubicBezTo>
                  <a:pt x="486351" y="45675"/>
                  <a:pt x="490273" y="49471"/>
                  <a:pt x="493137" y="54512"/>
                </a:cubicBezTo>
                <a:cubicBezTo>
                  <a:pt x="496125" y="59490"/>
                  <a:pt x="497619" y="65713"/>
                  <a:pt x="497619" y="73181"/>
                </a:cubicBezTo>
                <a:cubicBezTo>
                  <a:pt x="497619" y="80586"/>
                  <a:pt x="496062" y="87058"/>
                  <a:pt x="493012" y="92596"/>
                </a:cubicBezTo>
                <a:cubicBezTo>
                  <a:pt x="490024" y="98196"/>
                  <a:pt x="485729" y="102490"/>
                  <a:pt x="480126" y="105601"/>
                </a:cubicBezTo>
                <a:cubicBezTo>
                  <a:pt x="474586" y="108588"/>
                  <a:pt x="467926" y="110082"/>
                  <a:pt x="460269" y="110082"/>
                </a:cubicBezTo>
                <a:close/>
                <a:moveTo>
                  <a:pt x="542437" y="110082"/>
                </a:moveTo>
                <a:cubicBezTo>
                  <a:pt x="530486" y="110082"/>
                  <a:pt x="520962" y="107530"/>
                  <a:pt x="513865" y="102490"/>
                </a:cubicBezTo>
                <a:lnTo>
                  <a:pt x="513865" y="87804"/>
                </a:lnTo>
                <a:cubicBezTo>
                  <a:pt x="518098" y="91226"/>
                  <a:pt x="522456" y="93778"/>
                  <a:pt x="527062" y="95458"/>
                </a:cubicBezTo>
                <a:cubicBezTo>
                  <a:pt x="531606" y="97014"/>
                  <a:pt x="536773" y="97823"/>
                  <a:pt x="542437" y="97823"/>
                </a:cubicBezTo>
                <a:cubicBezTo>
                  <a:pt x="549783" y="97823"/>
                  <a:pt x="555447" y="95583"/>
                  <a:pt x="559431" y="91102"/>
                </a:cubicBezTo>
                <a:cubicBezTo>
                  <a:pt x="563540" y="86621"/>
                  <a:pt x="565594" y="80772"/>
                  <a:pt x="565594" y="73491"/>
                </a:cubicBezTo>
                <a:cubicBezTo>
                  <a:pt x="565594" y="65713"/>
                  <a:pt x="563602" y="60050"/>
                  <a:pt x="559618" y="56441"/>
                </a:cubicBezTo>
                <a:cubicBezTo>
                  <a:pt x="555634" y="52894"/>
                  <a:pt x="550592" y="51089"/>
                  <a:pt x="544492" y="51089"/>
                </a:cubicBezTo>
                <a:cubicBezTo>
                  <a:pt x="540134" y="51089"/>
                  <a:pt x="536586" y="51836"/>
                  <a:pt x="533909" y="53329"/>
                </a:cubicBezTo>
                <a:cubicBezTo>
                  <a:pt x="531233" y="54698"/>
                  <a:pt x="529178" y="56192"/>
                  <a:pt x="527809" y="57810"/>
                </a:cubicBezTo>
                <a:lnTo>
                  <a:pt x="516853" y="57810"/>
                </a:lnTo>
                <a:lnTo>
                  <a:pt x="516853" y="1493"/>
                </a:lnTo>
                <a:lnTo>
                  <a:pt x="574870" y="1493"/>
                </a:lnTo>
                <a:lnTo>
                  <a:pt x="574870" y="14374"/>
                </a:lnTo>
                <a:lnTo>
                  <a:pt x="529116" y="14374"/>
                </a:lnTo>
                <a:lnTo>
                  <a:pt x="529116" y="44991"/>
                </a:lnTo>
                <a:cubicBezTo>
                  <a:pt x="531108" y="43498"/>
                  <a:pt x="533536" y="42190"/>
                  <a:pt x="536462" y="41071"/>
                </a:cubicBezTo>
                <a:cubicBezTo>
                  <a:pt x="539325" y="39888"/>
                  <a:pt x="542749" y="39266"/>
                  <a:pt x="546733" y="39266"/>
                </a:cubicBezTo>
                <a:cubicBezTo>
                  <a:pt x="552958" y="39266"/>
                  <a:pt x="558498" y="40572"/>
                  <a:pt x="563478" y="43186"/>
                </a:cubicBezTo>
                <a:cubicBezTo>
                  <a:pt x="568458" y="45675"/>
                  <a:pt x="572380" y="49471"/>
                  <a:pt x="575305" y="54512"/>
                </a:cubicBezTo>
                <a:cubicBezTo>
                  <a:pt x="578293" y="59490"/>
                  <a:pt x="579787" y="65713"/>
                  <a:pt x="579787" y="73181"/>
                </a:cubicBezTo>
                <a:cubicBezTo>
                  <a:pt x="579787" y="80586"/>
                  <a:pt x="578231" y="87058"/>
                  <a:pt x="575118" y="92596"/>
                </a:cubicBezTo>
                <a:cubicBezTo>
                  <a:pt x="572130" y="98196"/>
                  <a:pt x="567897" y="102490"/>
                  <a:pt x="562295" y="105601"/>
                </a:cubicBezTo>
                <a:cubicBezTo>
                  <a:pt x="556693" y="108588"/>
                  <a:pt x="550094" y="110082"/>
                  <a:pt x="542437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8" name="Полилиния 907">
            <a:extLst>
              <a:ext uri="{FF2B5EF4-FFF2-40B4-BE49-F238E27FC236}">
                <a16:creationId xmlns:a16="http://schemas.microsoft.com/office/drawing/2014/main" id="{3AC7DCA0-EE38-8219-852F-06F214FCB6B9}"/>
              </a:ext>
            </a:extLst>
          </p:cNvPr>
          <p:cNvSpPr/>
          <p:nvPr userDrawn="1"/>
        </p:nvSpPr>
        <p:spPr>
          <a:xfrm>
            <a:off x="4142452" y="4513847"/>
            <a:ext cx="2557159" cy="726227"/>
          </a:xfrm>
          <a:custGeom>
            <a:avLst/>
            <a:gdLst>
              <a:gd name="connsiteX0" fmla="*/ 1860 w 2191162"/>
              <a:gd name="connsiteY0" fmla="*/ 1122 h 622284"/>
              <a:gd name="connsiteX1" fmla="*/ 2193023 w 2191162"/>
              <a:gd name="connsiteY1" fmla="*/ 1122 h 622284"/>
              <a:gd name="connsiteX2" fmla="*/ 2193023 w 2191162"/>
              <a:gd name="connsiteY2" fmla="*/ 623406 h 622284"/>
              <a:gd name="connsiteX3" fmla="*/ 1860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122"/>
                </a:moveTo>
                <a:lnTo>
                  <a:pt x="2193023" y="1122"/>
                </a:lnTo>
                <a:lnTo>
                  <a:pt x="2193023" y="623406"/>
                </a:lnTo>
                <a:lnTo>
                  <a:pt x="1860" y="623406"/>
                </a:lnTo>
                <a:close/>
              </a:path>
            </a:pathLst>
          </a:custGeom>
          <a:solidFill>
            <a:srgbClr val="3200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9" name="Полилиния 908">
            <a:extLst>
              <a:ext uri="{FF2B5EF4-FFF2-40B4-BE49-F238E27FC236}">
                <a16:creationId xmlns:a16="http://schemas.microsoft.com/office/drawing/2014/main" id="{A9DE9977-2F01-2FC3-EE26-5257A5B4A763}"/>
              </a:ext>
            </a:extLst>
          </p:cNvPr>
          <p:cNvSpPr/>
          <p:nvPr userDrawn="1"/>
        </p:nvSpPr>
        <p:spPr>
          <a:xfrm>
            <a:off x="4265660" y="4815595"/>
            <a:ext cx="678738" cy="128468"/>
          </a:xfrm>
          <a:custGeom>
            <a:avLst/>
            <a:gdLst>
              <a:gd name="connsiteX0" fmla="*/ 22099 w 581592"/>
              <a:gd name="connsiteY0" fmla="*/ 108588 h 110081"/>
              <a:gd name="connsiteX1" fmla="*/ 10147 w 581592"/>
              <a:gd name="connsiteY1" fmla="*/ 108588 h 110081"/>
              <a:gd name="connsiteX2" fmla="*/ 16434 w 581592"/>
              <a:gd name="connsiteY2" fmla="*/ 77661 h 110081"/>
              <a:gd name="connsiteX3" fmla="*/ 0 w 581592"/>
              <a:gd name="connsiteY3" fmla="*/ 77661 h 110081"/>
              <a:gd name="connsiteX4" fmla="*/ 0 w 581592"/>
              <a:gd name="connsiteY4" fmla="*/ 67206 h 110081"/>
              <a:gd name="connsiteX5" fmla="*/ 18675 w 581592"/>
              <a:gd name="connsiteY5" fmla="*/ 67206 h 110081"/>
              <a:gd name="connsiteX6" fmla="*/ 24215 w 581592"/>
              <a:gd name="connsiteY6" fmla="*/ 40012 h 110081"/>
              <a:gd name="connsiteX7" fmla="*/ 4046 w 581592"/>
              <a:gd name="connsiteY7" fmla="*/ 40012 h 110081"/>
              <a:gd name="connsiteX8" fmla="*/ 4046 w 581592"/>
              <a:gd name="connsiteY8" fmla="*/ 29559 h 110081"/>
              <a:gd name="connsiteX9" fmla="*/ 26270 w 581592"/>
              <a:gd name="connsiteY9" fmla="*/ 29559 h 110081"/>
              <a:gd name="connsiteX10" fmla="*/ 32121 w 581592"/>
              <a:gd name="connsiteY10" fmla="*/ 1493 h 110081"/>
              <a:gd name="connsiteX11" fmla="*/ 44073 w 581592"/>
              <a:gd name="connsiteY11" fmla="*/ 1493 h 110081"/>
              <a:gd name="connsiteX12" fmla="*/ 38221 w 581592"/>
              <a:gd name="connsiteY12" fmla="*/ 29559 h 110081"/>
              <a:gd name="connsiteX13" fmla="*/ 60630 w 581592"/>
              <a:gd name="connsiteY13" fmla="*/ 29559 h 110081"/>
              <a:gd name="connsiteX14" fmla="*/ 66482 w 581592"/>
              <a:gd name="connsiteY14" fmla="*/ 1493 h 110081"/>
              <a:gd name="connsiteX15" fmla="*/ 78434 w 581592"/>
              <a:gd name="connsiteY15" fmla="*/ 1493 h 110081"/>
              <a:gd name="connsiteX16" fmla="*/ 72582 w 581592"/>
              <a:gd name="connsiteY16" fmla="*/ 29559 h 110081"/>
              <a:gd name="connsiteX17" fmla="*/ 89328 w 581592"/>
              <a:gd name="connsiteY17" fmla="*/ 29559 h 110081"/>
              <a:gd name="connsiteX18" fmla="*/ 89328 w 581592"/>
              <a:gd name="connsiteY18" fmla="*/ 40012 h 110081"/>
              <a:gd name="connsiteX19" fmla="*/ 70529 w 581592"/>
              <a:gd name="connsiteY19" fmla="*/ 40012 h 110081"/>
              <a:gd name="connsiteX20" fmla="*/ 64988 w 581592"/>
              <a:gd name="connsiteY20" fmla="*/ 67206 h 110081"/>
              <a:gd name="connsiteX21" fmla="*/ 85282 w 581592"/>
              <a:gd name="connsiteY21" fmla="*/ 67206 h 110081"/>
              <a:gd name="connsiteX22" fmla="*/ 85282 w 581592"/>
              <a:gd name="connsiteY22" fmla="*/ 77661 h 110081"/>
              <a:gd name="connsiteX23" fmla="*/ 62747 w 581592"/>
              <a:gd name="connsiteY23" fmla="*/ 77661 h 110081"/>
              <a:gd name="connsiteX24" fmla="*/ 56460 w 581592"/>
              <a:gd name="connsiteY24" fmla="*/ 108588 h 110081"/>
              <a:gd name="connsiteX25" fmla="*/ 44508 w 581592"/>
              <a:gd name="connsiteY25" fmla="*/ 108588 h 110081"/>
              <a:gd name="connsiteX26" fmla="*/ 50795 w 581592"/>
              <a:gd name="connsiteY26" fmla="*/ 77661 h 110081"/>
              <a:gd name="connsiteX27" fmla="*/ 28386 w 581592"/>
              <a:gd name="connsiteY27" fmla="*/ 77661 h 110081"/>
              <a:gd name="connsiteX28" fmla="*/ 22099 w 581592"/>
              <a:gd name="connsiteY28" fmla="*/ 108588 h 110081"/>
              <a:gd name="connsiteX29" fmla="*/ 30627 w 581592"/>
              <a:gd name="connsiteY29" fmla="*/ 67206 h 110081"/>
              <a:gd name="connsiteX30" fmla="*/ 53036 w 581592"/>
              <a:gd name="connsiteY30" fmla="*/ 67206 h 110081"/>
              <a:gd name="connsiteX31" fmla="*/ 58576 w 581592"/>
              <a:gd name="connsiteY31" fmla="*/ 40012 h 110081"/>
              <a:gd name="connsiteX32" fmla="*/ 36167 w 581592"/>
              <a:gd name="connsiteY32" fmla="*/ 40012 h 110081"/>
              <a:gd name="connsiteX33" fmla="*/ 30627 w 581592"/>
              <a:gd name="connsiteY33" fmla="*/ 67206 h 110081"/>
              <a:gd name="connsiteX34" fmla="*/ 120078 w 581592"/>
              <a:gd name="connsiteY34" fmla="*/ 58992 h 110081"/>
              <a:gd name="connsiteX35" fmla="*/ 120078 w 581592"/>
              <a:gd name="connsiteY35" fmla="*/ 46298 h 110081"/>
              <a:gd name="connsiteX36" fmla="*/ 134396 w 581592"/>
              <a:gd name="connsiteY36" fmla="*/ 46298 h 110081"/>
              <a:gd name="connsiteX37" fmla="*/ 148028 w 581592"/>
              <a:gd name="connsiteY37" fmla="*/ 41817 h 110081"/>
              <a:gd name="connsiteX38" fmla="*/ 153382 w 581592"/>
              <a:gd name="connsiteY38" fmla="*/ 28812 h 110081"/>
              <a:gd name="connsiteX39" fmla="*/ 148464 w 581592"/>
              <a:gd name="connsiteY39" fmla="*/ 16864 h 110081"/>
              <a:gd name="connsiteX40" fmla="*/ 134271 w 581592"/>
              <a:gd name="connsiteY40" fmla="*/ 12383 h 110081"/>
              <a:gd name="connsiteX41" fmla="*/ 119643 w 581592"/>
              <a:gd name="connsiteY41" fmla="*/ 15246 h 110081"/>
              <a:gd name="connsiteX42" fmla="*/ 105575 w 581592"/>
              <a:gd name="connsiteY42" fmla="*/ 24331 h 110081"/>
              <a:gd name="connsiteX43" fmla="*/ 105575 w 581592"/>
              <a:gd name="connsiteY43" fmla="*/ 9707 h 110081"/>
              <a:gd name="connsiteX44" fmla="*/ 134396 w 581592"/>
              <a:gd name="connsiteY44" fmla="*/ 0 h 110081"/>
              <a:gd name="connsiteX45" fmla="*/ 158486 w 581592"/>
              <a:gd name="connsiteY45" fmla="*/ 7779 h 110081"/>
              <a:gd name="connsiteX46" fmla="*/ 167263 w 581592"/>
              <a:gd name="connsiteY46" fmla="*/ 28065 h 110081"/>
              <a:gd name="connsiteX47" fmla="*/ 161599 w 581592"/>
              <a:gd name="connsiteY47" fmla="*/ 44244 h 110081"/>
              <a:gd name="connsiteX48" fmla="*/ 148340 w 581592"/>
              <a:gd name="connsiteY48" fmla="*/ 52147 h 110081"/>
              <a:gd name="connsiteX49" fmla="*/ 159793 w 581592"/>
              <a:gd name="connsiteY49" fmla="*/ 56441 h 110081"/>
              <a:gd name="connsiteX50" fmla="*/ 168508 w 581592"/>
              <a:gd name="connsiteY50" fmla="*/ 65153 h 110081"/>
              <a:gd name="connsiteX51" fmla="*/ 171745 w 581592"/>
              <a:gd name="connsiteY51" fmla="*/ 77661 h 110081"/>
              <a:gd name="connsiteX52" fmla="*/ 166827 w 581592"/>
              <a:gd name="connsiteY52" fmla="*/ 94836 h 110081"/>
              <a:gd name="connsiteX53" fmla="*/ 153257 w 581592"/>
              <a:gd name="connsiteY53" fmla="*/ 106224 h 110081"/>
              <a:gd name="connsiteX54" fmla="*/ 133400 w 581592"/>
              <a:gd name="connsiteY54" fmla="*/ 110082 h 110081"/>
              <a:gd name="connsiteX55" fmla="*/ 102898 w 581592"/>
              <a:gd name="connsiteY55" fmla="*/ 100997 h 110081"/>
              <a:gd name="connsiteX56" fmla="*/ 102898 w 581592"/>
              <a:gd name="connsiteY56" fmla="*/ 86062 h 110081"/>
              <a:gd name="connsiteX57" fmla="*/ 116654 w 581592"/>
              <a:gd name="connsiteY57" fmla="*/ 94711 h 110081"/>
              <a:gd name="connsiteX58" fmla="*/ 133524 w 581592"/>
              <a:gd name="connsiteY58" fmla="*/ 97823 h 110081"/>
              <a:gd name="connsiteX59" fmla="*/ 150829 w 581592"/>
              <a:gd name="connsiteY59" fmla="*/ 92596 h 110081"/>
              <a:gd name="connsiteX60" fmla="*/ 157303 w 581592"/>
              <a:gd name="connsiteY60" fmla="*/ 77972 h 110081"/>
              <a:gd name="connsiteX61" fmla="*/ 151452 w 581592"/>
              <a:gd name="connsiteY61" fmla="*/ 64095 h 110081"/>
              <a:gd name="connsiteX62" fmla="*/ 133835 w 581592"/>
              <a:gd name="connsiteY62" fmla="*/ 58992 h 110081"/>
              <a:gd name="connsiteX63" fmla="*/ 120078 w 581592"/>
              <a:gd name="connsiteY63" fmla="*/ 58992 h 110081"/>
              <a:gd name="connsiteX64" fmla="*/ 252980 w 581592"/>
              <a:gd name="connsiteY64" fmla="*/ 108588 h 110081"/>
              <a:gd name="connsiteX65" fmla="*/ 184755 w 581592"/>
              <a:gd name="connsiteY65" fmla="*/ 108588 h 110081"/>
              <a:gd name="connsiteX66" fmla="*/ 184755 w 581592"/>
              <a:gd name="connsiteY66" fmla="*/ 94400 h 110081"/>
              <a:gd name="connsiteX67" fmla="*/ 210899 w 581592"/>
              <a:gd name="connsiteY67" fmla="*/ 72433 h 110081"/>
              <a:gd name="connsiteX68" fmla="*/ 226836 w 581592"/>
              <a:gd name="connsiteY68" fmla="*/ 56628 h 110081"/>
              <a:gd name="connsiteX69" fmla="*/ 234927 w 581592"/>
              <a:gd name="connsiteY69" fmla="*/ 43933 h 110081"/>
              <a:gd name="connsiteX70" fmla="*/ 237293 w 581592"/>
              <a:gd name="connsiteY70" fmla="*/ 32109 h 110081"/>
              <a:gd name="connsiteX71" fmla="*/ 231815 w 581592"/>
              <a:gd name="connsiteY71" fmla="*/ 17610 h 110081"/>
              <a:gd name="connsiteX72" fmla="*/ 216564 w 581592"/>
              <a:gd name="connsiteY72" fmla="*/ 12383 h 110081"/>
              <a:gd name="connsiteX73" fmla="*/ 187556 w 581592"/>
              <a:gd name="connsiteY73" fmla="*/ 27194 h 110081"/>
              <a:gd name="connsiteX74" fmla="*/ 187556 w 581592"/>
              <a:gd name="connsiteY74" fmla="*/ 12134 h 110081"/>
              <a:gd name="connsiteX75" fmla="*/ 217000 w 581592"/>
              <a:gd name="connsiteY75" fmla="*/ 0 h 110081"/>
              <a:gd name="connsiteX76" fmla="*/ 242398 w 581592"/>
              <a:gd name="connsiteY76" fmla="*/ 8401 h 110081"/>
              <a:gd name="connsiteX77" fmla="*/ 251797 w 581592"/>
              <a:gd name="connsiteY77" fmla="*/ 30803 h 110081"/>
              <a:gd name="connsiteX78" fmla="*/ 249432 w 581592"/>
              <a:gd name="connsiteY78" fmla="*/ 44804 h 110081"/>
              <a:gd name="connsiteX79" fmla="*/ 241339 w 581592"/>
              <a:gd name="connsiteY79" fmla="*/ 58681 h 110081"/>
              <a:gd name="connsiteX80" fmla="*/ 225652 w 581592"/>
              <a:gd name="connsiteY80" fmla="*/ 74860 h 110081"/>
              <a:gd name="connsiteX81" fmla="*/ 200255 w 581592"/>
              <a:gd name="connsiteY81" fmla="*/ 95769 h 110081"/>
              <a:gd name="connsiteX82" fmla="*/ 252980 w 581592"/>
              <a:gd name="connsiteY82" fmla="*/ 95769 h 110081"/>
              <a:gd name="connsiteX83" fmla="*/ 252980 w 581592"/>
              <a:gd name="connsiteY83" fmla="*/ 108588 h 110081"/>
              <a:gd name="connsiteX84" fmla="*/ 300912 w 581592"/>
              <a:gd name="connsiteY84" fmla="*/ 110082 h 110081"/>
              <a:gd name="connsiteX85" fmla="*/ 282735 w 581592"/>
              <a:gd name="connsiteY85" fmla="*/ 104233 h 110081"/>
              <a:gd name="connsiteX86" fmla="*/ 270036 w 581592"/>
              <a:gd name="connsiteY86" fmla="*/ 86311 h 110081"/>
              <a:gd name="connsiteX87" fmla="*/ 265554 w 581592"/>
              <a:gd name="connsiteY87" fmla="*/ 54947 h 110081"/>
              <a:gd name="connsiteX88" fmla="*/ 270036 w 581592"/>
              <a:gd name="connsiteY88" fmla="*/ 23584 h 110081"/>
              <a:gd name="connsiteX89" fmla="*/ 282735 w 581592"/>
              <a:gd name="connsiteY89" fmla="*/ 5849 h 110081"/>
              <a:gd name="connsiteX90" fmla="*/ 300912 w 581592"/>
              <a:gd name="connsiteY90" fmla="*/ 186 h 110081"/>
              <a:gd name="connsiteX91" fmla="*/ 319026 w 581592"/>
              <a:gd name="connsiteY91" fmla="*/ 5849 h 110081"/>
              <a:gd name="connsiteX92" fmla="*/ 331413 w 581592"/>
              <a:gd name="connsiteY92" fmla="*/ 23584 h 110081"/>
              <a:gd name="connsiteX93" fmla="*/ 335896 w 581592"/>
              <a:gd name="connsiteY93" fmla="*/ 54698 h 110081"/>
              <a:gd name="connsiteX94" fmla="*/ 331413 w 581592"/>
              <a:gd name="connsiteY94" fmla="*/ 86062 h 110081"/>
              <a:gd name="connsiteX95" fmla="*/ 319026 w 581592"/>
              <a:gd name="connsiteY95" fmla="*/ 104233 h 110081"/>
              <a:gd name="connsiteX96" fmla="*/ 300912 w 581592"/>
              <a:gd name="connsiteY96" fmla="*/ 110082 h 110081"/>
              <a:gd name="connsiteX97" fmla="*/ 300787 w 581592"/>
              <a:gd name="connsiteY97" fmla="*/ 98258 h 110081"/>
              <a:gd name="connsiteX98" fmla="*/ 312116 w 581592"/>
              <a:gd name="connsiteY98" fmla="*/ 94275 h 110081"/>
              <a:gd name="connsiteX99" fmla="*/ 319337 w 581592"/>
              <a:gd name="connsiteY99" fmla="*/ 80648 h 110081"/>
              <a:gd name="connsiteX100" fmla="*/ 321828 w 581592"/>
              <a:gd name="connsiteY100" fmla="*/ 55134 h 110081"/>
              <a:gd name="connsiteX101" fmla="*/ 319462 w 581592"/>
              <a:gd name="connsiteY101" fmla="*/ 29745 h 110081"/>
              <a:gd name="connsiteX102" fmla="*/ 312303 w 581592"/>
              <a:gd name="connsiteY102" fmla="*/ 16117 h 110081"/>
              <a:gd name="connsiteX103" fmla="*/ 300912 w 581592"/>
              <a:gd name="connsiteY103" fmla="*/ 11947 h 110081"/>
              <a:gd name="connsiteX104" fmla="*/ 289458 w 581592"/>
              <a:gd name="connsiteY104" fmla="*/ 16117 h 110081"/>
              <a:gd name="connsiteX105" fmla="*/ 282113 w 581592"/>
              <a:gd name="connsiteY105" fmla="*/ 29745 h 110081"/>
              <a:gd name="connsiteX106" fmla="*/ 279560 w 581592"/>
              <a:gd name="connsiteY106" fmla="*/ 55134 h 110081"/>
              <a:gd name="connsiteX107" fmla="*/ 281988 w 581592"/>
              <a:gd name="connsiteY107" fmla="*/ 80648 h 110081"/>
              <a:gd name="connsiteX108" fmla="*/ 289271 w 581592"/>
              <a:gd name="connsiteY108" fmla="*/ 94275 h 110081"/>
              <a:gd name="connsiteX109" fmla="*/ 300787 w 581592"/>
              <a:gd name="connsiteY109" fmla="*/ 98258 h 110081"/>
              <a:gd name="connsiteX110" fmla="*/ 383080 w 581592"/>
              <a:gd name="connsiteY110" fmla="*/ 110082 h 110081"/>
              <a:gd name="connsiteX111" fmla="*/ 364841 w 581592"/>
              <a:gd name="connsiteY111" fmla="*/ 104233 h 110081"/>
              <a:gd name="connsiteX112" fmla="*/ 352143 w 581592"/>
              <a:gd name="connsiteY112" fmla="*/ 86311 h 110081"/>
              <a:gd name="connsiteX113" fmla="*/ 347661 w 581592"/>
              <a:gd name="connsiteY113" fmla="*/ 54947 h 110081"/>
              <a:gd name="connsiteX114" fmla="*/ 352143 w 581592"/>
              <a:gd name="connsiteY114" fmla="*/ 23584 h 110081"/>
              <a:gd name="connsiteX115" fmla="*/ 364841 w 581592"/>
              <a:gd name="connsiteY115" fmla="*/ 5849 h 110081"/>
              <a:gd name="connsiteX116" fmla="*/ 383080 w 581592"/>
              <a:gd name="connsiteY116" fmla="*/ 186 h 110081"/>
              <a:gd name="connsiteX117" fmla="*/ 401133 w 581592"/>
              <a:gd name="connsiteY117" fmla="*/ 5849 h 110081"/>
              <a:gd name="connsiteX118" fmla="*/ 413582 w 581592"/>
              <a:gd name="connsiteY118" fmla="*/ 23584 h 110081"/>
              <a:gd name="connsiteX119" fmla="*/ 418064 w 581592"/>
              <a:gd name="connsiteY119" fmla="*/ 54698 h 110081"/>
              <a:gd name="connsiteX120" fmla="*/ 413582 w 581592"/>
              <a:gd name="connsiteY120" fmla="*/ 86062 h 110081"/>
              <a:gd name="connsiteX121" fmla="*/ 401133 w 581592"/>
              <a:gd name="connsiteY121" fmla="*/ 104233 h 110081"/>
              <a:gd name="connsiteX122" fmla="*/ 383080 w 581592"/>
              <a:gd name="connsiteY122" fmla="*/ 110082 h 110081"/>
              <a:gd name="connsiteX123" fmla="*/ 382956 w 581592"/>
              <a:gd name="connsiteY123" fmla="*/ 98258 h 110081"/>
              <a:gd name="connsiteX124" fmla="*/ 394285 w 581592"/>
              <a:gd name="connsiteY124" fmla="*/ 94275 h 110081"/>
              <a:gd name="connsiteX125" fmla="*/ 401443 w 581592"/>
              <a:gd name="connsiteY125" fmla="*/ 80648 h 110081"/>
              <a:gd name="connsiteX126" fmla="*/ 403996 w 581592"/>
              <a:gd name="connsiteY126" fmla="*/ 55134 h 110081"/>
              <a:gd name="connsiteX127" fmla="*/ 401630 w 581592"/>
              <a:gd name="connsiteY127" fmla="*/ 29745 h 110081"/>
              <a:gd name="connsiteX128" fmla="*/ 394409 w 581592"/>
              <a:gd name="connsiteY128" fmla="*/ 16117 h 110081"/>
              <a:gd name="connsiteX129" fmla="*/ 383080 w 581592"/>
              <a:gd name="connsiteY129" fmla="*/ 11947 h 110081"/>
              <a:gd name="connsiteX130" fmla="*/ 371564 w 581592"/>
              <a:gd name="connsiteY130" fmla="*/ 16117 h 110081"/>
              <a:gd name="connsiteX131" fmla="*/ 364281 w 581592"/>
              <a:gd name="connsiteY131" fmla="*/ 29745 h 110081"/>
              <a:gd name="connsiteX132" fmla="*/ 361729 w 581592"/>
              <a:gd name="connsiteY132" fmla="*/ 55134 h 110081"/>
              <a:gd name="connsiteX133" fmla="*/ 364094 w 581592"/>
              <a:gd name="connsiteY133" fmla="*/ 80648 h 110081"/>
              <a:gd name="connsiteX134" fmla="*/ 371440 w 581592"/>
              <a:gd name="connsiteY134" fmla="*/ 94275 h 110081"/>
              <a:gd name="connsiteX135" fmla="*/ 382956 w 581592"/>
              <a:gd name="connsiteY135" fmla="*/ 98258 h 110081"/>
              <a:gd name="connsiteX136" fmla="*/ 465373 w 581592"/>
              <a:gd name="connsiteY136" fmla="*/ 110082 h 110081"/>
              <a:gd name="connsiteX137" fmla="*/ 446699 w 581592"/>
              <a:gd name="connsiteY137" fmla="*/ 106473 h 110081"/>
              <a:gd name="connsiteX138" fmla="*/ 434000 w 581592"/>
              <a:gd name="connsiteY138" fmla="*/ 96205 h 110081"/>
              <a:gd name="connsiteX139" fmla="*/ 429332 w 581592"/>
              <a:gd name="connsiteY139" fmla="*/ 79777 h 110081"/>
              <a:gd name="connsiteX140" fmla="*/ 434747 w 581592"/>
              <a:gd name="connsiteY140" fmla="*/ 62291 h 110081"/>
              <a:gd name="connsiteX141" fmla="*/ 449500 w 581592"/>
              <a:gd name="connsiteY141" fmla="*/ 51711 h 110081"/>
              <a:gd name="connsiteX142" fmla="*/ 437548 w 581592"/>
              <a:gd name="connsiteY142" fmla="*/ 42564 h 110081"/>
              <a:gd name="connsiteX143" fmla="*/ 433253 w 581592"/>
              <a:gd name="connsiteY143" fmla="*/ 27504 h 110081"/>
              <a:gd name="connsiteX144" fmla="*/ 437423 w 581592"/>
              <a:gd name="connsiteY144" fmla="*/ 12570 h 110081"/>
              <a:gd name="connsiteX145" fmla="*/ 448939 w 581592"/>
              <a:gd name="connsiteY145" fmla="*/ 3298 h 110081"/>
              <a:gd name="connsiteX146" fmla="*/ 465373 w 581592"/>
              <a:gd name="connsiteY146" fmla="*/ 186 h 110081"/>
              <a:gd name="connsiteX147" fmla="*/ 481496 w 581592"/>
              <a:gd name="connsiteY147" fmla="*/ 3298 h 110081"/>
              <a:gd name="connsiteX148" fmla="*/ 492825 w 581592"/>
              <a:gd name="connsiteY148" fmla="*/ 12259 h 110081"/>
              <a:gd name="connsiteX149" fmla="*/ 497182 w 581592"/>
              <a:gd name="connsiteY149" fmla="*/ 27194 h 110081"/>
              <a:gd name="connsiteX150" fmla="*/ 492701 w 581592"/>
              <a:gd name="connsiteY150" fmla="*/ 42439 h 110081"/>
              <a:gd name="connsiteX151" fmla="*/ 480873 w 581592"/>
              <a:gd name="connsiteY151" fmla="*/ 51711 h 110081"/>
              <a:gd name="connsiteX152" fmla="*/ 495253 w 581592"/>
              <a:gd name="connsiteY152" fmla="*/ 61855 h 110081"/>
              <a:gd name="connsiteX153" fmla="*/ 500793 w 581592"/>
              <a:gd name="connsiteY153" fmla="*/ 79341 h 110081"/>
              <a:gd name="connsiteX154" fmla="*/ 496125 w 581592"/>
              <a:gd name="connsiteY154" fmla="*/ 95893 h 110081"/>
              <a:gd name="connsiteX155" fmla="*/ 483426 w 581592"/>
              <a:gd name="connsiteY155" fmla="*/ 106473 h 110081"/>
              <a:gd name="connsiteX156" fmla="*/ 465373 w 581592"/>
              <a:gd name="connsiteY156" fmla="*/ 110082 h 110081"/>
              <a:gd name="connsiteX157" fmla="*/ 465373 w 581592"/>
              <a:gd name="connsiteY157" fmla="*/ 46298 h 110081"/>
              <a:gd name="connsiteX158" fmla="*/ 478384 w 581592"/>
              <a:gd name="connsiteY158" fmla="*/ 41817 h 110081"/>
              <a:gd name="connsiteX159" fmla="*/ 483612 w 581592"/>
              <a:gd name="connsiteY159" fmla="*/ 29122 h 110081"/>
              <a:gd name="connsiteX160" fmla="*/ 478384 w 581592"/>
              <a:gd name="connsiteY160" fmla="*/ 16615 h 110081"/>
              <a:gd name="connsiteX161" fmla="*/ 465373 w 581592"/>
              <a:gd name="connsiteY161" fmla="*/ 11947 h 110081"/>
              <a:gd name="connsiteX162" fmla="*/ 452052 w 581592"/>
              <a:gd name="connsiteY162" fmla="*/ 16615 h 110081"/>
              <a:gd name="connsiteX163" fmla="*/ 446823 w 581592"/>
              <a:gd name="connsiteY163" fmla="*/ 29122 h 110081"/>
              <a:gd name="connsiteX164" fmla="*/ 452052 w 581592"/>
              <a:gd name="connsiteY164" fmla="*/ 41817 h 110081"/>
              <a:gd name="connsiteX165" fmla="*/ 465373 w 581592"/>
              <a:gd name="connsiteY165" fmla="*/ 46298 h 110081"/>
              <a:gd name="connsiteX166" fmla="*/ 465373 w 581592"/>
              <a:gd name="connsiteY166" fmla="*/ 98258 h 110081"/>
              <a:gd name="connsiteX167" fmla="*/ 480749 w 581592"/>
              <a:gd name="connsiteY167" fmla="*/ 92907 h 110081"/>
              <a:gd name="connsiteX168" fmla="*/ 487036 w 581592"/>
              <a:gd name="connsiteY168" fmla="*/ 77536 h 110081"/>
              <a:gd name="connsiteX169" fmla="*/ 480749 w 581592"/>
              <a:gd name="connsiteY169" fmla="*/ 62291 h 110081"/>
              <a:gd name="connsiteX170" fmla="*/ 465373 w 581592"/>
              <a:gd name="connsiteY170" fmla="*/ 56752 h 110081"/>
              <a:gd name="connsiteX171" fmla="*/ 449376 w 581592"/>
              <a:gd name="connsiteY171" fmla="*/ 62291 h 110081"/>
              <a:gd name="connsiteX172" fmla="*/ 443088 w 581592"/>
              <a:gd name="connsiteY172" fmla="*/ 77536 h 110081"/>
              <a:gd name="connsiteX173" fmla="*/ 449376 w 581592"/>
              <a:gd name="connsiteY173" fmla="*/ 92907 h 110081"/>
              <a:gd name="connsiteX174" fmla="*/ 465373 w 581592"/>
              <a:gd name="connsiteY174" fmla="*/ 98258 h 110081"/>
              <a:gd name="connsiteX175" fmla="*/ 581592 w 581592"/>
              <a:gd name="connsiteY175" fmla="*/ 108588 h 110081"/>
              <a:gd name="connsiteX176" fmla="*/ 513305 w 581592"/>
              <a:gd name="connsiteY176" fmla="*/ 108588 h 110081"/>
              <a:gd name="connsiteX177" fmla="*/ 513305 w 581592"/>
              <a:gd name="connsiteY177" fmla="*/ 94400 h 110081"/>
              <a:gd name="connsiteX178" fmla="*/ 539450 w 581592"/>
              <a:gd name="connsiteY178" fmla="*/ 72433 h 110081"/>
              <a:gd name="connsiteX179" fmla="*/ 555447 w 581592"/>
              <a:gd name="connsiteY179" fmla="*/ 56628 h 110081"/>
              <a:gd name="connsiteX180" fmla="*/ 563478 w 581592"/>
              <a:gd name="connsiteY180" fmla="*/ 43933 h 110081"/>
              <a:gd name="connsiteX181" fmla="*/ 565905 w 581592"/>
              <a:gd name="connsiteY181" fmla="*/ 32109 h 110081"/>
              <a:gd name="connsiteX182" fmla="*/ 560365 w 581592"/>
              <a:gd name="connsiteY182" fmla="*/ 17610 h 110081"/>
              <a:gd name="connsiteX183" fmla="*/ 545114 w 581592"/>
              <a:gd name="connsiteY183" fmla="*/ 12383 h 110081"/>
              <a:gd name="connsiteX184" fmla="*/ 516106 w 581592"/>
              <a:gd name="connsiteY184" fmla="*/ 27194 h 110081"/>
              <a:gd name="connsiteX185" fmla="*/ 516106 w 581592"/>
              <a:gd name="connsiteY185" fmla="*/ 12134 h 110081"/>
              <a:gd name="connsiteX186" fmla="*/ 545550 w 581592"/>
              <a:gd name="connsiteY186" fmla="*/ 0 h 110081"/>
              <a:gd name="connsiteX187" fmla="*/ 570948 w 581592"/>
              <a:gd name="connsiteY187" fmla="*/ 8401 h 110081"/>
              <a:gd name="connsiteX188" fmla="*/ 580347 w 581592"/>
              <a:gd name="connsiteY188" fmla="*/ 30803 h 110081"/>
              <a:gd name="connsiteX189" fmla="*/ 577982 w 581592"/>
              <a:gd name="connsiteY189" fmla="*/ 44804 h 110081"/>
              <a:gd name="connsiteX190" fmla="*/ 569889 w 581592"/>
              <a:gd name="connsiteY190" fmla="*/ 58681 h 110081"/>
              <a:gd name="connsiteX191" fmla="*/ 554203 w 581592"/>
              <a:gd name="connsiteY191" fmla="*/ 74860 h 110081"/>
              <a:gd name="connsiteX192" fmla="*/ 528805 w 581592"/>
              <a:gd name="connsiteY192" fmla="*/ 95769 h 110081"/>
              <a:gd name="connsiteX193" fmla="*/ 581592 w 581592"/>
              <a:gd name="connsiteY193" fmla="*/ 95769 h 110081"/>
              <a:gd name="connsiteX194" fmla="*/ 581592 w 581592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9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3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3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7" y="13379"/>
                  <a:pt x="119643" y="15246"/>
                </a:cubicBezTo>
                <a:cubicBezTo>
                  <a:pt x="115161" y="17113"/>
                  <a:pt x="110492" y="20162"/>
                  <a:pt x="105575" y="24331"/>
                </a:cubicBezTo>
                <a:lnTo>
                  <a:pt x="105575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7" y="12943"/>
                  <a:pt x="167263" y="19726"/>
                  <a:pt x="167263" y="28065"/>
                </a:cubicBezTo>
                <a:cubicBezTo>
                  <a:pt x="167263" y="34848"/>
                  <a:pt x="165396" y="40262"/>
                  <a:pt x="161599" y="44244"/>
                </a:cubicBezTo>
                <a:cubicBezTo>
                  <a:pt x="157926" y="48227"/>
                  <a:pt x="153506" y="50840"/>
                  <a:pt x="148340" y="52147"/>
                </a:cubicBezTo>
                <a:cubicBezTo>
                  <a:pt x="152510" y="52707"/>
                  <a:pt x="156307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7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7" y="106224"/>
                </a:cubicBezTo>
                <a:cubicBezTo>
                  <a:pt x="147593" y="108775"/>
                  <a:pt x="140932" y="110082"/>
                  <a:pt x="133400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5" y="89733"/>
                  <a:pt x="111239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69" y="97823"/>
                  <a:pt x="146659" y="96080"/>
                  <a:pt x="150829" y="92596"/>
                </a:cubicBezTo>
                <a:cubicBezTo>
                  <a:pt x="155125" y="89048"/>
                  <a:pt x="157303" y="84132"/>
                  <a:pt x="157303" y="77972"/>
                </a:cubicBezTo>
                <a:cubicBezTo>
                  <a:pt x="157303" y="71998"/>
                  <a:pt x="155312" y="67393"/>
                  <a:pt x="151452" y="64095"/>
                </a:cubicBezTo>
                <a:cubicBezTo>
                  <a:pt x="147655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0" y="108588"/>
                </a:moveTo>
                <a:lnTo>
                  <a:pt x="184755" y="108588"/>
                </a:lnTo>
                <a:lnTo>
                  <a:pt x="184755" y="94400"/>
                </a:lnTo>
                <a:cubicBezTo>
                  <a:pt x="195400" y="85812"/>
                  <a:pt x="204115" y="78532"/>
                  <a:pt x="210899" y="72433"/>
                </a:cubicBezTo>
                <a:cubicBezTo>
                  <a:pt x="217747" y="66397"/>
                  <a:pt x="223101" y="61108"/>
                  <a:pt x="226836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3" y="36092"/>
                  <a:pt x="237293" y="32109"/>
                </a:cubicBezTo>
                <a:cubicBezTo>
                  <a:pt x="237293" y="25949"/>
                  <a:pt x="235488" y="21095"/>
                  <a:pt x="231815" y="17610"/>
                </a:cubicBezTo>
                <a:cubicBezTo>
                  <a:pt x="228080" y="14125"/>
                  <a:pt x="223038" y="12383"/>
                  <a:pt x="216564" y="12383"/>
                </a:cubicBezTo>
                <a:cubicBezTo>
                  <a:pt x="206168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6" y="4044"/>
                  <a:pt x="205671" y="0"/>
                  <a:pt x="217000" y="0"/>
                </a:cubicBezTo>
                <a:cubicBezTo>
                  <a:pt x="227769" y="0"/>
                  <a:pt x="236235" y="2800"/>
                  <a:pt x="242398" y="8401"/>
                </a:cubicBezTo>
                <a:cubicBezTo>
                  <a:pt x="248685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1" y="53827"/>
                  <a:pt x="241339" y="58681"/>
                </a:cubicBezTo>
                <a:cubicBezTo>
                  <a:pt x="237542" y="63473"/>
                  <a:pt x="232314" y="68887"/>
                  <a:pt x="225652" y="74860"/>
                </a:cubicBezTo>
                <a:cubicBezTo>
                  <a:pt x="218992" y="80835"/>
                  <a:pt x="210526" y="87804"/>
                  <a:pt x="200255" y="95769"/>
                </a:cubicBezTo>
                <a:lnTo>
                  <a:pt x="252980" y="95769"/>
                </a:lnTo>
                <a:lnTo>
                  <a:pt x="252980" y="108588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465373" y="110082"/>
                </a:moveTo>
                <a:cubicBezTo>
                  <a:pt x="458401" y="110082"/>
                  <a:pt x="452176" y="108900"/>
                  <a:pt x="446699" y="106473"/>
                </a:cubicBezTo>
                <a:cubicBezTo>
                  <a:pt x="441283" y="104108"/>
                  <a:pt x="437050" y="100685"/>
                  <a:pt x="434000" y="96205"/>
                </a:cubicBezTo>
                <a:cubicBezTo>
                  <a:pt x="430888" y="91600"/>
                  <a:pt x="429332" y="86124"/>
                  <a:pt x="429332" y="79777"/>
                </a:cubicBezTo>
                <a:cubicBezTo>
                  <a:pt x="429332" y="72869"/>
                  <a:pt x="431136" y="67082"/>
                  <a:pt x="434747" y="62291"/>
                </a:cubicBezTo>
                <a:cubicBezTo>
                  <a:pt x="438420" y="57437"/>
                  <a:pt x="443338" y="53889"/>
                  <a:pt x="449500" y="51711"/>
                </a:cubicBezTo>
                <a:cubicBezTo>
                  <a:pt x="444520" y="49720"/>
                  <a:pt x="440536" y="46671"/>
                  <a:pt x="437548" y="42564"/>
                </a:cubicBezTo>
                <a:cubicBezTo>
                  <a:pt x="434685" y="38519"/>
                  <a:pt x="433253" y="33479"/>
                  <a:pt x="433253" y="27504"/>
                </a:cubicBezTo>
                <a:cubicBezTo>
                  <a:pt x="433253" y="21593"/>
                  <a:pt x="434623" y="16615"/>
                  <a:pt x="437423" y="12570"/>
                </a:cubicBezTo>
                <a:cubicBezTo>
                  <a:pt x="440225" y="8463"/>
                  <a:pt x="444022" y="5414"/>
                  <a:pt x="448939" y="3298"/>
                </a:cubicBezTo>
                <a:cubicBezTo>
                  <a:pt x="453795" y="1182"/>
                  <a:pt x="459273" y="186"/>
                  <a:pt x="465373" y="186"/>
                </a:cubicBezTo>
                <a:cubicBezTo>
                  <a:pt x="471350" y="186"/>
                  <a:pt x="476703" y="1182"/>
                  <a:pt x="481496" y="3298"/>
                </a:cubicBezTo>
                <a:cubicBezTo>
                  <a:pt x="486289" y="5289"/>
                  <a:pt x="490086" y="8276"/>
                  <a:pt x="492825" y="12259"/>
                </a:cubicBezTo>
                <a:cubicBezTo>
                  <a:pt x="495751" y="16242"/>
                  <a:pt x="497182" y="21219"/>
                  <a:pt x="497182" y="27194"/>
                </a:cubicBezTo>
                <a:cubicBezTo>
                  <a:pt x="497182" y="33292"/>
                  <a:pt x="495688" y="38332"/>
                  <a:pt x="492701" y="42439"/>
                </a:cubicBezTo>
                <a:cubicBezTo>
                  <a:pt x="489713" y="46484"/>
                  <a:pt x="485791" y="49596"/>
                  <a:pt x="480873" y="51711"/>
                </a:cubicBezTo>
                <a:cubicBezTo>
                  <a:pt x="486850" y="53765"/>
                  <a:pt x="491642" y="57188"/>
                  <a:pt x="495253" y="61855"/>
                </a:cubicBezTo>
                <a:cubicBezTo>
                  <a:pt x="498925" y="66522"/>
                  <a:pt x="500793" y="72372"/>
                  <a:pt x="500793" y="79341"/>
                </a:cubicBezTo>
                <a:cubicBezTo>
                  <a:pt x="500793" y="85688"/>
                  <a:pt x="499237" y="91226"/>
                  <a:pt x="496125" y="95893"/>
                </a:cubicBezTo>
                <a:cubicBezTo>
                  <a:pt x="493074" y="100498"/>
                  <a:pt x="488841" y="103983"/>
                  <a:pt x="483426" y="106473"/>
                </a:cubicBezTo>
                <a:cubicBezTo>
                  <a:pt x="478135" y="108900"/>
                  <a:pt x="472159" y="110082"/>
                  <a:pt x="465373" y="110082"/>
                </a:cubicBezTo>
                <a:close/>
                <a:moveTo>
                  <a:pt x="465373" y="46298"/>
                </a:moveTo>
                <a:cubicBezTo>
                  <a:pt x="470664" y="46298"/>
                  <a:pt x="474960" y="44804"/>
                  <a:pt x="478384" y="41817"/>
                </a:cubicBezTo>
                <a:cubicBezTo>
                  <a:pt x="481869" y="38768"/>
                  <a:pt x="483612" y="34536"/>
                  <a:pt x="483612" y="29122"/>
                </a:cubicBezTo>
                <a:cubicBezTo>
                  <a:pt x="483612" y="23771"/>
                  <a:pt x="481869" y="19601"/>
                  <a:pt x="478384" y="16615"/>
                </a:cubicBezTo>
                <a:cubicBezTo>
                  <a:pt x="474960" y="13503"/>
                  <a:pt x="470664" y="11947"/>
                  <a:pt x="465373" y="11947"/>
                </a:cubicBezTo>
                <a:cubicBezTo>
                  <a:pt x="460082" y="11947"/>
                  <a:pt x="455663" y="13503"/>
                  <a:pt x="452052" y="16615"/>
                </a:cubicBezTo>
                <a:cubicBezTo>
                  <a:pt x="448566" y="19601"/>
                  <a:pt x="446823" y="23771"/>
                  <a:pt x="446823" y="29122"/>
                </a:cubicBezTo>
                <a:cubicBezTo>
                  <a:pt x="446823" y="34536"/>
                  <a:pt x="448566" y="38768"/>
                  <a:pt x="452052" y="41817"/>
                </a:cubicBezTo>
                <a:cubicBezTo>
                  <a:pt x="455663" y="44804"/>
                  <a:pt x="460082" y="46298"/>
                  <a:pt x="465373" y="46298"/>
                </a:cubicBezTo>
                <a:close/>
                <a:moveTo>
                  <a:pt x="465373" y="98258"/>
                </a:moveTo>
                <a:cubicBezTo>
                  <a:pt x="471536" y="98258"/>
                  <a:pt x="476641" y="96516"/>
                  <a:pt x="480749" y="92907"/>
                </a:cubicBezTo>
                <a:cubicBezTo>
                  <a:pt x="484919" y="89235"/>
                  <a:pt x="487036" y="84071"/>
                  <a:pt x="487036" y="77536"/>
                </a:cubicBezTo>
                <a:cubicBezTo>
                  <a:pt x="487036" y="70940"/>
                  <a:pt x="484919" y="65900"/>
                  <a:pt x="480749" y="62291"/>
                </a:cubicBezTo>
                <a:cubicBezTo>
                  <a:pt x="476641" y="58619"/>
                  <a:pt x="471536" y="56752"/>
                  <a:pt x="465373" y="56752"/>
                </a:cubicBezTo>
                <a:cubicBezTo>
                  <a:pt x="458961" y="56752"/>
                  <a:pt x="453670" y="58619"/>
                  <a:pt x="449376" y="62291"/>
                </a:cubicBezTo>
                <a:cubicBezTo>
                  <a:pt x="445205" y="65900"/>
                  <a:pt x="443088" y="70940"/>
                  <a:pt x="443088" y="77536"/>
                </a:cubicBezTo>
                <a:cubicBezTo>
                  <a:pt x="443088" y="84071"/>
                  <a:pt x="445205" y="89235"/>
                  <a:pt x="449376" y="92907"/>
                </a:cubicBezTo>
                <a:cubicBezTo>
                  <a:pt x="453670" y="96516"/>
                  <a:pt x="458961" y="98258"/>
                  <a:pt x="465373" y="98258"/>
                </a:cubicBezTo>
                <a:close/>
                <a:moveTo>
                  <a:pt x="581592" y="108588"/>
                </a:moveTo>
                <a:lnTo>
                  <a:pt x="513305" y="108588"/>
                </a:lnTo>
                <a:lnTo>
                  <a:pt x="513305" y="94400"/>
                </a:lnTo>
                <a:cubicBezTo>
                  <a:pt x="523950" y="85812"/>
                  <a:pt x="532665" y="78532"/>
                  <a:pt x="539450" y="72433"/>
                </a:cubicBezTo>
                <a:cubicBezTo>
                  <a:pt x="546297" y="66397"/>
                  <a:pt x="551650" y="61108"/>
                  <a:pt x="555447" y="56628"/>
                </a:cubicBezTo>
                <a:cubicBezTo>
                  <a:pt x="559307" y="52023"/>
                  <a:pt x="561984" y="47791"/>
                  <a:pt x="563478" y="43933"/>
                </a:cubicBezTo>
                <a:cubicBezTo>
                  <a:pt x="565096" y="40012"/>
                  <a:pt x="565905" y="36092"/>
                  <a:pt x="565905" y="32109"/>
                </a:cubicBezTo>
                <a:cubicBezTo>
                  <a:pt x="565905" y="25949"/>
                  <a:pt x="564038" y="21095"/>
                  <a:pt x="560365" y="17610"/>
                </a:cubicBezTo>
                <a:cubicBezTo>
                  <a:pt x="556693" y="14125"/>
                  <a:pt x="551588" y="12383"/>
                  <a:pt x="545114" y="12383"/>
                </a:cubicBezTo>
                <a:cubicBezTo>
                  <a:pt x="534781" y="12383"/>
                  <a:pt x="525071" y="17361"/>
                  <a:pt x="516106" y="27194"/>
                </a:cubicBezTo>
                <a:lnTo>
                  <a:pt x="516106" y="12134"/>
                </a:lnTo>
                <a:cubicBezTo>
                  <a:pt x="524385" y="4044"/>
                  <a:pt x="534221" y="0"/>
                  <a:pt x="545550" y="0"/>
                </a:cubicBezTo>
                <a:cubicBezTo>
                  <a:pt x="556319" y="0"/>
                  <a:pt x="564785" y="2800"/>
                  <a:pt x="570948" y="8401"/>
                </a:cubicBezTo>
                <a:cubicBezTo>
                  <a:pt x="577234" y="13877"/>
                  <a:pt x="580347" y="21344"/>
                  <a:pt x="580347" y="30803"/>
                </a:cubicBezTo>
                <a:cubicBezTo>
                  <a:pt x="580347" y="35657"/>
                  <a:pt x="579600" y="40324"/>
                  <a:pt x="577982" y="44804"/>
                </a:cubicBezTo>
                <a:cubicBezTo>
                  <a:pt x="576487" y="49222"/>
                  <a:pt x="573811" y="53827"/>
                  <a:pt x="569889" y="58681"/>
                </a:cubicBezTo>
                <a:cubicBezTo>
                  <a:pt x="566155" y="63473"/>
                  <a:pt x="560925" y="68887"/>
                  <a:pt x="554203" y="74860"/>
                </a:cubicBezTo>
                <a:cubicBezTo>
                  <a:pt x="547542" y="80835"/>
                  <a:pt x="539077" y="87804"/>
                  <a:pt x="528805" y="95769"/>
                </a:cubicBezTo>
                <a:lnTo>
                  <a:pt x="581592" y="95769"/>
                </a:lnTo>
                <a:lnTo>
                  <a:pt x="581592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0" name="Полилиния 909">
            <a:extLst>
              <a:ext uri="{FF2B5EF4-FFF2-40B4-BE49-F238E27FC236}">
                <a16:creationId xmlns:a16="http://schemas.microsoft.com/office/drawing/2014/main" id="{C9D8CCB4-BFC9-EEF1-6F60-E4F5E855B7AB}"/>
              </a:ext>
            </a:extLst>
          </p:cNvPr>
          <p:cNvSpPr/>
          <p:nvPr userDrawn="1"/>
        </p:nvSpPr>
        <p:spPr>
          <a:xfrm>
            <a:off x="4142452" y="5240073"/>
            <a:ext cx="2557159" cy="726227"/>
          </a:xfrm>
          <a:custGeom>
            <a:avLst/>
            <a:gdLst>
              <a:gd name="connsiteX0" fmla="*/ 1860 w 2191162"/>
              <a:gd name="connsiteY0" fmla="*/ 1222 h 622284"/>
              <a:gd name="connsiteX1" fmla="*/ 2193023 w 2191162"/>
              <a:gd name="connsiteY1" fmla="*/ 1222 h 622284"/>
              <a:gd name="connsiteX2" fmla="*/ 2193023 w 2191162"/>
              <a:gd name="connsiteY2" fmla="*/ 623506 h 622284"/>
              <a:gd name="connsiteX3" fmla="*/ 1860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222"/>
                </a:moveTo>
                <a:lnTo>
                  <a:pt x="2193023" y="1222"/>
                </a:lnTo>
                <a:lnTo>
                  <a:pt x="2193023" y="623506"/>
                </a:lnTo>
                <a:lnTo>
                  <a:pt x="1860" y="623506"/>
                </a:lnTo>
                <a:close/>
              </a:path>
            </a:pathLst>
          </a:custGeom>
          <a:solidFill>
            <a:srgbClr val="4600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1" name="Полилиния 910">
            <a:extLst>
              <a:ext uri="{FF2B5EF4-FFF2-40B4-BE49-F238E27FC236}">
                <a16:creationId xmlns:a16="http://schemas.microsoft.com/office/drawing/2014/main" id="{B84A5A80-061B-0A42-15C6-BD5362BCC348}"/>
              </a:ext>
            </a:extLst>
          </p:cNvPr>
          <p:cNvSpPr/>
          <p:nvPr userDrawn="1"/>
        </p:nvSpPr>
        <p:spPr>
          <a:xfrm>
            <a:off x="4265660" y="5541820"/>
            <a:ext cx="706342" cy="128468"/>
          </a:xfrm>
          <a:custGeom>
            <a:avLst/>
            <a:gdLst>
              <a:gd name="connsiteX0" fmla="*/ 22099 w 605246"/>
              <a:gd name="connsiteY0" fmla="*/ 108588 h 110081"/>
              <a:gd name="connsiteX1" fmla="*/ 10147 w 605246"/>
              <a:gd name="connsiteY1" fmla="*/ 108588 h 110081"/>
              <a:gd name="connsiteX2" fmla="*/ 16434 w 605246"/>
              <a:gd name="connsiteY2" fmla="*/ 77661 h 110081"/>
              <a:gd name="connsiteX3" fmla="*/ 0 w 605246"/>
              <a:gd name="connsiteY3" fmla="*/ 77661 h 110081"/>
              <a:gd name="connsiteX4" fmla="*/ 0 w 605246"/>
              <a:gd name="connsiteY4" fmla="*/ 67206 h 110081"/>
              <a:gd name="connsiteX5" fmla="*/ 18675 w 605246"/>
              <a:gd name="connsiteY5" fmla="*/ 67206 h 110081"/>
              <a:gd name="connsiteX6" fmla="*/ 24215 w 605246"/>
              <a:gd name="connsiteY6" fmla="*/ 40012 h 110081"/>
              <a:gd name="connsiteX7" fmla="*/ 4046 w 605246"/>
              <a:gd name="connsiteY7" fmla="*/ 40012 h 110081"/>
              <a:gd name="connsiteX8" fmla="*/ 4046 w 605246"/>
              <a:gd name="connsiteY8" fmla="*/ 29559 h 110081"/>
              <a:gd name="connsiteX9" fmla="*/ 26270 w 605246"/>
              <a:gd name="connsiteY9" fmla="*/ 29559 h 110081"/>
              <a:gd name="connsiteX10" fmla="*/ 32121 w 605246"/>
              <a:gd name="connsiteY10" fmla="*/ 1493 h 110081"/>
              <a:gd name="connsiteX11" fmla="*/ 44073 w 605246"/>
              <a:gd name="connsiteY11" fmla="*/ 1493 h 110081"/>
              <a:gd name="connsiteX12" fmla="*/ 38221 w 605246"/>
              <a:gd name="connsiteY12" fmla="*/ 29559 h 110081"/>
              <a:gd name="connsiteX13" fmla="*/ 60630 w 605246"/>
              <a:gd name="connsiteY13" fmla="*/ 29559 h 110081"/>
              <a:gd name="connsiteX14" fmla="*/ 66482 w 605246"/>
              <a:gd name="connsiteY14" fmla="*/ 1493 h 110081"/>
              <a:gd name="connsiteX15" fmla="*/ 78434 w 605246"/>
              <a:gd name="connsiteY15" fmla="*/ 1493 h 110081"/>
              <a:gd name="connsiteX16" fmla="*/ 72582 w 605246"/>
              <a:gd name="connsiteY16" fmla="*/ 29559 h 110081"/>
              <a:gd name="connsiteX17" fmla="*/ 89328 w 605246"/>
              <a:gd name="connsiteY17" fmla="*/ 29559 h 110081"/>
              <a:gd name="connsiteX18" fmla="*/ 89328 w 605246"/>
              <a:gd name="connsiteY18" fmla="*/ 40012 h 110081"/>
              <a:gd name="connsiteX19" fmla="*/ 70529 w 605246"/>
              <a:gd name="connsiteY19" fmla="*/ 40012 h 110081"/>
              <a:gd name="connsiteX20" fmla="*/ 64988 w 605246"/>
              <a:gd name="connsiteY20" fmla="*/ 67206 h 110081"/>
              <a:gd name="connsiteX21" fmla="*/ 85282 w 605246"/>
              <a:gd name="connsiteY21" fmla="*/ 67206 h 110081"/>
              <a:gd name="connsiteX22" fmla="*/ 85282 w 605246"/>
              <a:gd name="connsiteY22" fmla="*/ 77661 h 110081"/>
              <a:gd name="connsiteX23" fmla="*/ 62747 w 605246"/>
              <a:gd name="connsiteY23" fmla="*/ 77661 h 110081"/>
              <a:gd name="connsiteX24" fmla="*/ 56460 w 605246"/>
              <a:gd name="connsiteY24" fmla="*/ 108588 h 110081"/>
              <a:gd name="connsiteX25" fmla="*/ 44508 w 605246"/>
              <a:gd name="connsiteY25" fmla="*/ 108588 h 110081"/>
              <a:gd name="connsiteX26" fmla="*/ 50795 w 605246"/>
              <a:gd name="connsiteY26" fmla="*/ 77661 h 110081"/>
              <a:gd name="connsiteX27" fmla="*/ 28386 w 605246"/>
              <a:gd name="connsiteY27" fmla="*/ 77661 h 110081"/>
              <a:gd name="connsiteX28" fmla="*/ 22099 w 605246"/>
              <a:gd name="connsiteY28" fmla="*/ 108588 h 110081"/>
              <a:gd name="connsiteX29" fmla="*/ 30627 w 605246"/>
              <a:gd name="connsiteY29" fmla="*/ 67206 h 110081"/>
              <a:gd name="connsiteX30" fmla="*/ 53036 w 605246"/>
              <a:gd name="connsiteY30" fmla="*/ 67206 h 110081"/>
              <a:gd name="connsiteX31" fmla="*/ 58576 w 605246"/>
              <a:gd name="connsiteY31" fmla="*/ 40012 h 110081"/>
              <a:gd name="connsiteX32" fmla="*/ 36167 w 605246"/>
              <a:gd name="connsiteY32" fmla="*/ 40012 h 110081"/>
              <a:gd name="connsiteX33" fmla="*/ 30627 w 605246"/>
              <a:gd name="connsiteY33" fmla="*/ 67206 h 110081"/>
              <a:gd name="connsiteX34" fmla="*/ 158797 w 605246"/>
              <a:gd name="connsiteY34" fmla="*/ 108588 h 110081"/>
              <a:gd name="connsiteX35" fmla="*/ 145600 w 605246"/>
              <a:gd name="connsiteY35" fmla="*/ 108588 h 110081"/>
              <a:gd name="connsiteX36" fmla="*/ 145600 w 605246"/>
              <a:gd name="connsiteY36" fmla="*/ 83199 h 110081"/>
              <a:gd name="connsiteX37" fmla="*/ 99288 w 605246"/>
              <a:gd name="connsiteY37" fmla="*/ 83199 h 110081"/>
              <a:gd name="connsiteX38" fmla="*/ 99288 w 605246"/>
              <a:gd name="connsiteY38" fmla="*/ 73927 h 110081"/>
              <a:gd name="connsiteX39" fmla="*/ 141119 w 605246"/>
              <a:gd name="connsiteY39" fmla="*/ 1493 h 110081"/>
              <a:gd name="connsiteX40" fmla="*/ 158797 w 605246"/>
              <a:gd name="connsiteY40" fmla="*/ 1493 h 110081"/>
              <a:gd name="connsiteX41" fmla="*/ 158797 w 605246"/>
              <a:gd name="connsiteY41" fmla="*/ 71873 h 110081"/>
              <a:gd name="connsiteX42" fmla="*/ 173239 w 605246"/>
              <a:gd name="connsiteY42" fmla="*/ 71873 h 110081"/>
              <a:gd name="connsiteX43" fmla="*/ 173239 w 605246"/>
              <a:gd name="connsiteY43" fmla="*/ 83199 h 110081"/>
              <a:gd name="connsiteX44" fmla="*/ 158797 w 605246"/>
              <a:gd name="connsiteY44" fmla="*/ 83199 h 110081"/>
              <a:gd name="connsiteX45" fmla="*/ 158797 w 605246"/>
              <a:gd name="connsiteY45" fmla="*/ 108588 h 110081"/>
              <a:gd name="connsiteX46" fmla="*/ 112920 w 605246"/>
              <a:gd name="connsiteY46" fmla="*/ 71873 h 110081"/>
              <a:gd name="connsiteX47" fmla="*/ 145600 w 605246"/>
              <a:gd name="connsiteY47" fmla="*/ 71873 h 110081"/>
              <a:gd name="connsiteX48" fmla="*/ 145600 w 605246"/>
              <a:gd name="connsiteY48" fmla="*/ 16117 h 110081"/>
              <a:gd name="connsiteX49" fmla="*/ 112920 w 605246"/>
              <a:gd name="connsiteY49" fmla="*/ 71873 h 110081"/>
              <a:gd name="connsiteX50" fmla="*/ 255408 w 605246"/>
              <a:gd name="connsiteY50" fmla="*/ 73491 h 110081"/>
              <a:gd name="connsiteX51" fmla="*/ 250614 w 605246"/>
              <a:gd name="connsiteY51" fmla="*/ 92782 h 110081"/>
              <a:gd name="connsiteX52" fmla="*/ 237916 w 605246"/>
              <a:gd name="connsiteY52" fmla="*/ 105601 h 110081"/>
              <a:gd name="connsiteX53" fmla="*/ 219864 w 605246"/>
              <a:gd name="connsiteY53" fmla="*/ 110082 h 110081"/>
              <a:gd name="connsiteX54" fmla="*/ 198201 w 605246"/>
              <a:gd name="connsiteY54" fmla="*/ 104108 h 110081"/>
              <a:gd name="connsiteX55" fmla="*/ 186062 w 605246"/>
              <a:gd name="connsiteY55" fmla="*/ 87555 h 110081"/>
              <a:gd name="connsiteX56" fmla="*/ 182327 w 605246"/>
              <a:gd name="connsiteY56" fmla="*/ 63161 h 110081"/>
              <a:gd name="connsiteX57" fmla="*/ 186809 w 605246"/>
              <a:gd name="connsiteY57" fmla="*/ 30181 h 110081"/>
              <a:gd name="connsiteX58" fmla="*/ 200877 w 605246"/>
              <a:gd name="connsiteY58" fmla="*/ 8089 h 110081"/>
              <a:gd name="connsiteX59" fmla="*/ 225342 w 605246"/>
              <a:gd name="connsiteY59" fmla="*/ 0 h 110081"/>
              <a:gd name="connsiteX60" fmla="*/ 247938 w 605246"/>
              <a:gd name="connsiteY60" fmla="*/ 5538 h 110081"/>
              <a:gd name="connsiteX61" fmla="*/ 247938 w 605246"/>
              <a:gd name="connsiteY61" fmla="*/ 18855 h 110081"/>
              <a:gd name="connsiteX62" fmla="*/ 225342 w 605246"/>
              <a:gd name="connsiteY62" fmla="*/ 12259 h 110081"/>
              <a:gd name="connsiteX63" fmla="*/ 209842 w 605246"/>
              <a:gd name="connsiteY63" fmla="*/ 17361 h 110081"/>
              <a:gd name="connsiteX64" fmla="*/ 199944 w 605246"/>
              <a:gd name="connsiteY64" fmla="*/ 31238 h 110081"/>
              <a:gd name="connsiteX65" fmla="*/ 195773 w 605246"/>
              <a:gd name="connsiteY65" fmla="*/ 50778 h 110081"/>
              <a:gd name="connsiteX66" fmla="*/ 207165 w 605246"/>
              <a:gd name="connsiteY66" fmla="*/ 40759 h 110081"/>
              <a:gd name="connsiteX67" fmla="*/ 221171 w 605246"/>
              <a:gd name="connsiteY67" fmla="*/ 37523 h 110081"/>
              <a:gd name="connsiteX68" fmla="*/ 238538 w 605246"/>
              <a:gd name="connsiteY68" fmla="*/ 41693 h 110081"/>
              <a:gd name="connsiteX69" fmla="*/ 250739 w 605246"/>
              <a:gd name="connsiteY69" fmla="*/ 53952 h 110081"/>
              <a:gd name="connsiteX70" fmla="*/ 255408 w 605246"/>
              <a:gd name="connsiteY70" fmla="*/ 73491 h 110081"/>
              <a:gd name="connsiteX71" fmla="*/ 219365 w 605246"/>
              <a:gd name="connsiteY71" fmla="*/ 98134 h 110081"/>
              <a:gd name="connsiteX72" fmla="*/ 230135 w 605246"/>
              <a:gd name="connsiteY72" fmla="*/ 95458 h 110081"/>
              <a:gd name="connsiteX73" fmla="*/ 238040 w 605246"/>
              <a:gd name="connsiteY73" fmla="*/ 87244 h 110081"/>
              <a:gd name="connsiteX74" fmla="*/ 241215 w 605246"/>
              <a:gd name="connsiteY74" fmla="*/ 73803 h 110081"/>
              <a:gd name="connsiteX75" fmla="*/ 238227 w 605246"/>
              <a:gd name="connsiteY75" fmla="*/ 60174 h 110081"/>
              <a:gd name="connsiteX76" fmla="*/ 230570 w 605246"/>
              <a:gd name="connsiteY76" fmla="*/ 51961 h 110081"/>
              <a:gd name="connsiteX77" fmla="*/ 220859 w 605246"/>
              <a:gd name="connsiteY77" fmla="*/ 49160 h 110081"/>
              <a:gd name="connsiteX78" fmla="*/ 204301 w 605246"/>
              <a:gd name="connsiteY78" fmla="*/ 55570 h 110081"/>
              <a:gd name="connsiteX79" fmla="*/ 197703 w 605246"/>
              <a:gd name="connsiteY79" fmla="*/ 74114 h 110081"/>
              <a:gd name="connsiteX80" fmla="*/ 203555 w 605246"/>
              <a:gd name="connsiteY80" fmla="*/ 91538 h 110081"/>
              <a:gd name="connsiteX81" fmla="*/ 219365 w 605246"/>
              <a:gd name="connsiteY81" fmla="*/ 98134 h 110081"/>
              <a:gd name="connsiteX82" fmla="*/ 300912 w 605246"/>
              <a:gd name="connsiteY82" fmla="*/ 110082 h 110081"/>
              <a:gd name="connsiteX83" fmla="*/ 282735 w 605246"/>
              <a:gd name="connsiteY83" fmla="*/ 104233 h 110081"/>
              <a:gd name="connsiteX84" fmla="*/ 270036 w 605246"/>
              <a:gd name="connsiteY84" fmla="*/ 86311 h 110081"/>
              <a:gd name="connsiteX85" fmla="*/ 265554 w 605246"/>
              <a:gd name="connsiteY85" fmla="*/ 54947 h 110081"/>
              <a:gd name="connsiteX86" fmla="*/ 270036 w 605246"/>
              <a:gd name="connsiteY86" fmla="*/ 23584 h 110081"/>
              <a:gd name="connsiteX87" fmla="*/ 282735 w 605246"/>
              <a:gd name="connsiteY87" fmla="*/ 5849 h 110081"/>
              <a:gd name="connsiteX88" fmla="*/ 300912 w 605246"/>
              <a:gd name="connsiteY88" fmla="*/ 186 h 110081"/>
              <a:gd name="connsiteX89" fmla="*/ 319026 w 605246"/>
              <a:gd name="connsiteY89" fmla="*/ 5849 h 110081"/>
              <a:gd name="connsiteX90" fmla="*/ 331413 w 605246"/>
              <a:gd name="connsiteY90" fmla="*/ 23584 h 110081"/>
              <a:gd name="connsiteX91" fmla="*/ 335896 w 605246"/>
              <a:gd name="connsiteY91" fmla="*/ 54698 h 110081"/>
              <a:gd name="connsiteX92" fmla="*/ 331413 w 605246"/>
              <a:gd name="connsiteY92" fmla="*/ 86062 h 110081"/>
              <a:gd name="connsiteX93" fmla="*/ 319026 w 605246"/>
              <a:gd name="connsiteY93" fmla="*/ 104233 h 110081"/>
              <a:gd name="connsiteX94" fmla="*/ 300912 w 605246"/>
              <a:gd name="connsiteY94" fmla="*/ 110082 h 110081"/>
              <a:gd name="connsiteX95" fmla="*/ 300787 w 605246"/>
              <a:gd name="connsiteY95" fmla="*/ 98258 h 110081"/>
              <a:gd name="connsiteX96" fmla="*/ 312116 w 605246"/>
              <a:gd name="connsiteY96" fmla="*/ 94275 h 110081"/>
              <a:gd name="connsiteX97" fmla="*/ 319337 w 605246"/>
              <a:gd name="connsiteY97" fmla="*/ 80648 h 110081"/>
              <a:gd name="connsiteX98" fmla="*/ 321828 w 605246"/>
              <a:gd name="connsiteY98" fmla="*/ 55134 h 110081"/>
              <a:gd name="connsiteX99" fmla="*/ 319462 w 605246"/>
              <a:gd name="connsiteY99" fmla="*/ 29745 h 110081"/>
              <a:gd name="connsiteX100" fmla="*/ 312303 w 605246"/>
              <a:gd name="connsiteY100" fmla="*/ 16117 h 110081"/>
              <a:gd name="connsiteX101" fmla="*/ 300912 w 605246"/>
              <a:gd name="connsiteY101" fmla="*/ 11947 h 110081"/>
              <a:gd name="connsiteX102" fmla="*/ 289458 w 605246"/>
              <a:gd name="connsiteY102" fmla="*/ 16117 h 110081"/>
              <a:gd name="connsiteX103" fmla="*/ 282113 w 605246"/>
              <a:gd name="connsiteY103" fmla="*/ 29745 h 110081"/>
              <a:gd name="connsiteX104" fmla="*/ 279560 w 605246"/>
              <a:gd name="connsiteY104" fmla="*/ 55134 h 110081"/>
              <a:gd name="connsiteX105" fmla="*/ 281988 w 605246"/>
              <a:gd name="connsiteY105" fmla="*/ 80648 h 110081"/>
              <a:gd name="connsiteX106" fmla="*/ 289271 w 605246"/>
              <a:gd name="connsiteY106" fmla="*/ 94275 h 110081"/>
              <a:gd name="connsiteX107" fmla="*/ 300787 w 605246"/>
              <a:gd name="connsiteY107" fmla="*/ 98258 h 110081"/>
              <a:gd name="connsiteX108" fmla="*/ 383080 w 605246"/>
              <a:gd name="connsiteY108" fmla="*/ 110082 h 110081"/>
              <a:gd name="connsiteX109" fmla="*/ 364841 w 605246"/>
              <a:gd name="connsiteY109" fmla="*/ 104233 h 110081"/>
              <a:gd name="connsiteX110" fmla="*/ 352143 w 605246"/>
              <a:gd name="connsiteY110" fmla="*/ 86311 h 110081"/>
              <a:gd name="connsiteX111" fmla="*/ 347661 w 605246"/>
              <a:gd name="connsiteY111" fmla="*/ 54947 h 110081"/>
              <a:gd name="connsiteX112" fmla="*/ 352143 w 605246"/>
              <a:gd name="connsiteY112" fmla="*/ 23584 h 110081"/>
              <a:gd name="connsiteX113" fmla="*/ 364841 w 605246"/>
              <a:gd name="connsiteY113" fmla="*/ 5849 h 110081"/>
              <a:gd name="connsiteX114" fmla="*/ 383080 w 605246"/>
              <a:gd name="connsiteY114" fmla="*/ 186 h 110081"/>
              <a:gd name="connsiteX115" fmla="*/ 401133 w 605246"/>
              <a:gd name="connsiteY115" fmla="*/ 5849 h 110081"/>
              <a:gd name="connsiteX116" fmla="*/ 413582 w 605246"/>
              <a:gd name="connsiteY116" fmla="*/ 23584 h 110081"/>
              <a:gd name="connsiteX117" fmla="*/ 418064 w 605246"/>
              <a:gd name="connsiteY117" fmla="*/ 54698 h 110081"/>
              <a:gd name="connsiteX118" fmla="*/ 413582 w 605246"/>
              <a:gd name="connsiteY118" fmla="*/ 86062 h 110081"/>
              <a:gd name="connsiteX119" fmla="*/ 401133 w 605246"/>
              <a:gd name="connsiteY119" fmla="*/ 104233 h 110081"/>
              <a:gd name="connsiteX120" fmla="*/ 383080 w 605246"/>
              <a:gd name="connsiteY120" fmla="*/ 110082 h 110081"/>
              <a:gd name="connsiteX121" fmla="*/ 382956 w 605246"/>
              <a:gd name="connsiteY121" fmla="*/ 98258 h 110081"/>
              <a:gd name="connsiteX122" fmla="*/ 394285 w 605246"/>
              <a:gd name="connsiteY122" fmla="*/ 94275 h 110081"/>
              <a:gd name="connsiteX123" fmla="*/ 401443 w 605246"/>
              <a:gd name="connsiteY123" fmla="*/ 80648 h 110081"/>
              <a:gd name="connsiteX124" fmla="*/ 403996 w 605246"/>
              <a:gd name="connsiteY124" fmla="*/ 55134 h 110081"/>
              <a:gd name="connsiteX125" fmla="*/ 401630 w 605246"/>
              <a:gd name="connsiteY125" fmla="*/ 29745 h 110081"/>
              <a:gd name="connsiteX126" fmla="*/ 394409 w 605246"/>
              <a:gd name="connsiteY126" fmla="*/ 16117 h 110081"/>
              <a:gd name="connsiteX127" fmla="*/ 383080 w 605246"/>
              <a:gd name="connsiteY127" fmla="*/ 11947 h 110081"/>
              <a:gd name="connsiteX128" fmla="*/ 371564 w 605246"/>
              <a:gd name="connsiteY128" fmla="*/ 16117 h 110081"/>
              <a:gd name="connsiteX129" fmla="*/ 364281 w 605246"/>
              <a:gd name="connsiteY129" fmla="*/ 29745 h 110081"/>
              <a:gd name="connsiteX130" fmla="*/ 361729 w 605246"/>
              <a:gd name="connsiteY130" fmla="*/ 55134 h 110081"/>
              <a:gd name="connsiteX131" fmla="*/ 364094 w 605246"/>
              <a:gd name="connsiteY131" fmla="*/ 80648 h 110081"/>
              <a:gd name="connsiteX132" fmla="*/ 371440 w 605246"/>
              <a:gd name="connsiteY132" fmla="*/ 94275 h 110081"/>
              <a:gd name="connsiteX133" fmla="*/ 382956 w 605246"/>
              <a:gd name="connsiteY133" fmla="*/ 98258 h 110081"/>
              <a:gd name="connsiteX134" fmla="*/ 524199 w 605246"/>
              <a:gd name="connsiteY134" fmla="*/ 108588 h 110081"/>
              <a:gd name="connsiteX135" fmla="*/ 509259 w 605246"/>
              <a:gd name="connsiteY135" fmla="*/ 108588 h 110081"/>
              <a:gd name="connsiteX136" fmla="*/ 498241 w 605246"/>
              <a:gd name="connsiteY136" fmla="*/ 77972 h 110081"/>
              <a:gd name="connsiteX137" fmla="*/ 450869 w 605246"/>
              <a:gd name="connsiteY137" fmla="*/ 77972 h 110081"/>
              <a:gd name="connsiteX138" fmla="*/ 439976 w 605246"/>
              <a:gd name="connsiteY138" fmla="*/ 108588 h 110081"/>
              <a:gd name="connsiteX139" fmla="*/ 426841 w 605246"/>
              <a:gd name="connsiteY139" fmla="*/ 108588 h 110081"/>
              <a:gd name="connsiteX140" fmla="*/ 464938 w 605246"/>
              <a:gd name="connsiteY140" fmla="*/ 1493 h 110081"/>
              <a:gd name="connsiteX141" fmla="*/ 485853 w 605246"/>
              <a:gd name="connsiteY141" fmla="*/ 1493 h 110081"/>
              <a:gd name="connsiteX142" fmla="*/ 524199 w 605246"/>
              <a:gd name="connsiteY142" fmla="*/ 108588 h 110081"/>
              <a:gd name="connsiteX143" fmla="*/ 455476 w 605246"/>
              <a:gd name="connsiteY143" fmla="*/ 65278 h 110081"/>
              <a:gd name="connsiteX144" fmla="*/ 493759 w 605246"/>
              <a:gd name="connsiteY144" fmla="*/ 65278 h 110081"/>
              <a:gd name="connsiteX145" fmla="*/ 474648 w 605246"/>
              <a:gd name="connsiteY145" fmla="*/ 11947 h 110081"/>
              <a:gd name="connsiteX146" fmla="*/ 455476 w 605246"/>
              <a:gd name="connsiteY146" fmla="*/ 65278 h 110081"/>
              <a:gd name="connsiteX147" fmla="*/ 539823 w 605246"/>
              <a:gd name="connsiteY147" fmla="*/ 1493 h 110081"/>
              <a:gd name="connsiteX148" fmla="*/ 605246 w 605246"/>
              <a:gd name="connsiteY148" fmla="*/ 1493 h 110081"/>
              <a:gd name="connsiteX149" fmla="*/ 605246 w 605246"/>
              <a:gd name="connsiteY149" fmla="*/ 14374 h 110081"/>
              <a:gd name="connsiteX150" fmla="*/ 553891 w 605246"/>
              <a:gd name="connsiteY150" fmla="*/ 14374 h 110081"/>
              <a:gd name="connsiteX151" fmla="*/ 553891 w 605246"/>
              <a:gd name="connsiteY151" fmla="*/ 49907 h 110081"/>
              <a:gd name="connsiteX152" fmla="*/ 597465 w 605246"/>
              <a:gd name="connsiteY152" fmla="*/ 49907 h 110081"/>
              <a:gd name="connsiteX153" fmla="*/ 597465 w 605246"/>
              <a:gd name="connsiteY153" fmla="*/ 62601 h 110081"/>
              <a:gd name="connsiteX154" fmla="*/ 553891 w 605246"/>
              <a:gd name="connsiteY154" fmla="*/ 62601 h 110081"/>
              <a:gd name="connsiteX155" fmla="*/ 553891 w 605246"/>
              <a:gd name="connsiteY155" fmla="*/ 108588 h 110081"/>
              <a:gd name="connsiteX156" fmla="*/ 539823 w 605246"/>
              <a:gd name="connsiteY156" fmla="*/ 108588 h 110081"/>
              <a:gd name="connsiteX157" fmla="*/ 539823 w 605246"/>
              <a:gd name="connsiteY157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60524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8797" y="108588"/>
                </a:moveTo>
                <a:lnTo>
                  <a:pt x="145600" y="108588"/>
                </a:lnTo>
                <a:lnTo>
                  <a:pt x="145600" y="83199"/>
                </a:lnTo>
                <a:lnTo>
                  <a:pt x="99288" y="83199"/>
                </a:lnTo>
                <a:lnTo>
                  <a:pt x="99288" y="73927"/>
                </a:lnTo>
                <a:lnTo>
                  <a:pt x="141119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0" y="71873"/>
                </a:lnTo>
                <a:lnTo>
                  <a:pt x="145600" y="16117"/>
                </a:lnTo>
                <a:lnTo>
                  <a:pt x="112920" y="71873"/>
                </a:lnTo>
                <a:close/>
                <a:moveTo>
                  <a:pt x="255408" y="73491"/>
                </a:moveTo>
                <a:cubicBezTo>
                  <a:pt x="255408" y="80772"/>
                  <a:pt x="253789" y="87182"/>
                  <a:pt x="250614" y="92782"/>
                </a:cubicBezTo>
                <a:cubicBezTo>
                  <a:pt x="247502" y="98258"/>
                  <a:pt x="243269" y="102490"/>
                  <a:pt x="237916" y="105601"/>
                </a:cubicBezTo>
                <a:cubicBezTo>
                  <a:pt x="232562" y="108588"/>
                  <a:pt x="226524" y="110082"/>
                  <a:pt x="219864" y="110082"/>
                </a:cubicBezTo>
                <a:cubicBezTo>
                  <a:pt x="210899" y="110082"/>
                  <a:pt x="203679" y="108091"/>
                  <a:pt x="198201" y="104108"/>
                </a:cubicBezTo>
                <a:cubicBezTo>
                  <a:pt x="192723" y="100125"/>
                  <a:pt x="188677" y="94587"/>
                  <a:pt x="186062" y="87555"/>
                </a:cubicBezTo>
                <a:cubicBezTo>
                  <a:pt x="183572" y="80461"/>
                  <a:pt x="182327" y="72372"/>
                  <a:pt x="182327" y="63161"/>
                </a:cubicBezTo>
                <a:cubicBezTo>
                  <a:pt x="182327" y="50653"/>
                  <a:pt x="183821" y="39639"/>
                  <a:pt x="186809" y="30181"/>
                </a:cubicBezTo>
                <a:cubicBezTo>
                  <a:pt x="189922" y="20722"/>
                  <a:pt x="194590" y="13379"/>
                  <a:pt x="200877" y="8089"/>
                </a:cubicBezTo>
                <a:cubicBezTo>
                  <a:pt x="207227" y="2675"/>
                  <a:pt x="215382" y="0"/>
                  <a:pt x="225342" y="0"/>
                </a:cubicBezTo>
                <a:cubicBezTo>
                  <a:pt x="233932" y="0"/>
                  <a:pt x="241464" y="1866"/>
                  <a:pt x="247938" y="5538"/>
                </a:cubicBezTo>
                <a:lnTo>
                  <a:pt x="247938" y="18855"/>
                </a:lnTo>
                <a:cubicBezTo>
                  <a:pt x="241464" y="14437"/>
                  <a:pt x="233932" y="12259"/>
                  <a:pt x="225342" y="12259"/>
                </a:cubicBezTo>
                <a:cubicBezTo>
                  <a:pt x="219179" y="12259"/>
                  <a:pt x="214012" y="13939"/>
                  <a:pt x="209842" y="17361"/>
                </a:cubicBezTo>
                <a:cubicBezTo>
                  <a:pt x="205671" y="20722"/>
                  <a:pt x="202371" y="25327"/>
                  <a:pt x="199944" y="31238"/>
                </a:cubicBezTo>
                <a:cubicBezTo>
                  <a:pt x="197703" y="37026"/>
                  <a:pt x="196271" y="43498"/>
                  <a:pt x="195773" y="50778"/>
                </a:cubicBezTo>
                <a:cubicBezTo>
                  <a:pt x="199072" y="46298"/>
                  <a:pt x="202870" y="42999"/>
                  <a:pt x="207165" y="40759"/>
                </a:cubicBezTo>
                <a:cubicBezTo>
                  <a:pt x="211398" y="38581"/>
                  <a:pt x="216129" y="37523"/>
                  <a:pt x="221171" y="37523"/>
                </a:cubicBezTo>
                <a:cubicBezTo>
                  <a:pt x="227645" y="37523"/>
                  <a:pt x="233434" y="38893"/>
                  <a:pt x="238538" y="41693"/>
                </a:cubicBezTo>
                <a:cubicBezTo>
                  <a:pt x="243705" y="44493"/>
                  <a:pt x="247751" y="48538"/>
                  <a:pt x="250739" y="53952"/>
                </a:cubicBezTo>
                <a:cubicBezTo>
                  <a:pt x="253851" y="59179"/>
                  <a:pt x="255408" y="65713"/>
                  <a:pt x="255408" y="73491"/>
                </a:cubicBezTo>
                <a:close/>
                <a:moveTo>
                  <a:pt x="219365" y="98134"/>
                </a:moveTo>
                <a:cubicBezTo>
                  <a:pt x="223287" y="98134"/>
                  <a:pt x="226836" y="97263"/>
                  <a:pt x="230135" y="95458"/>
                </a:cubicBezTo>
                <a:cubicBezTo>
                  <a:pt x="233434" y="93529"/>
                  <a:pt x="236048" y="90791"/>
                  <a:pt x="238040" y="87244"/>
                </a:cubicBezTo>
                <a:cubicBezTo>
                  <a:pt x="240157" y="83635"/>
                  <a:pt x="241215" y="79154"/>
                  <a:pt x="241215" y="73803"/>
                </a:cubicBezTo>
                <a:cubicBezTo>
                  <a:pt x="241215" y="68389"/>
                  <a:pt x="240219" y="63908"/>
                  <a:pt x="238227" y="60174"/>
                </a:cubicBezTo>
                <a:cubicBezTo>
                  <a:pt x="236235" y="56503"/>
                  <a:pt x="233683" y="53765"/>
                  <a:pt x="230570" y="51961"/>
                </a:cubicBezTo>
                <a:cubicBezTo>
                  <a:pt x="227520" y="50093"/>
                  <a:pt x="224283" y="49160"/>
                  <a:pt x="220859" y="49160"/>
                </a:cubicBezTo>
                <a:cubicBezTo>
                  <a:pt x="214323" y="49160"/>
                  <a:pt x="208783" y="51276"/>
                  <a:pt x="204301" y="55570"/>
                </a:cubicBezTo>
                <a:cubicBezTo>
                  <a:pt x="199944" y="59739"/>
                  <a:pt x="197703" y="65900"/>
                  <a:pt x="197703" y="74114"/>
                </a:cubicBezTo>
                <a:cubicBezTo>
                  <a:pt x="197703" y="81270"/>
                  <a:pt x="199695" y="87058"/>
                  <a:pt x="203555" y="91538"/>
                </a:cubicBezTo>
                <a:cubicBezTo>
                  <a:pt x="207414" y="95956"/>
                  <a:pt x="212705" y="98134"/>
                  <a:pt x="219365" y="98134"/>
                </a:cubicBez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524199" y="108588"/>
                </a:moveTo>
                <a:lnTo>
                  <a:pt x="509259" y="108588"/>
                </a:lnTo>
                <a:lnTo>
                  <a:pt x="498241" y="77972"/>
                </a:lnTo>
                <a:lnTo>
                  <a:pt x="450869" y="77972"/>
                </a:lnTo>
                <a:lnTo>
                  <a:pt x="439976" y="108588"/>
                </a:lnTo>
                <a:lnTo>
                  <a:pt x="426841" y="108588"/>
                </a:lnTo>
                <a:lnTo>
                  <a:pt x="464938" y="1493"/>
                </a:lnTo>
                <a:lnTo>
                  <a:pt x="485853" y="1493"/>
                </a:lnTo>
                <a:lnTo>
                  <a:pt x="524199" y="108588"/>
                </a:lnTo>
                <a:close/>
                <a:moveTo>
                  <a:pt x="455476" y="65278"/>
                </a:moveTo>
                <a:lnTo>
                  <a:pt x="493759" y="65278"/>
                </a:lnTo>
                <a:lnTo>
                  <a:pt x="474648" y="11947"/>
                </a:lnTo>
                <a:lnTo>
                  <a:pt x="455476" y="65278"/>
                </a:lnTo>
                <a:close/>
                <a:moveTo>
                  <a:pt x="539823" y="1493"/>
                </a:moveTo>
                <a:lnTo>
                  <a:pt x="605246" y="1493"/>
                </a:lnTo>
                <a:lnTo>
                  <a:pt x="605246" y="14374"/>
                </a:lnTo>
                <a:lnTo>
                  <a:pt x="553891" y="14374"/>
                </a:lnTo>
                <a:lnTo>
                  <a:pt x="553891" y="49907"/>
                </a:lnTo>
                <a:lnTo>
                  <a:pt x="597465" y="49907"/>
                </a:lnTo>
                <a:lnTo>
                  <a:pt x="597465" y="62601"/>
                </a:lnTo>
                <a:lnTo>
                  <a:pt x="553891" y="62601"/>
                </a:lnTo>
                <a:lnTo>
                  <a:pt x="553891" y="108588"/>
                </a:lnTo>
                <a:lnTo>
                  <a:pt x="539823" y="108588"/>
                </a:lnTo>
                <a:lnTo>
                  <a:pt x="53982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2" name="Полилиния 911">
            <a:extLst>
              <a:ext uri="{FF2B5EF4-FFF2-40B4-BE49-F238E27FC236}">
                <a16:creationId xmlns:a16="http://schemas.microsoft.com/office/drawing/2014/main" id="{1DC8A5A3-4D04-E793-1763-8994B77373DC}"/>
              </a:ext>
            </a:extLst>
          </p:cNvPr>
          <p:cNvSpPr/>
          <p:nvPr userDrawn="1"/>
        </p:nvSpPr>
        <p:spPr>
          <a:xfrm>
            <a:off x="4142452" y="5966300"/>
            <a:ext cx="2557159" cy="726227"/>
          </a:xfrm>
          <a:custGeom>
            <a:avLst/>
            <a:gdLst>
              <a:gd name="connsiteX0" fmla="*/ 1860 w 2191162"/>
              <a:gd name="connsiteY0" fmla="*/ 1322 h 622284"/>
              <a:gd name="connsiteX1" fmla="*/ 2193023 w 2191162"/>
              <a:gd name="connsiteY1" fmla="*/ 1322 h 622284"/>
              <a:gd name="connsiteX2" fmla="*/ 2193023 w 2191162"/>
              <a:gd name="connsiteY2" fmla="*/ 623606 h 622284"/>
              <a:gd name="connsiteX3" fmla="*/ 1860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322"/>
                </a:moveTo>
                <a:lnTo>
                  <a:pt x="2193023" y="1322"/>
                </a:lnTo>
                <a:lnTo>
                  <a:pt x="2193023" y="623606"/>
                </a:lnTo>
                <a:lnTo>
                  <a:pt x="1860" y="623606"/>
                </a:lnTo>
                <a:close/>
              </a:path>
            </a:pathLst>
          </a:custGeom>
          <a:solidFill>
            <a:srgbClr val="5A00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3" name="Полилиния 912">
            <a:extLst>
              <a:ext uri="{FF2B5EF4-FFF2-40B4-BE49-F238E27FC236}">
                <a16:creationId xmlns:a16="http://schemas.microsoft.com/office/drawing/2014/main" id="{24F903E7-87AB-38D1-9D0D-D467F9A6F166}"/>
              </a:ext>
            </a:extLst>
          </p:cNvPr>
          <p:cNvSpPr/>
          <p:nvPr userDrawn="1"/>
        </p:nvSpPr>
        <p:spPr>
          <a:xfrm>
            <a:off x="4265660" y="6268047"/>
            <a:ext cx="730826" cy="128468"/>
          </a:xfrm>
          <a:custGeom>
            <a:avLst/>
            <a:gdLst>
              <a:gd name="connsiteX0" fmla="*/ 22099 w 626225"/>
              <a:gd name="connsiteY0" fmla="*/ 108588 h 110081"/>
              <a:gd name="connsiteX1" fmla="*/ 10147 w 626225"/>
              <a:gd name="connsiteY1" fmla="*/ 108588 h 110081"/>
              <a:gd name="connsiteX2" fmla="*/ 16434 w 626225"/>
              <a:gd name="connsiteY2" fmla="*/ 77661 h 110081"/>
              <a:gd name="connsiteX3" fmla="*/ 0 w 626225"/>
              <a:gd name="connsiteY3" fmla="*/ 77661 h 110081"/>
              <a:gd name="connsiteX4" fmla="*/ 0 w 626225"/>
              <a:gd name="connsiteY4" fmla="*/ 67206 h 110081"/>
              <a:gd name="connsiteX5" fmla="*/ 18675 w 626225"/>
              <a:gd name="connsiteY5" fmla="*/ 67206 h 110081"/>
              <a:gd name="connsiteX6" fmla="*/ 24215 w 626225"/>
              <a:gd name="connsiteY6" fmla="*/ 40012 h 110081"/>
              <a:gd name="connsiteX7" fmla="*/ 4046 w 626225"/>
              <a:gd name="connsiteY7" fmla="*/ 40012 h 110081"/>
              <a:gd name="connsiteX8" fmla="*/ 4046 w 626225"/>
              <a:gd name="connsiteY8" fmla="*/ 29559 h 110081"/>
              <a:gd name="connsiteX9" fmla="*/ 26270 w 626225"/>
              <a:gd name="connsiteY9" fmla="*/ 29559 h 110081"/>
              <a:gd name="connsiteX10" fmla="*/ 32121 w 626225"/>
              <a:gd name="connsiteY10" fmla="*/ 1493 h 110081"/>
              <a:gd name="connsiteX11" fmla="*/ 44073 w 626225"/>
              <a:gd name="connsiteY11" fmla="*/ 1493 h 110081"/>
              <a:gd name="connsiteX12" fmla="*/ 38221 w 626225"/>
              <a:gd name="connsiteY12" fmla="*/ 29559 h 110081"/>
              <a:gd name="connsiteX13" fmla="*/ 60630 w 626225"/>
              <a:gd name="connsiteY13" fmla="*/ 29559 h 110081"/>
              <a:gd name="connsiteX14" fmla="*/ 66482 w 626225"/>
              <a:gd name="connsiteY14" fmla="*/ 1493 h 110081"/>
              <a:gd name="connsiteX15" fmla="*/ 78434 w 626225"/>
              <a:gd name="connsiteY15" fmla="*/ 1493 h 110081"/>
              <a:gd name="connsiteX16" fmla="*/ 72582 w 626225"/>
              <a:gd name="connsiteY16" fmla="*/ 29559 h 110081"/>
              <a:gd name="connsiteX17" fmla="*/ 89328 w 626225"/>
              <a:gd name="connsiteY17" fmla="*/ 29559 h 110081"/>
              <a:gd name="connsiteX18" fmla="*/ 89328 w 626225"/>
              <a:gd name="connsiteY18" fmla="*/ 40012 h 110081"/>
              <a:gd name="connsiteX19" fmla="*/ 70529 w 626225"/>
              <a:gd name="connsiteY19" fmla="*/ 40012 h 110081"/>
              <a:gd name="connsiteX20" fmla="*/ 64988 w 626225"/>
              <a:gd name="connsiteY20" fmla="*/ 67206 h 110081"/>
              <a:gd name="connsiteX21" fmla="*/ 85282 w 626225"/>
              <a:gd name="connsiteY21" fmla="*/ 67206 h 110081"/>
              <a:gd name="connsiteX22" fmla="*/ 85282 w 626225"/>
              <a:gd name="connsiteY22" fmla="*/ 77661 h 110081"/>
              <a:gd name="connsiteX23" fmla="*/ 62747 w 626225"/>
              <a:gd name="connsiteY23" fmla="*/ 77661 h 110081"/>
              <a:gd name="connsiteX24" fmla="*/ 56460 w 626225"/>
              <a:gd name="connsiteY24" fmla="*/ 108588 h 110081"/>
              <a:gd name="connsiteX25" fmla="*/ 44508 w 626225"/>
              <a:gd name="connsiteY25" fmla="*/ 108588 h 110081"/>
              <a:gd name="connsiteX26" fmla="*/ 50795 w 626225"/>
              <a:gd name="connsiteY26" fmla="*/ 77661 h 110081"/>
              <a:gd name="connsiteX27" fmla="*/ 28386 w 626225"/>
              <a:gd name="connsiteY27" fmla="*/ 77661 h 110081"/>
              <a:gd name="connsiteX28" fmla="*/ 22099 w 626225"/>
              <a:gd name="connsiteY28" fmla="*/ 108588 h 110081"/>
              <a:gd name="connsiteX29" fmla="*/ 30627 w 626225"/>
              <a:gd name="connsiteY29" fmla="*/ 67206 h 110081"/>
              <a:gd name="connsiteX30" fmla="*/ 53036 w 626225"/>
              <a:gd name="connsiteY30" fmla="*/ 67206 h 110081"/>
              <a:gd name="connsiteX31" fmla="*/ 58576 w 626225"/>
              <a:gd name="connsiteY31" fmla="*/ 40012 h 110081"/>
              <a:gd name="connsiteX32" fmla="*/ 36167 w 626225"/>
              <a:gd name="connsiteY32" fmla="*/ 40012 h 110081"/>
              <a:gd name="connsiteX33" fmla="*/ 30627 w 626225"/>
              <a:gd name="connsiteY33" fmla="*/ 67206 h 110081"/>
              <a:gd name="connsiteX34" fmla="*/ 131719 w 626225"/>
              <a:gd name="connsiteY34" fmla="*/ 110082 h 110081"/>
              <a:gd name="connsiteX35" fmla="*/ 103209 w 626225"/>
              <a:gd name="connsiteY35" fmla="*/ 102490 h 110081"/>
              <a:gd name="connsiteX36" fmla="*/ 103209 w 626225"/>
              <a:gd name="connsiteY36" fmla="*/ 87804 h 110081"/>
              <a:gd name="connsiteX37" fmla="*/ 116344 w 626225"/>
              <a:gd name="connsiteY37" fmla="*/ 95458 h 110081"/>
              <a:gd name="connsiteX38" fmla="*/ 131719 w 626225"/>
              <a:gd name="connsiteY38" fmla="*/ 97823 h 110081"/>
              <a:gd name="connsiteX39" fmla="*/ 148775 w 626225"/>
              <a:gd name="connsiteY39" fmla="*/ 91102 h 110081"/>
              <a:gd name="connsiteX40" fmla="*/ 154875 w 626225"/>
              <a:gd name="connsiteY40" fmla="*/ 73491 h 110081"/>
              <a:gd name="connsiteX41" fmla="*/ 148900 w 626225"/>
              <a:gd name="connsiteY41" fmla="*/ 56441 h 110081"/>
              <a:gd name="connsiteX42" fmla="*/ 133835 w 626225"/>
              <a:gd name="connsiteY42" fmla="*/ 51089 h 110081"/>
              <a:gd name="connsiteX43" fmla="*/ 123191 w 626225"/>
              <a:gd name="connsiteY43" fmla="*/ 53329 h 110081"/>
              <a:gd name="connsiteX44" fmla="*/ 117091 w 626225"/>
              <a:gd name="connsiteY44" fmla="*/ 57810 h 110081"/>
              <a:gd name="connsiteX45" fmla="*/ 106197 w 626225"/>
              <a:gd name="connsiteY45" fmla="*/ 57810 h 110081"/>
              <a:gd name="connsiteX46" fmla="*/ 106197 w 626225"/>
              <a:gd name="connsiteY46" fmla="*/ 1493 h 110081"/>
              <a:gd name="connsiteX47" fmla="*/ 164150 w 626225"/>
              <a:gd name="connsiteY47" fmla="*/ 1493 h 110081"/>
              <a:gd name="connsiteX48" fmla="*/ 164150 w 626225"/>
              <a:gd name="connsiteY48" fmla="*/ 14374 h 110081"/>
              <a:gd name="connsiteX49" fmla="*/ 118460 w 626225"/>
              <a:gd name="connsiteY49" fmla="*/ 14374 h 110081"/>
              <a:gd name="connsiteX50" fmla="*/ 118460 w 626225"/>
              <a:gd name="connsiteY50" fmla="*/ 44991 h 110081"/>
              <a:gd name="connsiteX51" fmla="*/ 125743 w 626225"/>
              <a:gd name="connsiteY51" fmla="*/ 41071 h 110081"/>
              <a:gd name="connsiteX52" fmla="*/ 136076 w 626225"/>
              <a:gd name="connsiteY52" fmla="*/ 39266 h 110081"/>
              <a:gd name="connsiteX53" fmla="*/ 152821 w 626225"/>
              <a:gd name="connsiteY53" fmla="*/ 43186 h 110081"/>
              <a:gd name="connsiteX54" fmla="*/ 164587 w 626225"/>
              <a:gd name="connsiteY54" fmla="*/ 54512 h 110081"/>
              <a:gd name="connsiteX55" fmla="*/ 169068 w 626225"/>
              <a:gd name="connsiteY55" fmla="*/ 73181 h 110081"/>
              <a:gd name="connsiteX56" fmla="*/ 164462 w 626225"/>
              <a:gd name="connsiteY56" fmla="*/ 92596 h 110081"/>
              <a:gd name="connsiteX57" fmla="*/ 151577 w 626225"/>
              <a:gd name="connsiteY57" fmla="*/ 105601 h 110081"/>
              <a:gd name="connsiteX58" fmla="*/ 131719 w 626225"/>
              <a:gd name="connsiteY58" fmla="*/ 110082 h 110081"/>
              <a:gd name="connsiteX59" fmla="*/ 277817 w 626225"/>
              <a:gd name="connsiteY59" fmla="*/ 108588 h 110081"/>
              <a:gd name="connsiteX60" fmla="*/ 262877 w 626225"/>
              <a:gd name="connsiteY60" fmla="*/ 108588 h 110081"/>
              <a:gd name="connsiteX61" fmla="*/ 251797 w 626225"/>
              <a:gd name="connsiteY61" fmla="*/ 77972 h 110081"/>
              <a:gd name="connsiteX62" fmla="*/ 204426 w 626225"/>
              <a:gd name="connsiteY62" fmla="*/ 77972 h 110081"/>
              <a:gd name="connsiteX63" fmla="*/ 193533 w 626225"/>
              <a:gd name="connsiteY63" fmla="*/ 108588 h 110081"/>
              <a:gd name="connsiteX64" fmla="*/ 180397 w 626225"/>
              <a:gd name="connsiteY64" fmla="*/ 108588 h 110081"/>
              <a:gd name="connsiteX65" fmla="*/ 218494 w 626225"/>
              <a:gd name="connsiteY65" fmla="*/ 1493 h 110081"/>
              <a:gd name="connsiteX66" fmla="*/ 239410 w 626225"/>
              <a:gd name="connsiteY66" fmla="*/ 1493 h 110081"/>
              <a:gd name="connsiteX67" fmla="*/ 277817 w 626225"/>
              <a:gd name="connsiteY67" fmla="*/ 108588 h 110081"/>
              <a:gd name="connsiteX68" fmla="*/ 209095 w 626225"/>
              <a:gd name="connsiteY68" fmla="*/ 65278 h 110081"/>
              <a:gd name="connsiteX69" fmla="*/ 247315 w 626225"/>
              <a:gd name="connsiteY69" fmla="*/ 65278 h 110081"/>
              <a:gd name="connsiteX70" fmla="*/ 228205 w 626225"/>
              <a:gd name="connsiteY70" fmla="*/ 11947 h 110081"/>
              <a:gd name="connsiteX71" fmla="*/ 209095 w 626225"/>
              <a:gd name="connsiteY71" fmla="*/ 65278 h 110081"/>
              <a:gd name="connsiteX72" fmla="*/ 322263 w 626225"/>
              <a:gd name="connsiteY72" fmla="*/ 110082 h 110081"/>
              <a:gd name="connsiteX73" fmla="*/ 304024 w 626225"/>
              <a:gd name="connsiteY73" fmla="*/ 104233 h 110081"/>
              <a:gd name="connsiteX74" fmla="*/ 291325 w 626225"/>
              <a:gd name="connsiteY74" fmla="*/ 86311 h 110081"/>
              <a:gd name="connsiteX75" fmla="*/ 286844 w 626225"/>
              <a:gd name="connsiteY75" fmla="*/ 54947 h 110081"/>
              <a:gd name="connsiteX76" fmla="*/ 291325 w 626225"/>
              <a:gd name="connsiteY76" fmla="*/ 23584 h 110081"/>
              <a:gd name="connsiteX77" fmla="*/ 304024 w 626225"/>
              <a:gd name="connsiteY77" fmla="*/ 5849 h 110081"/>
              <a:gd name="connsiteX78" fmla="*/ 322263 w 626225"/>
              <a:gd name="connsiteY78" fmla="*/ 186 h 110081"/>
              <a:gd name="connsiteX79" fmla="*/ 340315 w 626225"/>
              <a:gd name="connsiteY79" fmla="*/ 5849 h 110081"/>
              <a:gd name="connsiteX80" fmla="*/ 352703 w 626225"/>
              <a:gd name="connsiteY80" fmla="*/ 23584 h 110081"/>
              <a:gd name="connsiteX81" fmla="*/ 357185 w 626225"/>
              <a:gd name="connsiteY81" fmla="*/ 54698 h 110081"/>
              <a:gd name="connsiteX82" fmla="*/ 352703 w 626225"/>
              <a:gd name="connsiteY82" fmla="*/ 86062 h 110081"/>
              <a:gd name="connsiteX83" fmla="*/ 340315 w 626225"/>
              <a:gd name="connsiteY83" fmla="*/ 104233 h 110081"/>
              <a:gd name="connsiteX84" fmla="*/ 322263 w 626225"/>
              <a:gd name="connsiteY84" fmla="*/ 110082 h 110081"/>
              <a:gd name="connsiteX85" fmla="*/ 322076 w 626225"/>
              <a:gd name="connsiteY85" fmla="*/ 98258 h 110081"/>
              <a:gd name="connsiteX86" fmla="*/ 333468 w 626225"/>
              <a:gd name="connsiteY86" fmla="*/ 94275 h 110081"/>
              <a:gd name="connsiteX87" fmla="*/ 340627 w 626225"/>
              <a:gd name="connsiteY87" fmla="*/ 80648 h 110081"/>
              <a:gd name="connsiteX88" fmla="*/ 343178 w 626225"/>
              <a:gd name="connsiteY88" fmla="*/ 55134 h 110081"/>
              <a:gd name="connsiteX89" fmla="*/ 340751 w 626225"/>
              <a:gd name="connsiteY89" fmla="*/ 29745 h 110081"/>
              <a:gd name="connsiteX90" fmla="*/ 333593 w 626225"/>
              <a:gd name="connsiteY90" fmla="*/ 16117 h 110081"/>
              <a:gd name="connsiteX91" fmla="*/ 322263 w 626225"/>
              <a:gd name="connsiteY91" fmla="*/ 11947 h 110081"/>
              <a:gd name="connsiteX92" fmla="*/ 310747 w 626225"/>
              <a:gd name="connsiteY92" fmla="*/ 16117 h 110081"/>
              <a:gd name="connsiteX93" fmla="*/ 303401 w 626225"/>
              <a:gd name="connsiteY93" fmla="*/ 29745 h 110081"/>
              <a:gd name="connsiteX94" fmla="*/ 300850 w 626225"/>
              <a:gd name="connsiteY94" fmla="*/ 55134 h 110081"/>
              <a:gd name="connsiteX95" fmla="*/ 303277 w 626225"/>
              <a:gd name="connsiteY95" fmla="*/ 80648 h 110081"/>
              <a:gd name="connsiteX96" fmla="*/ 310560 w 626225"/>
              <a:gd name="connsiteY96" fmla="*/ 94275 h 110081"/>
              <a:gd name="connsiteX97" fmla="*/ 322076 w 626225"/>
              <a:gd name="connsiteY97" fmla="*/ 98258 h 110081"/>
              <a:gd name="connsiteX98" fmla="*/ 404370 w 626225"/>
              <a:gd name="connsiteY98" fmla="*/ 110082 h 110081"/>
              <a:gd name="connsiteX99" fmla="*/ 386130 w 626225"/>
              <a:gd name="connsiteY99" fmla="*/ 104233 h 110081"/>
              <a:gd name="connsiteX100" fmla="*/ 373431 w 626225"/>
              <a:gd name="connsiteY100" fmla="*/ 86311 h 110081"/>
              <a:gd name="connsiteX101" fmla="*/ 368950 w 626225"/>
              <a:gd name="connsiteY101" fmla="*/ 54947 h 110081"/>
              <a:gd name="connsiteX102" fmla="*/ 373431 w 626225"/>
              <a:gd name="connsiteY102" fmla="*/ 23584 h 110081"/>
              <a:gd name="connsiteX103" fmla="*/ 386130 w 626225"/>
              <a:gd name="connsiteY103" fmla="*/ 5849 h 110081"/>
              <a:gd name="connsiteX104" fmla="*/ 404370 w 626225"/>
              <a:gd name="connsiteY104" fmla="*/ 186 h 110081"/>
              <a:gd name="connsiteX105" fmla="*/ 422484 w 626225"/>
              <a:gd name="connsiteY105" fmla="*/ 5849 h 110081"/>
              <a:gd name="connsiteX106" fmla="*/ 434871 w 626225"/>
              <a:gd name="connsiteY106" fmla="*/ 23584 h 110081"/>
              <a:gd name="connsiteX107" fmla="*/ 439354 w 626225"/>
              <a:gd name="connsiteY107" fmla="*/ 54698 h 110081"/>
              <a:gd name="connsiteX108" fmla="*/ 434871 w 626225"/>
              <a:gd name="connsiteY108" fmla="*/ 86062 h 110081"/>
              <a:gd name="connsiteX109" fmla="*/ 422484 w 626225"/>
              <a:gd name="connsiteY109" fmla="*/ 104233 h 110081"/>
              <a:gd name="connsiteX110" fmla="*/ 404370 w 626225"/>
              <a:gd name="connsiteY110" fmla="*/ 110082 h 110081"/>
              <a:gd name="connsiteX111" fmla="*/ 404245 w 626225"/>
              <a:gd name="connsiteY111" fmla="*/ 98258 h 110081"/>
              <a:gd name="connsiteX112" fmla="*/ 415574 w 626225"/>
              <a:gd name="connsiteY112" fmla="*/ 94275 h 110081"/>
              <a:gd name="connsiteX113" fmla="*/ 422733 w 626225"/>
              <a:gd name="connsiteY113" fmla="*/ 80648 h 110081"/>
              <a:gd name="connsiteX114" fmla="*/ 425285 w 626225"/>
              <a:gd name="connsiteY114" fmla="*/ 55134 h 110081"/>
              <a:gd name="connsiteX115" fmla="*/ 422920 w 626225"/>
              <a:gd name="connsiteY115" fmla="*/ 29745 h 110081"/>
              <a:gd name="connsiteX116" fmla="*/ 415761 w 626225"/>
              <a:gd name="connsiteY116" fmla="*/ 16117 h 110081"/>
              <a:gd name="connsiteX117" fmla="*/ 404370 w 626225"/>
              <a:gd name="connsiteY117" fmla="*/ 11947 h 110081"/>
              <a:gd name="connsiteX118" fmla="*/ 392853 w 626225"/>
              <a:gd name="connsiteY118" fmla="*/ 16117 h 110081"/>
              <a:gd name="connsiteX119" fmla="*/ 385570 w 626225"/>
              <a:gd name="connsiteY119" fmla="*/ 29745 h 110081"/>
              <a:gd name="connsiteX120" fmla="*/ 383018 w 626225"/>
              <a:gd name="connsiteY120" fmla="*/ 55134 h 110081"/>
              <a:gd name="connsiteX121" fmla="*/ 385383 w 626225"/>
              <a:gd name="connsiteY121" fmla="*/ 80648 h 110081"/>
              <a:gd name="connsiteX122" fmla="*/ 392729 w 626225"/>
              <a:gd name="connsiteY122" fmla="*/ 94275 h 110081"/>
              <a:gd name="connsiteX123" fmla="*/ 404245 w 626225"/>
              <a:gd name="connsiteY123" fmla="*/ 98258 h 110081"/>
              <a:gd name="connsiteX124" fmla="*/ 457654 w 626225"/>
              <a:gd name="connsiteY124" fmla="*/ 1493 h 110081"/>
              <a:gd name="connsiteX125" fmla="*/ 493697 w 626225"/>
              <a:gd name="connsiteY125" fmla="*/ 1493 h 110081"/>
              <a:gd name="connsiteX126" fmla="*/ 513678 w 626225"/>
              <a:gd name="connsiteY126" fmla="*/ 4044 h 110081"/>
              <a:gd name="connsiteX127" fmla="*/ 529863 w 626225"/>
              <a:gd name="connsiteY127" fmla="*/ 12383 h 110081"/>
              <a:gd name="connsiteX128" fmla="*/ 540570 w 626225"/>
              <a:gd name="connsiteY128" fmla="*/ 27629 h 110081"/>
              <a:gd name="connsiteX129" fmla="*/ 544492 w 626225"/>
              <a:gd name="connsiteY129" fmla="*/ 51401 h 110081"/>
              <a:gd name="connsiteX130" fmla="*/ 537582 w 626225"/>
              <a:gd name="connsiteY130" fmla="*/ 83075 h 110081"/>
              <a:gd name="connsiteX131" fmla="*/ 519094 w 626225"/>
              <a:gd name="connsiteY131" fmla="*/ 102179 h 110081"/>
              <a:gd name="connsiteX132" fmla="*/ 492016 w 626225"/>
              <a:gd name="connsiteY132" fmla="*/ 108588 h 110081"/>
              <a:gd name="connsiteX133" fmla="*/ 457654 w 626225"/>
              <a:gd name="connsiteY133" fmla="*/ 108588 h 110081"/>
              <a:gd name="connsiteX134" fmla="*/ 457654 w 626225"/>
              <a:gd name="connsiteY134" fmla="*/ 1493 h 110081"/>
              <a:gd name="connsiteX135" fmla="*/ 492016 w 626225"/>
              <a:gd name="connsiteY135" fmla="*/ 95893 h 110081"/>
              <a:gd name="connsiteX136" fmla="*/ 511438 w 626225"/>
              <a:gd name="connsiteY136" fmla="*/ 91413 h 110081"/>
              <a:gd name="connsiteX137" fmla="*/ 524447 w 626225"/>
              <a:gd name="connsiteY137" fmla="*/ 77225 h 110081"/>
              <a:gd name="connsiteX138" fmla="*/ 529241 w 626225"/>
              <a:gd name="connsiteY138" fmla="*/ 52458 h 110081"/>
              <a:gd name="connsiteX139" fmla="*/ 524634 w 626225"/>
              <a:gd name="connsiteY139" fmla="*/ 29122 h 110081"/>
              <a:gd name="connsiteX140" fmla="*/ 511935 w 626225"/>
              <a:gd name="connsiteY140" fmla="*/ 17610 h 110081"/>
              <a:gd name="connsiteX141" fmla="*/ 493697 w 626225"/>
              <a:gd name="connsiteY141" fmla="*/ 14374 h 110081"/>
              <a:gd name="connsiteX142" fmla="*/ 471723 w 626225"/>
              <a:gd name="connsiteY142" fmla="*/ 14374 h 110081"/>
              <a:gd name="connsiteX143" fmla="*/ 471723 w 626225"/>
              <a:gd name="connsiteY143" fmla="*/ 95893 h 110081"/>
              <a:gd name="connsiteX144" fmla="*/ 492016 w 626225"/>
              <a:gd name="connsiteY144" fmla="*/ 95893 h 110081"/>
              <a:gd name="connsiteX145" fmla="*/ 626225 w 626225"/>
              <a:gd name="connsiteY145" fmla="*/ 108588 h 110081"/>
              <a:gd name="connsiteX146" fmla="*/ 557937 w 626225"/>
              <a:gd name="connsiteY146" fmla="*/ 108588 h 110081"/>
              <a:gd name="connsiteX147" fmla="*/ 557937 w 626225"/>
              <a:gd name="connsiteY147" fmla="*/ 94400 h 110081"/>
              <a:gd name="connsiteX148" fmla="*/ 584082 w 626225"/>
              <a:gd name="connsiteY148" fmla="*/ 72433 h 110081"/>
              <a:gd name="connsiteX149" fmla="*/ 600080 w 626225"/>
              <a:gd name="connsiteY149" fmla="*/ 56628 h 110081"/>
              <a:gd name="connsiteX150" fmla="*/ 608110 w 626225"/>
              <a:gd name="connsiteY150" fmla="*/ 43933 h 110081"/>
              <a:gd name="connsiteX151" fmla="*/ 610538 w 626225"/>
              <a:gd name="connsiteY151" fmla="*/ 32109 h 110081"/>
              <a:gd name="connsiteX152" fmla="*/ 604998 w 626225"/>
              <a:gd name="connsiteY152" fmla="*/ 17610 h 110081"/>
              <a:gd name="connsiteX153" fmla="*/ 589747 w 626225"/>
              <a:gd name="connsiteY153" fmla="*/ 12383 h 110081"/>
              <a:gd name="connsiteX154" fmla="*/ 560801 w 626225"/>
              <a:gd name="connsiteY154" fmla="*/ 27194 h 110081"/>
              <a:gd name="connsiteX155" fmla="*/ 560801 w 626225"/>
              <a:gd name="connsiteY155" fmla="*/ 12134 h 110081"/>
              <a:gd name="connsiteX156" fmla="*/ 590183 w 626225"/>
              <a:gd name="connsiteY156" fmla="*/ 0 h 110081"/>
              <a:gd name="connsiteX157" fmla="*/ 615580 w 626225"/>
              <a:gd name="connsiteY157" fmla="*/ 8401 h 110081"/>
              <a:gd name="connsiteX158" fmla="*/ 625042 w 626225"/>
              <a:gd name="connsiteY158" fmla="*/ 30803 h 110081"/>
              <a:gd name="connsiteX159" fmla="*/ 622614 w 626225"/>
              <a:gd name="connsiteY159" fmla="*/ 44804 h 110081"/>
              <a:gd name="connsiteX160" fmla="*/ 614584 w 626225"/>
              <a:gd name="connsiteY160" fmla="*/ 58681 h 110081"/>
              <a:gd name="connsiteX161" fmla="*/ 598898 w 626225"/>
              <a:gd name="connsiteY161" fmla="*/ 74860 h 110081"/>
              <a:gd name="connsiteX162" fmla="*/ 573500 w 626225"/>
              <a:gd name="connsiteY162" fmla="*/ 95769 h 110081"/>
              <a:gd name="connsiteX163" fmla="*/ 626225 w 626225"/>
              <a:gd name="connsiteY163" fmla="*/ 95769 h 110081"/>
              <a:gd name="connsiteX164" fmla="*/ 626225 w 626225"/>
              <a:gd name="connsiteY16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26225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31719" y="110082"/>
                </a:moveTo>
                <a:cubicBezTo>
                  <a:pt x="119767" y="110082"/>
                  <a:pt x="110243" y="107530"/>
                  <a:pt x="103209" y="102490"/>
                </a:cubicBezTo>
                <a:lnTo>
                  <a:pt x="103209" y="87804"/>
                </a:lnTo>
                <a:cubicBezTo>
                  <a:pt x="107379" y="91226"/>
                  <a:pt x="111737" y="93778"/>
                  <a:pt x="116344" y="95458"/>
                </a:cubicBezTo>
                <a:cubicBezTo>
                  <a:pt x="120950" y="97014"/>
                  <a:pt x="126054" y="97823"/>
                  <a:pt x="131719" y="97823"/>
                </a:cubicBezTo>
                <a:cubicBezTo>
                  <a:pt x="139127" y="97823"/>
                  <a:pt x="144791" y="95583"/>
                  <a:pt x="148775" y="91102"/>
                </a:cubicBezTo>
                <a:cubicBezTo>
                  <a:pt x="152821" y="86621"/>
                  <a:pt x="154875" y="80772"/>
                  <a:pt x="154875" y="73491"/>
                </a:cubicBezTo>
                <a:cubicBezTo>
                  <a:pt x="154875" y="65713"/>
                  <a:pt x="152884" y="60050"/>
                  <a:pt x="148900" y="56441"/>
                </a:cubicBezTo>
                <a:cubicBezTo>
                  <a:pt x="144916" y="52894"/>
                  <a:pt x="139874" y="51089"/>
                  <a:pt x="133835" y="51089"/>
                </a:cubicBezTo>
                <a:cubicBezTo>
                  <a:pt x="129416" y="51089"/>
                  <a:pt x="125930" y="51836"/>
                  <a:pt x="123191" y="53329"/>
                </a:cubicBezTo>
                <a:cubicBezTo>
                  <a:pt x="120514" y="54698"/>
                  <a:pt x="118460" y="56192"/>
                  <a:pt x="117091" y="57810"/>
                </a:cubicBezTo>
                <a:lnTo>
                  <a:pt x="106197" y="57810"/>
                </a:lnTo>
                <a:lnTo>
                  <a:pt x="106197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60" y="14374"/>
                </a:lnTo>
                <a:lnTo>
                  <a:pt x="118460" y="44991"/>
                </a:lnTo>
                <a:cubicBezTo>
                  <a:pt x="120452" y="43498"/>
                  <a:pt x="122879" y="42190"/>
                  <a:pt x="125743" y="41071"/>
                </a:cubicBezTo>
                <a:cubicBezTo>
                  <a:pt x="128669" y="39888"/>
                  <a:pt x="132093" y="39266"/>
                  <a:pt x="136076" y="39266"/>
                </a:cubicBezTo>
                <a:cubicBezTo>
                  <a:pt x="142239" y="39266"/>
                  <a:pt x="147841" y="40572"/>
                  <a:pt x="152821" y="43186"/>
                </a:cubicBezTo>
                <a:cubicBezTo>
                  <a:pt x="157802" y="45675"/>
                  <a:pt x="161723" y="49471"/>
                  <a:pt x="164587" y="54512"/>
                </a:cubicBezTo>
                <a:cubicBezTo>
                  <a:pt x="167574" y="59490"/>
                  <a:pt x="169068" y="65713"/>
                  <a:pt x="169068" y="73181"/>
                </a:cubicBezTo>
                <a:cubicBezTo>
                  <a:pt x="169068" y="80586"/>
                  <a:pt x="167512" y="87058"/>
                  <a:pt x="164462" y="92596"/>
                </a:cubicBezTo>
                <a:cubicBezTo>
                  <a:pt x="161474" y="98196"/>
                  <a:pt x="157179" y="102490"/>
                  <a:pt x="151577" y="105601"/>
                </a:cubicBezTo>
                <a:cubicBezTo>
                  <a:pt x="146037" y="108588"/>
                  <a:pt x="139375" y="110082"/>
                  <a:pt x="131719" y="110082"/>
                </a:cubicBezTo>
                <a:close/>
                <a:moveTo>
                  <a:pt x="277817" y="108588"/>
                </a:moveTo>
                <a:lnTo>
                  <a:pt x="262877" y="108588"/>
                </a:lnTo>
                <a:lnTo>
                  <a:pt x="251797" y="77972"/>
                </a:lnTo>
                <a:lnTo>
                  <a:pt x="204426" y="77972"/>
                </a:lnTo>
                <a:lnTo>
                  <a:pt x="193533" y="108588"/>
                </a:lnTo>
                <a:lnTo>
                  <a:pt x="180397" y="108588"/>
                </a:lnTo>
                <a:lnTo>
                  <a:pt x="218494" y="1493"/>
                </a:lnTo>
                <a:lnTo>
                  <a:pt x="239410" y="1493"/>
                </a:lnTo>
                <a:lnTo>
                  <a:pt x="277817" y="108588"/>
                </a:lnTo>
                <a:close/>
                <a:moveTo>
                  <a:pt x="209095" y="65278"/>
                </a:moveTo>
                <a:lnTo>
                  <a:pt x="247315" y="65278"/>
                </a:lnTo>
                <a:lnTo>
                  <a:pt x="228205" y="11947"/>
                </a:lnTo>
                <a:lnTo>
                  <a:pt x="209095" y="65278"/>
                </a:lnTo>
                <a:close/>
                <a:moveTo>
                  <a:pt x="322263" y="110082"/>
                </a:moveTo>
                <a:cubicBezTo>
                  <a:pt x="315478" y="110082"/>
                  <a:pt x="309378" y="108153"/>
                  <a:pt x="304024" y="104233"/>
                </a:cubicBezTo>
                <a:cubicBezTo>
                  <a:pt x="298609" y="100374"/>
                  <a:pt x="294376" y="94400"/>
                  <a:pt x="291325" y="86311"/>
                </a:cubicBezTo>
                <a:cubicBezTo>
                  <a:pt x="288338" y="78159"/>
                  <a:pt x="286844" y="67705"/>
                  <a:pt x="286844" y="54947"/>
                </a:cubicBezTo>
                <a:cubicBezTo>
                  <a:pt x="286844" y="42128"/>
                  <a:pt x="288338" y="31674"/>
                  <a:pt x="291325" y="23584"/>
                </a:cubicBezTo>
                <a:cubicBezTo>
                  <a:pt x="294376" y="15557"/>
                  <a:pt x="298609" y="9645"/>
                  <a:pt x="304024" y="5849"/>
                </a:cubicBezTo>
                <a:cubicBezTo>
                  <a:pt x="309378" y="2053"/>
                  <a:pt x="315478" y="186"/>
                  <a:pt x="322263" y="186"/>
                </a:cubicBezTo>
                <a:cubicBezTo>
                  <a:pt x="328986" y="186"/>
                  <a:pt x="335024" y="2053"/>
                  <a:pt x="340315" y="5849"/>
                </a:cubicBezTo>
                <a:cubicBezTo>
                  <a:pt x="345606" y="9645"/>
                  <a:pt x="349715" y="15557"/>
                  <a:pt x="352703" y="23584"/>
                </a:cubicBezTo>
                <a:cubicBezTo>
                  <a:pt x="355691" y="31549"/>
                  <a:pt x="357185" y="41942"/>
                  <a:pt x="357185" y="54698"/>
                </a:cubicBezTo>
                <a:cubicBezTo>
                  <a:pt x="357185" y="67331"/>
                  <a:pt x="355691" y="77786"/>
                  <a:pt x="352703" y="86062"/>
                </a:cubicBezTo>
                <a:cubicBezTo>
                  <a:pt x="349715" y="94213"/>
                  <a:pt x="345606" y="100250"/>
                  <a:pt x="340315" y="104233"/>
                </a:cubicBezTo>
                <a:cubicBezTo>
                  <a:pt x="335024" y="108153"/>
                  <a:pt x="328986" y="110082"/>
                  <a:pt x="322263" y="110082"/>
                </a:cubicBezTo>
                <a:close/>
                <a:moveTo>
                  <a:pt x="322076" y="98258"/>
                </a:moveTo>
                <a:cubicBezTo>
                  <a:pt x="326559" y="98258"/>
                  <a:pt x="330356" y="96952"/>
                  <a:pt x="333468" y="94275"/>
                </a:cubicBezTo>
                <a:cubicBezTo>
                  <a:pt x="336643" y="91475"/>
                  <a:pt x="339008" y="86933"/>
                  <a:pt x="340627" y="80648"/>
                </a:cubicBezTo>
                <a:cubicBezTo>
                  <a:pt x="342307" y="74300"/>
                  <a:pt x="343178" y="65775"/>
                  <a:pt x="343178" y="55134"/>
                </a:cubicBezTo>
                <a:cubicBezTo>
                  <a:pt x="343178" y="44493"/>
                  <a:pt x="342369" y="36030"/>
                  <a:pt x="340751" y="29745"/>
                </a:cubicBezTo>
                <a:cubicBezTo>
                  <a:pt x="339194" y="23336"/>
                  <a:pt x="336767" y="18855"/>
                  <a:pt x="333593" y="16117"/>
                </a:cubicBezTo>
                <a:cubicBezTo>
                  <a:pt x="330480" y="13379"/>
                  <a:pt x="326745" y="11947"/>
                  <a:pt x="322263" y="11947"/>
                </a:cubicBezTo>
                <a:cubicBezTo>
                  <a:pt x="317781" y="11947"/>
                  <a:pt x="313922" y="13379"/>
                  <a:pt x="310747" y="16117"/>
                </a:cubicBezTo>
                <a:cubicBezTo>
                  <a:pt x="307572" y="18855"/>
                  <a:pt x="305082" y="23336"/>
                  <a:pt x="303401" y="29745"/>
                </a:cubicBezTo>
                <a:cubicBezTo>
                  <a:pt x="301721" y="36030"/>
                  <a:pt x="300850" y="44493"/>
                  <a:pt x="300850" y="55134"/>
                </a:cubicBezTo>
                <a:cubicBezTo>
                  <a:pt x="300850" y="65775"/>
                  <a:pt x="301659" y="74300"/>
                  <a:pt x="303277" y="80648"/>
                </a:cubicBezTo>
                <a:cubicBezTo>
                  <a:pt x="304958" y="86933"/>
                  <a:pt x="307385" y="91475"/>
                  <a:pt x="310560" y="94275"/>
                </a:cubicBezTo>
                <a:cubicBezTo>
                  <a:pt x="313797" y="96952"/>
                  <a:pt x="317594" y="98258"/>
                  <a:pt x="322076" y="98258"/>
                </a:cubicBezTo>
                <a:close/>
                <a:moveTo>
                  <a:pt x="404370" y="110082"/>
                </a:moveTo>
                <a:cubicBezTo>
                  <a:pt x="397584" y="110082"/>
                  <a:pt x="391546" y="108153"/>
                  <a:pt x="386130" y="104233"/>
                </a:cubicBezTo>
                <a:cubicBezTo>
                  <a:pt x="380777" y="100374"/>
                  <a:pt x="376544" y="94400"/>
                  <a:pt x="373431" y="86311"/>
                </a:cubicBezTo>
                <a:cubicBezTo>
                  <a:pt x="370444" y="78159"/>
                  <a:pt x="368950" y="67705"/>
                  <a:pt x="368950" y="54947"/>
                </a:cubicBezTo>
                <a:cubicBezTo>
                  <a:pt x="368950" y="42128"/>
                  <a:pt x="370444" y="31674"/>
                  <a:pt x="373431" y="23584"/>
                </a:cubicBezTo>
                <a:cubicBezTo>
                  <a:pt x="376544" y="15557"/>
                  <a:pt x="380777" y="9645"/>
                  <a:pt x="386130" y="5849"/>
                </a:cubicBezTo>
                <a:cubicBezTo>
                  <a:pt x="391546" y="2053"/>
                  <a:pt x="397584" y="186"/>
                  <a:pt x="404370" y="186"/>
                </a:cubicBezTo>
                <a:cubicBezTo>
                  <a:pt x="411155" y="186"/>
                  <a:pt x="417193" y="2053"/>
                  <a:pt x="422484" y="5849"/>
                </a:cubicBezTo>
                <a:cubicBezTo>
                  <a:pt x="427713" y="9645"/>
                  <a:pt x="431883" y="15557"/>
                  <a:pt x="434871" y="23584"/>
                </a:cubicBezTo>
                <a:cubicBezTo>
                  <a:pt x="437860" y="31549"/>
                  <a:pt x="439354" y="41942"/>
                  <a:pt x="439354" y="54698"/>
                </a:cubicBezTo>
                <a:cubicBezTo>
                  <a:pt x="439354" y="67331"/>
                  <a:pt x="437860" y="77786"/>
                  <a:pt x="434871" y="86062"/>
                </a:cubicBezTo>
                <a:cubicBezTo>
                  <a:pt x="431883" y="94213"/>
                  <a:pt x="427713" y="100250"/>
                  <a:pt x="422484" y="104233"/>
                </a:cubicBezTo>
                <a:cubicBezTo>
                  <a:pt x="417193" y="108153"/>
                  <a:pt x="411155" y="110082"/>
                  <a:pt x="404370" y="110082"/>
                </a:cubicBezTo>
                <a:close/>
                <a:moveTo>
                  <a:pt x="404245" y="98258"/>
                </a:moveTo>
                <a:cubicBezTo>
                  <a:pt x="408727" y="98258"/>
                  <a:pt x="412524" y="96952"/>
                  <a:pt x="415574" y="94275"/>
                </a:cubicBezTo>
                <a:cubicBezTo>
                  <a:pt x="418749" y="91475"/>
                  <a:pt x="421177" y="86933"/>
                  <a:pt x="422733" y="80648"/>
                </a:cubicBezTo>
                <a:cubicBezTo>
                  <a:pt x="424476" y="74300"/>
                  <a:pt x="425285" y="65775"/>
                  <a:pt x="425285" y="55134"/>
                </a:cubicBezTo>
                <a:cubicBezTo>
                  <a:pt x="425285" y="44493"/>
                  <a:pt x="424476" y="36030"/>
                  <a:pt x="422920" y="29745"/>
                </a:cubicBezTo>
                <a:cubicBezTo>
                  <a:pt x="421301" y="23336"/>
                  <a:pt x="418936" y="18855"/>
                  <a:pt x="415761" y="16117"/>
                </a:cubicBezTo>
                <a:cubicBezTo>
                  <a:pt x="412649" y="13379"/>
                  <a:pt x="408851" y="11947"/>
                  <a:pt x="404370" y="11947"/>
                </a:cubicBezTo>
                <a:cubicBezTo>
                  <a:pt x="399887" y="11947"/>
                  <a:pt x="396090" y="13379"/>
                  <a:pt x="392853" y="16117"/>
                </a:cubicBezTo>
                <a:cubicBezTo>
                  <a:pt x="389679" y="18855"/>
                  <a:pt x="387251" y="23336"/>
                  <a:pt x="385570" y="29745"/>
                </a:cubicBezTo>
                <a:cubicBezTo>
                  <a:pt x="383890" y="36030"/>
                  <a:pt x="383018" y="44493"/>
                  <a:pt x="383018" y="55134"/>
                </a:cubicBezTo>
                <a:cubicBezTo>
                  <a:pt x="383018" y="65775"/>
                  <a:pt x="383827" y="74300"/>
                  <a:pt x="385383" y="80648"/>
                </a:cubicBezTo>
                <a:cubicBezTo>
                  <a:pt x="387127" y="86933"/>
                  <a:pt x="389554" y="91475"/>
                  <a:pt x="392729" y="94275"/>
                </a:cubicBezTo>
                <a:cubicBezTo>
                  <a:pt x="395904" y="96952"/>
                  <a:pt x="399763" y="98258"/>
                  <a:pt x="404245" y="98258"/>
                </a:cubicBezTo>
                <a:close/>
                <a:moveTo>
                  <a:pt x="457654" y="1493"/>
                </a:moveTo>
                <a:lnTo>
                  <a:pt x="493697" y="1493"/>
                </a:lnTo>
                <a:cubicBezTo>
                  <a:pt x="500856" y="1493"/>
                  <a:pt x="507516" y="2365"/>
                  <a:pt x="513678" y="4044"/>
                </a:cubicBezTo>
                <a:cubicBezTo>
                  <a:pt x="519903" y="5725"/>
                  <a:pt x="525257" y="8525"/>
                  <a:pt x="529863" y="12383"/>
                </a:cubicBezTo>
                <a:cubicBezTo>
                  <a:pt x="534408" y="16179"/>
                  <a:pt x="538018" y="21282"/>
                  <a:pt x="540570" y="27629"/>
                </a:cubicBezTo>
                <a:cubicBezTo>
                  <a:pt x="543184" y="34039"/>
                  <a:pt x="544492" y="41942"/>
                  <a:pt x="544492" y="51401"/>
                </a:cubicBezTo>
                <a:cubicBezTo>
                  <a:pt x="544492" y="63908"/>
                  <a:pt x="542189" y="74487"/>
                  <a:pt x="537582" y="83075"/>
                </a:cubicBezTo>
                <a:cubicBezTo>
                  <a:pt x="533100" y="91538"/>
                  <a:pt x="526938" y="97885"/>
                  <a:pt x="519094" y="102179"/>
                </a:cubicBezTo>
                <a:cubicBezTo>
                  <a:pt x="511188" y="106473"/>
                  <a:pt x="502225" y="108588"/>
                  <a:pt x="492016" y="108588"/>
                </a:cubicBezTo>
                <a:lnTo>
                  <a:pt x="457654" y="108588"/>
                </a:lnTo>
                <a:lnTo>
                  <a:pt x="457654" y="1493"/>
                </a:lnTo>
                <a:close/>
                <a:moveTo>
                  <a:pt x="492016" y="95893"/>
                </a:moveTo>
                <a:cubicBezTo>
                  <a:pt x="499423" y="95893"/>
                  <a:pt x="505897" y="94400"/>
                  <a:pt x="511438" y="91413"/>
                </a:cubicBezTo>
                <a:cubicBezTo>
                  <a:pt x="517040" y="88302"/>
                  <a:pt x="521397" y="83572"/>
                  <a:pt x="524447" y="77225"/>
                </a:cubicBezTo>
                <a:cubicBezTo>
                  <a:pt x="527622" y="70754"/>
                  <a:pt x="529241" y="62477"/>
                  <a:pt x="529241" y="52458"/>
                </a:cubicBezTo>
                <a:cubicBezTo>
                  <a:pt x="529241" y="42377"/>
                  <a:pt x="527684" y="34599"/>
                  <a:pt x="524634" y="29122"/>
                </a:cubicBezTo>
                <a:cubicBezTo>
                  <a:pt x="521522" y="23646"/>
                  <a:pt x="517289" y="19851"/>
                  <a:pt x="511935" y="17610"/>
                </a:cubicBezTo>
                <a:cubicBezTo>
                  <a:pt x="506644" y="15433"/>
                  <a:pt x="500544" y="14374"/>
                  <a:pt x="493697" y="14374"/>
                </a:cubicBezTo>
                <a:lnTo>
                  <a:pt x="471723" y="14374"/>
                </a:lnTo>
                <a:lnTo>
                  <a:pt x="471723" y="95893"/>
                </a:lnTo>
                <a:lnTo>
                  <a:pt x="492016" y="95893"/>
                </a:lnTo>
                <a:close/>
                <a:moveTo>
                  <a:pt x="626225" y="108588"/>
                </a:moveTo>
                <a:lnTo>
                  <a:pt x="557937" y="108588"/>
                </a:lnTo>
                <a:lnTo>
                  <a:pt x="557937" y="94400"/>
                </a:lnTo>
                <a:cubicBezTo>
                  <a:pt x="568582" y="85812"/>
                  <a:pt x="577297" y="78532"/>
                  <a:pt x="584082" y="72433"/>
                </a:cubicBezTo>
                <a:cubicBezTo>
                  <a:pt x="590930" y="66397"/>
                  <a:pt x="596283" y="61108"/>
                  <a:pt x="600080" y="56628"/>
                </a:cubicBezTo>
                <a:cubicBezTo>
                  <a:pt x="603939" y="52023"/>
                  <a:pt x="606616" y="47791"/>
                  <a:pt x="608110" y="43933"/>
                </a:cubicBezTo>
                <a:cubicBezTo>
                  <a:pt x="609729" y="40012"/>
                  <a:pt x="610538" y="36092"/>
                  <a:pt x="610538" y="32109"/>
                </a:cubicBezTo>
                <a:cubicBezTo>
                  <a:pt x="610538" y="25949"/>
                  <a:pt x="608670" y="21095"/>
                  <a:pt x="604998" y="17610"/>
                </a:cubicBezTo>
                <a:cubicBezTo>
                  <a:pt x="601325" y="14125"/>
                  <a:pt x="596221" y="12383"/>
                  <a:pt x="589747" y="12383"/>
                </a:cubicBezTo>
                <a:cubicBezTo>
                  <a:pt x="579414" y="12383"/>
                  <a:pt x="569765" y="17361"/>
                  <a:pt x="560801" y="27194"/>
                </a:cubicBezTo>
                <a:lnTo>
                  <a:pt x="560801" y="12134"/>
                </a:lnTo>
                <a:cubicBezTo>
                  <a:pt x="569018" y="4044"/>
                  <a:pt x="578853" y="0"/>
                  <a:pt x="590183" y="0"/>
                </a:cubicBezTo>
                <a:cubicBezTo>
                  <a:pt x="600952" y="0"/>
                  <a:pt x="609417" y="2800"/>
                  <a:pt x="615580" y="8401"/>
                </a:cubicBezTo>
                <a:cubicBezTo>
                  <a:pt x="621867" y="13877"/>
                  <a:pt x="625042" y="21344"/>
                  <a:pt x="625042" y="30803"/>
                </a:cubicBezTo>
                <a:cubicBezTo>
                  <a:pt x="625042" y="35657"/>
                  <a:pt x="624233" y="40324"/>
                  <a:pt x="622614" y="44804"/>
                </a:cubicBezTo>
                <a:cubicBezTo>
                  <a:pt x="621120" y="49222"/>
                  <a:pt x="618444" y="53827"/>
                  <a:pt x="614584" y="58681"/>
                </a:cubicBezTo>
                <a:cubicBezTo>
                  <a:pt x="610787" y="63473"/>
                  <a:pt x="605558" y="68887"/>
                  <a:pt x="598898" y="74860"/>
                </a:cubicBezTo>
                <a:cubicBezTo>
                  <a:pt x="592174" y="80835"/>
                  <a:pt x="583709" y="87804"/>
                  <a:pt x="573500" y="95769"/>
                </a:cubicBezTo>
                <a:lnTo>
                  <a:pt x="626225" y="95769"/>
                </a:lnTo>
                <a:lnTo>
                  <a:pt x="626225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4" name="Полилиния 913">
            <a:extLst>
              <a:ext uri="{FF2B5EF4-FFF2-40B4-BE49-F238E27FC236}">
                <a16:creationId xmlns:a16="http://schemas.microsoft.com/office/drawing/2014/main" id="{B726C8DD-6E9E-D44D-3DFF-62B61841A8E0}"/>
              </a:ext>
            </a:extLst>
          </p:cNvPr>
          <p:cNvSpPr/>
          <p:nvPr userDrawn="1"/>
        </p:nvSpPr>
        <p:spPr>
          <a:xfrm>
            <a:off x="4142452" y="6692525"/>
            <a:ext cx="2557159" cy="726227"/>
          </a:xfrm>
          <a:custGeom>
            <a:avLst/>
            <a:gdLst>
              <a:gd name="connsiteX0" fmla="*/ 1860 w 2191162"/>
              <a:gd name="connsiteY0" fmla="*/ 1422 h 622284"/>
              <a:gd name="connsiteX1" fmla="*/ 2193023 w 2191162"/>
              <a:gd name="connsiteY1" fmla="*/ 1422 h 622284"/>
              <a:gd name="connsiteX2" fmla="*/ 2193023 w 2191162"/>
              <a:gd name="connsiteY2" fmla="*/ 623706 h 622284"/>
              <a:gd name="connsiteX3" fmla="*/ 1860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422"/>
                </a:moveTo>
                <a:lnTo>
                  <a:pt x="2193023" y="1422"/>
                </a:lnTo>
                <a:lnTo>
                  <a:pt x="2193023" y="623706"/>
                </a:lnTo>
                <a:lnTo>
                  <a:pt x="1860" y="623706"/>
                </a:lnTo>
                <a:close/>
              </a:path>
            </a:pathLst>
          </a:custGeom>
          <a:solidFill>
            <a:srgbClr val="6A00E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6" name="Полилиния 915">
            <a:extLst>
              <a:ext uri="{FF2B5EF4-FFF2-40B4-BE49-F238E27FC236}">
                <a16:creationId xmlns:a16="http://schemas.microsoft.com/office/drawing/2014/main" id="{2AA72E8C-122D-0E5A-0EAD-12397A9D1026}"/>
              </a:ext>
            </a:extLst>
          </p:cNvPr>
          <p:cNvSpPr/>
          <p:nvPr userDrawn="1"/>
        </p:nvSpPr>
        <p:spPr>
          <a:xfrm>
            <a:off x="4142452" y="7418752"/>
            <a:ext cx="2557159" cy="726227"/>
          </a:xfrm>
          <a:custGeom>
            <a:avLst/>
            <a:gdLst>
              <a:gd name="connsiteX0" fmla="*/ 1860 w 2191162"/>
              <a:gd name="connsiteY0" fmla="*/ 1522 h 622284"/>
              <a:gd name="connsiteX1" fmla="*/ 2193023 w 2191162"/>
              <a:gd name="connsiteY1" fmla="*/ 1522 h 622284"/>
              <a:gd name="connsiteX2" fmla="*/ 2193023 w 2191162"/>
              <a:gd name="connsiteY2" fmla="*/ 623806 h 622284"/>
              <a:gd name="connsiteX3" fmla="*/ 1860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522"/>
                </a:moveTo>
                <a:lnTo>
                  <a:pt x="2193023" y="1522"/>
                </a:lnTo>
                <a:lnTo>
                  <a:pt x="2193023" y="623806"/>
                </a:lnTo>
                <a:lnTo>
                  <a:pt x="1860" y="623806"/>
                </a:lnTo>
                <a:close/>
              </a:path>
            </a:pathLst>
          </a:custGeom>
          <a:solidFill>
            <a:srgbClr val="7D32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7" name="Полилиния 916">
            <a:extLst>
              <a:ext uri="{FF2B5EF4-FFF2-40B4-BE49-F238E27FC236}">
                <a16:creationId xmlns:a16="http://schemas.microsoft.com/office/drawing/2014/main" id="{3E467DD8-D230-0F4B-EB02-EDE06FBDC83D}"/>
              </a:ext>
            </a:extLst>
          </p:cNvPr>
          <p:cNvSpPr/>
          <p:nvPr userDrawn="1"/>
        </p:nvSpPr>
        <p:spPr>
          <a:xfrm>
            <a:off x="4265660" y="7720500"/>
            <a:ext cx="712008" cy="128468"/>
          </a:xfrm>
          <a:custGeom>
            <a:avLst/>
            <a:gdLst>
              <a:gd name="connsiteX0" fmla="*/ 22099 w 610101"/>
              <a:gd name="connsiteY0" fmla="*/ 108588 h 110081"/>
              <a:gd name="connsiteX1" fmla="*/ 10147 w 610101"/>
              <a:gd name="connsiteY1" fmla="*/ 108588 h 110081"/>
              <a:gd name="connsiteX2" fmla="*/ 16434 w 610101"/>
              <a:gd name="connsiteY2" fmla="*/ 77661 h 110081"/>
              <a:gd name="connsiteX3" fmla="*/ 0 w 610101"/>
              <a:gd name="connsiteY3" fmla="*/ 77661 h 110081"/>
              <a:gd name="connsiteX4" fmla="*/ 0 w 610101"/>
              <a:gd name="connsiteY4" fmla="*/ 67206 h 110081"/>
              <a:gd name="connsiteX5" fmla="*/ 18675 w 610101"/>
              <a:gd name="connsiteY5" fmla="*/ 67206 h 110081"/>
              <a:gd name="connsiteX6" fmla="*/ 24215 w 610101"/>
              <a:gd name="connsiteY6" fmla="*/ 40012 h 110081"/>
              <a:gd name="connsiteX7" fmla="*/ 4046 w 610101"/>
              <a:gd name="connsiteY7" fmla="*/ 40012 h 110081"/>
              <a:gd name="connsiteX8" fmla="*/ 4046 w 610101"/>
              <a:gd name="connsiteY8" fmla="*/ 29559 h 110081"/>
              <a:gd name="connsiteX9" fmla="*/ 26270 w 610101"/>
              <a:gd name="connsiteY9" fmla="*/ 29559 h 110081"/>
              <a:gd name="connsiteX10" fmla="*/ 32121 w 610101"/>
              <a:gd name="connsiteY10" fmla="*/ 1493 h 110081"/>
              <a:gd name="connsiteX11" fmla="*/ 44073 w 610101"/>
              <a:gd name="connsiteY11" fmla="*/ 1493 h 110081"/>
              <a:gd name="connsiteX12" fmla="*/ 38221 w 610101"/>
              <a:gd name="connsiteY12" fmla="*/ 29559 h 110081"/>
              <a:gd name="connsiteX13" fmla="*/ 60630 w 610101"/>
              <a:gd name="connsiteY13" fmla="*/ 29559 h 110081"/>
              <a:gd name="connsiteX14" fmla="*/ 66482 w 610101"/>
              <a:gd name="connsiteY14" fmla="*/ 1493 h 110081"/>
              <a:gd name="connsiteX15" fmla="*/ 78434 w 610101"/>
              <a:gd name="connsiteY15" fmla="*/ 1493 h 110081"/>
              <a:gd name="connsiteX16" fmla="*/ 72582 w 610101"/>
              <a:gd name="connsiteY16" fmla="*/ 29559 h 110081"/>
              <a:gd name="connsiteX17" fmla="*/ 89328 w 610101"/>
              <a:gd name="connsiteY17" fmla="*/ 29559 h 110081"/>
              <a:gd name="connsiteX18" fmla="*/ 89328 w 610101"/>
              <a:gd name="connsiteY18" fmla="*/ 40012 h 110081"/>
              <a:gd name="connsiteX19" fmla="*/ 70529 w 610101"/>
              <a:gd name="connsiteY19" fmla="*/ 40012 h 110081"/>
              <a:gd name="connsiteX20" fmla="*/ 64988 w 610101"/>
              <a:gd name="connsiteY20" fmla="*/ 67206 h 110081"/>
              <a:gd name="connsiteX21" fmla="*/ 85282 w 610101"/>
              <a:gd name="connsiteY21" fmla="*/ 67206 h 110081"/>
              <a:gd name="connsiteX22" fmla="*/ 85282 w 610101"/>
              <a:gd name="connsiteY22" fmla="*/ 77661 h 110081"/>
              <a:gd name="connsiteX23" fmla="*/ 62747 w 610101"/>
              <a:gd name="connsiteY23" fmla="*/ 77661 h 110081"/>
              <a:gd name="connsiteX24" fmla="*/ 56460 w 610101"/>
              <a:gd name="connsiteY24" fmla="*/ 108588 h 110081"/>
              <a:gd name="connsiteX25" fmla="*/ 44508 w 610101"/>
              <a:gd name="connsiteY25" fmla="*/ 108588 h 110081"/>
              <a:gd name="connsiteX26" fmla="*/ 50795 w 610101"/>
              <a:gd name="connsiteY26" fmla="*/ 77661 h 110081"/>
              <a:gd name="connsiteX27" fmla="*/ 28386 w 610101"/>
              <a:gd name="connsiteY27" fmla="*/ 77661 h 110081"/>
              <a:gd name="connsiteX28" fmla="*/ 22099 w 610101"/>
              <a:gd name="connsiteY28" fmla="*/ 108588 h 110081"/>
              <a:gd name="connsiteX29" fmla="*/ 30627 w 610101"/>
              <a:gd name="connsiteY29" fmla="*/ 67206 h 110081"/>
              <a:gd name="connsiteX30" fmla="*/ 53036 w 610101"/>
              <a:gd name="connsiteY30" fmla="*/ 67206 h 110081"/>
              <a:gd name="connsiteX31" fmla="*/ 58576 w 610101"/>
              <a:gd name="connsiteY31" fmla="*/ 40012 h 110081"/>
              <a:gd name="connsiteX32" fmla="*/ 36167 w 610101"/>
              <a:gd name="connsiteY32" fmla="*/ 40012 h 110081"/>
              <a:gd name="connsiteX33" fmla="*/ 30627 w 610101"/>
              <a:gd name="connsiteY33" fmla="*/ 67206 h 110081"/>
              <a:gd name="connsiteX34" fmla="*/ 170874 w 610101"/>
              <a:gd name="connsiteY34" fmla="*/ 13628 h 110081"/>
              <a:gd name="connsiteX35" fmla="*/ 125432 w 610101"/>
              <a:gd name="connsiteY35" fmla="*/ 108588 h 110081"/>
              <a:gd name="connsiteX36" fmla="*/ 110803 w 610101"/>
              <a:gd name="connsiteY36" fmla="*/ 108588 h 110081"/>
              <a:gd name="connsiteX37" fmla="*/ 156556 w 610101"/>
              <a:gd name="connsiteY37" fmla="*/ 14374 h 110081"/>
              <a:gd name="connsiteX38" fmla="*/ 102026 w 610101"/>
              <a:gd name="connsiteY38" fmla="*/ 14374 h 110081"/>
              <a:gd name="connsiteX39" fmla="*/ 102026 w 610101"/>
              <a:gd name="connsiteY39" fmla="*/ 1493 h 110081"/>
              <a:gd name="connsiteX40" fmla="*/ 170874 w 610101"/>
              <a:gd name="connsiteY40" fmla="*/ 1493 h 110081"/>
              <a:gd name="connsiteX41" fmla="*/ 170874 w 610101"/>
              <a:gd name="connsiteY41" fmla="*/ 13628 h 110081"/>
              <a:gd name="connsiteX42" fmla="*/ 189984 w 610101"/>
              <a:gd name="connsiteY42" fmla="*/ 1493 h 110081"/>
              <a:gd name="connsiteX43" fmla="*/ 225964 w 610101"/>
              <a:gd name="connsiteY43" fmla="*/ 1493 h 110081"/>
              <a:gd name="connsiteX44" fmla="*/ 246008 w 610101"/>
              <a:gd name="connsiteY44" fmla="*/ 4044 h 110081"/>
              <a:gd name="connsiteX45" fmla="*/ 262130 w 610101"/>
              <a:gd name="connsiteY45" fmla="*/ 12383 h 110081"/>
              <a:gd name="connsiteX46" fmla="*/ 272900 w 610101"/>
              <a:gd name="connsiteY46" fmla="*/ 27629 h 110081"/>
              <a:gd name="connsiteX47" fmla="*/ 276759 w 610101"/>
              <a:gd name="connsiteY47" fmla="*/ 51401 h 110081"/>
              <a:gd name="connsiteX48" fmla="*/ 269911 w 610101"/>
              <a:gd name="connsiteY48" fmla="*/ 83075 h 110081"/>
              <a:gd name="connsiteX49" fmla="*/ 251361 w 610101"/>
              <a:gd name="connsiteY49" fmla="*/ 102179 h 110081"/>
              <a:gd name="connsiteX50" fmla="*/ 224345 w 610101"/>
              <a:gd name="connsiteY50" fmla="*/ 108588 h 110081"/>
              <a:gd name="connsiteX51" fmla="*/ 189984 w 610101"/>
              <a:gd name="connsiteY51" fmla="*/ 108588 h 110081"/>
              <a:gd name="connsiteX52" fmla="*/ 189984 w 610101"/>
              <a:gd name="connsiteY52" fmla="*/ 1493 h 110081"/>
              <a:gd name="connsiteX53" fmla="*/ 224345 w 610101"/>
              <a:gd name="connsiteY53" fmla="*/ 95893 h 110081"/>
              <a:gd name="connsiteX54" fmla="*/ 243767 w 610101"/>
              <a:gd name="connsiteY54" fmla="*/ 91413 h 110081"/>
              <a:gd name="connsiteX55" fmla="*/ 256715 w 610101"/>
              <a:gd name="connsiteY55" fmla="*/ 77225 h 110081"/>
              <a:gd name="connsiteX56" fmla="*/ 261508 w 610101"/>
              <a:gd name="connsiteY56" fmla="*/ 52458 h 110081"/>
              <a:gd name="connsiteX57" fmla="*/ 256902 w 610101"/>
              <a:gd name="connsiteY57" fmla="*/ 29122 h 110081"/>
              <a:gd name="connsiteX58" fmla="*/ 244203 w 610101"/>
              <a:gd name="connsiteY58" fmla="*/ 17610 h 110081"/>
              <a:gd name="connsiteX59" fmla="*/ 225964 w 610101"/>
              <a:gd name="connsiteY59" fmla="*/ 14374 h 110081"/>
              <a:gd name="connsiteX60" fmla="*/ 203990 w 610101"/>
              <a:gd name="connsiteY60" fmla="*/ 14374 h 110081"/>
              <a:gd name="connsiteX61" fmla="*/ 203990 w 610101"/>
              <a:gd name="connsiteY61" fmla="*/ 95893 h 110081"/>
              <a:gd name="connsiteX62" fmla="*/ 224345 w 610101"/>
              <a:gd name="connsiteY62" fmla="*/ 95893 h 110081"/>
              <a:gd name="connsiteX63" fmla="*/ 307697 w 610101"/>
              <a:gd name="connsiteY63" fmla="*/ 58992 h 110081"/>
              <a:gd name="connsiteX64" fmla="*/ 307697 w 610101"/>
              <a:gd name="connsiteY64" fmla="*/ 46298 h 110081"/>
              <a:gd name="connsiteX65" fmla="*/ 322014 w 610101"/>
              <a:gd name="connsiteY65" fmla="*/ 46298 h 110081"/>
              <a:gd name="connsiteX66" fmla="*/ 335647 w 610101"/>
              <a:gd name="connsiteY66" fmla="*/ 41817 h 110081"/>
              <a:gd name="connsiteX67" fmla="*/ 341000 w 610101"/>
              <a:gd name="connsiteY67" fmla="*/ 28812 h 110081"/>
              <a:gd name="connsiteX68" fmla="*/ 336082 w 610101"/>
              <a:gd name="connsiteY68" fmla="*/ 16864 h 110081"/>
              <a:gd name="connsiteX69" fmla="*/ 321890 w 610101"/>
              <a:gd name="connsiteY69" fmla="*/ 12383 h 110081"/>
              <a:gd name="connsiteX70" fmla="*/ 307261 w 610101"/>
              <a:gd name="connsiteY70" fmla="*/ 15246 h 110081"/>
              <a:gd name="connsiteX71" fmla="*/ 293193 w 610101"/>
              <a:gd name="connsiteY71" fmla="*/ 24331 h 110081"/>
              <a:gd name="connsiteX72" fmla="*/ 293193 w 610101"/>
              <a:gd name="connsiteY72" fmla="*/ 9707 h 110081"/>
              <a:gd name="connsiteX73" fmla="*/ 322014 w 610101"/>
              <a:gd name="connsiteY73" fmla="*/ 0 h 110081"/>
              <a:gd name="connsiteX74" fmla="*/ 346105 w 610101"/>
              <a:gd name="connsiteY74" fmla="*/ 7779 h 110081"/>
              <a:gd name="connsiteX75" fmla="*/ 354881 w 610101"/>
              <a:gd name="connsiteY75" fmla="*/ 28065 h 110081"/>
              <a:gd name="connsiteX76" fmla="*/ 349217 w 610101"/>
              <a:gd name="connsiteY76" fmla="*/ 44244 h 110081"/>
              <a:gd name="connsiteX77" fmla="*/ 335958 w 610101"/>
              <a:gd name="connsiteY77" fmla="*/ 52147 h 110081"/>
              <a:gd name="connsiteX78" fmla="*/ 347412 w 610101"/>
              <a:gd name="connsiteY78" fmla="*/ 56441 h 110081"/>
              <a:gd name="connsiteX79" fmla="*/ 356127 w 610101"/>
              <a:gd name="connsiteY79" fmla="*/ 65153 h 110081"/>
              <a:gd name="connsiteX80" fmla="*/ 359363 w 610101"/>
              <a:gd name="connsiteY80" fmla="*/ 77661 h 110081"/>
              <a:gd name="connsiteX81" fmla="*/ 354446 w 610101"/>
              <a:gd name="connsiteY81" fmla="*/ 94836 h 110081"/>
              <a:gd name="connsiteX82" fmla="*/ 340875 w 610101"/>
              <a:gd name="connsiteY82" fmla="*/ 106224 h 110081"/>
              <a:gd name="connsiteX83" fmla="*/ 321018 w 610101"/>
              <a:gd name="connsiteY83" fmla="*/ 110082 h 110081"/>
              <a:gd name="connsiteX84" fmla="*/ 290516 w 610101"/>
              <a:gd name="connsiteY84" fmla="*/ 100997 h 110081"/>
              <a:gd name="connsiteX85" fmla="*/ 290516 w 610101"/>
              <a:gd name="connsiteY85" fmla="*/ 86062 h 110081"/>
              <a:gd name="connsiteX86" fmla="*/ 304273 w 610101"/>
              <a:gd name="connsiteY86" fmla="*/ 94711 h 110081"/>
              <a:gd name="connsiteX87" fmla="*/ 321143 w 610101"/>
              <a:gd name="connsiteY87" fmla="*/ 97823 h 110081"/>
              <a:gd name="connsiteX88" fmla="*/ 338448 w 610101"/>
              <a:gd name="connsiteY88" fmla="*/ 92596 h 110081"/>
              <a:gd name="connsiteX89" fmla="*/ 344922 w 610101"/>
              <a:gd name="connsiteY89" fmla="*/ 77972 h 110081"/>
              <a:gd name="connsiteX90" fmla="*/ 339071 w 610101"/>
              <a:gd name="connsiteY90" fmla="*/ 64095 h 110081"/>
              <a:gd name="connsiteX91" fmla="*/ 321454 w 610101"/>
              <a:gd name="connsiteY91" fmla="*/ 58992 h 110081"/>
              <a:gd name="connsiteX92" fmla="*/ 307697 w 610101"/>
              <a:gd name="connsiteY92" fmla="*/ 58992 h 110081"/>
              <a:gd name="connsiteX93" fmla="*/ 440661 w 610101"/>
              <a:gd name="connsiteY93" fmla="*/ 108588 h 110081"/>
              <a:gd name="connsiteX94" fmla="*/ 372374 w 610101"/>
              <a:gd name="connsiteY94" fmla="*/ 108588 h 110081"/>
              <a:gd name="connsiteX95" fmla="*/ 372374 w 610101"/>
              <a:gd name="connsiteY95" fmla="*/ 94400 h 110081"/>
              <a:gd name="connsiteX96" fmla="*/ 398518 w 610101"/>
              <a:gd name="connsiteY96" fmla="*/ 72433 h 110081"/>
              <a:gd name="connsiteX97" fmla="*/ 414516 w 610101"/>
              <a:gd name="connsiteY97" fmla="*/ 56628 h 110081"/>
              <a:gd name="connsiteX98" fmla="*/ 422546 w 610101"/>
              <a:gd name="connsiteY98" fmla="*/ 43933 h 110081"/>
              <a:gd name="connsiteX99" fmla="*/ 424974 w 610101"/>
              <a:gd name="connsiteY99" fmla="*/ 32109 h 110081"/>
              <a:gd name="connsiteX100" fmla="*/ 419433 w 610101"/>
              <a:gd name="connsiteY100" fmla="*/ 17610 h 110081"/>
              <a:gd name="connsiteX101" fmla="*/ 404183 w 610101"/>
              <a:gd name="connsiteY101" fmla="*/ 12383 h 110081"/>
              <a:gd name="connsiteX102" fmla="*/ 375175 w 610101"/>
              <a:gd name="connsiteY102" fmla="*/ 27194 h 110081"/>
              <a:gd name="connsiteX103" fmla="*/ 375175 w 610101"/>
              <a:gd name="connsiteY103" fmla="*/ 12134 h 110081"/>
              <a:gd name="connsiteX104" fmla="*/ 404618 w 610101"/>
              <a:gd name="connsiteY104" fmla="*/ 0 h 110081"/>
              <a:gd name="connsiteX105" fmla="*/ 430016 w 610101"/>
              <a:gd name="connsiteY105" fmla="*/ 8401 h 110081"/>
              <a:gd name="connsiteX106" fmla="*/ 439416 w 610101"/>
              <a:gd name="connsiteY106" fmla="*/ 30803 h 110081"/>
              <a:gd name="connsiteX107" fmla="*/ 437050 w 610101"/>
              <a:gd name="connsiteY107" fmla="*/ 44804 h 110081"/>
              <a:gd name="connsiteX108" fmla="*/ 428958 w 610101"/>
              <a:gd name="connsiteY108" fmla="*/ 58681 h 110081"/>
              <a:gd name="connsiteX109" fmla="*/ 413271 w 610101"/>
              <a:gd name="connsiteY109" fmla="*/ 74860 h 110081"/>
              <a:gd name="connsiteX110" fmla="*/ 387874 w 610101"/>
              <a:gd name="connsiteY110" fmla="*/ 95769 h 110081"/>
              <a:gd name="connsiteX111" fmla="*/ 440661 w 610101"/>
              <a:gd name="connsiteY111" fmla="*/ 95769 h 110081"/>
              <a:gd name="connsiteX112" fmla="*/ 440661 w 610101"/>
              <a:gd name="connsiteY112" fmla="*/ 108588 h 110081"/>
              <a:gd name="connsiteX113" fmla="*/ 459709 w 610101"/>
              <a:gd name="connsiteY113" fmla="*/ 1493 h 110081"/>
              <a:gd name="connsiteX114" fmla="*/ 525132 w 610101"/>
              <a:gd name="connsiteY114" fmla="*/ 1493 h 110081"/>
              <a:gd name="connsiteX115" fmla="*/ 525132 w 610101"/>
              <a:gd name="connsiteY115" fmla="*/ 14374 h 110081"/>
              <a:gd name="connsiteX116" fmla="*/ 473777 w 610101"/>
              <a:gd name="connsiteY116" fmla="*/ 14374 h 110081"/>
              <a:gd name="connsiteX117" fmla="*/ 473777 w 610101"/>
              <a:gd name="connsiteY117" fmla="*/ 49907 h 110081"/>
              <a:gd name="connsiteX118" fmla="*/ 517413 w 610101"/>
              <a:gd name="connsiteY118" fmla="*/ 49907 h 110081"/>
              <a:gd name="connsiteX119" fmla="*/ 517413 w 610101"/>
              <a:gd name="connsiteY119" fmla="*/ 62601 h 110081"/>
              <a:gd name="connsiteX120" fmla="*/ 473777 w 610101"/>
              <a:gd name="connsiteY120" fmla="*/ 62601 h 110081"/>
              <a:gd name="connsiteX121" fmla="*/ 473777 w 610101"/>
              <a:gd name="connsiteY121" fmla="*/ 108588 h 110081"/>
              <a:gd name="connsiteX122" fmla="*/ 459709 w 610101"/>
              <a:gd name="connsiteY122" fmla="*/ 108588 h 110081"/>
              <a:gd name="connsiteX123" fmla="*/ 459709 w 610101"/>
              <a:gd name="connsiteY123" fmla="*/ 1493 h 110081"/>
              <a:gd name="connsiteX124" fmla="*/ 544616 w 610101"/>
              <a:gd name="connsiteY124" fmla="*/ 1493 h 110081"/>
              <a:gd name="connsiteX125" fmla="*/ 610102 w 610101"/>
              <a:gd name="connsiteY125" fmla="*/ 1493 h 110081"/>
              <a:gd name="connsiteX126" fmla="*/ 610102 w 610101"/>
              <a:gd name="connsiteY126" fmla="*/ 14374 h 110081"/>
              <a:gd name="connsiteX127" fmla="*/ 558684 w 610101"/>
              <a:gd name="connsiteY127" fmla="*/ 14374 h 110081"/>
              <a:gd name="connsiteX128" fmla="*/ 558684 w 610101"/>
              <a:gd name="connsiteY128" fmla="*/ 49907 h 110081"/>
              <a:gd name="connsiteX129" fmla="*/ 602321 w 610101"/>
              <a:gd name="connsiteY129" fmla="*/ 49907 h 110081"/>
              <a:gd name="connsiteX130" fmla="*/ 602321 w 610101"/>
              <a:gd name="connsiteY130" fmla="*/ 62601 h 110081"/>
              <a:gd name="connsiteX131" fmla="*/ 558684 w 610101"/>
              <a:gd name="connsiteY131" fmla="*/ 62601 h 110081"/>
              <a:gd name="connsiteX132" fmla="*/ 558684 w 610101"/>
              <a:gd name="connsiteY132" fmla="*/ 108588 h 110081"/>
              <a:gd name="connsiteX133" fmla="*/ 544616 w 610101"/>
              <a:gd name="connsiteY133" fmla="*/ 108588 h 110081"/>
              <a:gd name="connsiteX134" fmla="*/ 544616 w 610101"/>
              <a:gd name="connsiteY13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0101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3628"/>
                </a:moveTo>
                <a:lnTo>
                  <a:pt x="125432" y="108588"/>
                </a:lnTo>
                <a:lnTo>
                  <a:pt x="110803" y="108588"/>
                </a:lnTo>
                <a:lnTo>
                  <a:pt x="156556" y="14374"/>
                </a:lnTo>
                <a:lnTo>
                  <a:pt x="102026" y="14374"/>
                </a:lnTo>
                <a:lnTo>
                  <a:pt x="102026" y="1493"/>
                </a:lnTo>
                <a:lnTo>
                  <a:pt x="170874" y="1493"/>
                </a:lnTo>
                <a:lnTo>
                  <a:pt x="170874" y="13628"/>
                </a:lnTo>
                <a:close/>
                <a:moveTo>
                  <a:pt x="189984" y="1493"/>
                </a:moveTo>
                <a:lnTo>
                  <a:pt x="225964" y="1493"/>
                </a:lnTo>
                <a:cubicBezTo>
                  <a:pt x="233123" y="1493"/>
                  <a:pt x="239783" y="2365"/>
                  <a:pt x="246008" y="4044"/>
                </a:cubicBezTo>
                <a:cubicBezTo>
                  <a:pt x="252171" y="5725"/>
                  <a:pt x="257524" y="8525"/>
                  <a:pt x="262130" y="12383"/>
                </a:cubicBezTo>
                <a:cubicBezTo>
                  <a:pt x="266675" y="16179"/>
                  <a:pt x="270285" y="21282"/>
                  <a:pt x="272900" y="27629"/>
                </a:cubicBezTo>
                <a:cubicBezTo>
                  <a:pt x="275452" y="34039"/>
                  <a:pt x="276759" y="41942"/>
                  <a:pt x="276759" y="51401"/>
                </a:cubicBezTo>
                <a:cubicBezTo>
                  <a:pt x="276759" y="63908"/>
                  <a:pt x="274456" y="74487"/>
                  <a:pt x="269911" y="83075"/>
                </a:cubicBezTo>
                <a:cubicBezTo>
                  <a:pt x="265430" y="91538"/>
                  <a:pt x="259205" y="97885"/>
                  <a:pt x="251361" y="102179"/>
                </a:cubicBezTo>
                <a:cubicBezTo>
                  <a:pt x="243518" y="106473"/>
                  <a:pt x="234492" y="108588"/>
                  <a:pt x="224345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4345" y="95893"/>
                </a:moveTo>
                <a:cubicBezTo>
                  <a:pt x="231691" y="95893"/>
                  <a:pt x="238165" y="94400"/>
                  <a:pt x="243767" y="91413"/>
                </a:cubicBezTo>
                <a:cubicBezTo>
                  <a:pt x="249307" y="88302"/>
                  <a:pt x="253664" y="83572"/>
                  <a:pt x="256715" y="77225"/>
                </a:cubicBezTo>
                <a:cubicBezTo>
                  <a:pt x="259952" y="70754"/>
                  <a:pt x="261508" y="62477"/>
                  <a:pt x="261508" y="52458"/>
                </a:cubicBezTo>
                <a:cubicBezTo>
                  <a:pt x="261508" y="42377"/>
                  <a:pt x="259952" y="34599"/>
                  <a:pt x="256902" y="29122"/>
                </a:cubicBezTo>
                <a:cubicBezTo>
                  <a:pt x="253789" y="23646"/>
                  <a:pt x="249557" y="19851"/>
                  <a:pt x="244203" y="17610"/>
                </a:cubicBezTo>
                <a:cubicBezTo>
                  <a:pt x="238912" y="15433"/>
                  <a:pt x="232811" y="14374"/>
                  <a:pt x="225964" y="14374"/>
                </a:cubicBezTo>
                <a:lnTo>
                  <a:pt x="203990" y="14374"/>
                </a:lnTo>
                <a:lnTo>
                  <a:pt x="203990" y="95893"/>
                </a:lnTo>
                <a:lnTo>
                  <a:pt x="224345" y="95893"/>
                </a:lnTo>
                <a:close/>
                <a:moveTo>
                  <a:pt x="307697" y="58992"/>
                </a:moveTo>
                <a:lnTo>
                  <a:pt x="307697" y="46298"/>
                </a:lnTo>
                <a:lnTo>
                  <a:pt x="322014" y="46298"/>
                </a:lnTo>
                <a:cubicBezTo>
                  <a:pt x="327616" y="46298"/>
                  <a:pt x="332160" y="44804"/>
                  <a:pt x="335647" y="41817"/>
                </a:cubicBezTo>
                <a:cubicBezTo>
                  <a:pt x="339194" y="38768"/>
                  <a:pt x="341000" y="34412"/>
                  <a:pt x="341000" y="28812"/>
                </a:cubicBezTo>
                <a:cubicBezTo>
                  <a:pt x="341000" y="23771"/>
                  <a:pt x="339381" y="19788"/>
                  <a:pt x="336082" y="16864"/>
                </a:cubicBezTo>
                <a:cubicBezTo>
                  <a:pt x="332783" y="13877"/>
                  <a:pt x="328052" y="12383"/>
                  <a:pt x="321890" y="12383"/>
                </a:cubicBezTo>
                <a:cubicBezTo>
                  <a:pt x="316723" y="12383"/>
                  <a:pt x="311806" y="13379"/>
                  <a:pt x="307261" y="15246"/>
                </a:cubicBezTo>
                <a:cubicBezTo>
                  <a:pt x="302779" y="17113"/>
                  <a:pt x="298110" y="20162"/>
                  <a:pt x="293193" y="24331"/>
                </a:cubicBezTo>
                <a:lnTo>
                  <a:pt x="293193" y="9707"/>
                </a:lnTo>
                <a:cubicBezTo>
                  <a:pt x="301160" y="3235"/>
                  <a:pt x="310809" y="0"/>
                  <a:pt x="322014" y="0"/>
                </a:cubicBezTo>
                <a:cubicBezTo>
                  <a:pt x="332285" y="0"/>
                  <a:pt x="340315" y="2613"/>
                  <a:pt x="346105" y="7779"/>
                </a:cubicBezTo>
                <a:cubicBezTo>
                  <a:pt x="351956" y="12943"/>
                  <a:pt x="354881" y="19726"/>
                  <a:pt x="354881" y="28065"/>
                </a:cubicBezTo>
                <a:cubicBezTo>
                  <a:pt x="354881" y="34848"/>
                  <a:pt x="353014" y="40262"/>
                  <a:pt x="349217" y="44244"/>
                </a:cubicBezTo>
                <a:cubicBezTo>
                  <a:pt x="345544" y="48227"/>
                  <a:pt x="341125" y="50840"/>
                  <a:pt x="335958" y="52147"/>
                </a:cubicBezTo>
                <a:cubicBezTo>
                  <a:pt x="340128" y="52707"/>
                  <a:pt x="343925" y="54201"/>
                  <a:pt x="347412" y="56441"/>
                </a:cubicBezTo>
                <a:cubicBezTo>
                  <a:pt x="351022" y="58681"/>
                  <a:pt x="353886" y="61543"/>
                  <a:pt x="356127" y="65153"/>
                </a:cubicBezTo>
                <a:cubicBezTo>
                  <a:pt x="358305" y="68700"/>
                  <a:pt x="359363" y="72869"/>
                  <a:pt x="359363" y="77661"/>
                </a:cubicBezTo>
                <a:cubicBezTo>
                  <a:pt x="359363" y="84257"/>
                  <a:pt x="357745" y="89982"/>
                  <a:pt x="354446" y="94836"/>
                </a:cubicBezTo>
                <a:cubicBezTo>
                  <a:pt x="351147" y="99752"/>
                  <a:pt x="346665" y="103486"/>
                  <a:pt x="340875" y="106224"/>
                </a:cubicBezTo>
                <a:cubicBezTo>
                  <a:pt x="335211" y="108775"/>
                  <a:pt x="328550" y="110082"/>
                  <a:pt x="321018" y="110082"/>
                </a:cubicBezTo>
                <a:cubicBezTo>
                  <a:pt x="307822" y="110082"/>
                  <a:pt x="297675" y="107033"/>
                  <a:pt x="290516" y="100997"/>
                </a:cubicBezTo>
                <a:lnTo>
                  <a:pt x="290516" y="86062"/>
                </a:lnTo>
                <a:cubicBezTo>
                  <a:pt x="294313" y="89733"/>
                  <a:pt x="298857" y="92596"/>
                  <a:pt x="304273" y="94711"/>
                </a:cubicBezTo>
                <a:cubicBezTo>
                  <a:pt x="309626" y="96765"/>
                  <a:pt x="315291" y="97823"/>
                  <a:pt x="321143" y="97823"/>
                </a:cubicBezTo>
                <a:cubicBezTo>
                  <a:pt x="328488" y="97823"/>
                  <a:pt x="334277" y="96080"/>
                  <a:pt x="338448" y="92596"/>
                </a:cubicBezTo>
                <a:cubicBezTo>
                  <a:pt x="342743" y="89048"/>
                  <a:pt x="344922" y="84132"/>
                  <a:pt x="344922" y="77972"/>
                </a:cubicBezTo>
                <a:cubicBezTo>
                  <a:pt x="344922" y="71998"/>
                  <a:pt x="342930" y="67393"/>
                  <a:pt x="339071" y="64095"/>
                </a:cubicBezTo>
                <a:cubicBezTo>
                  <a:pt x="335273" y="60673"/>
                  <a:pt x="329422" y="58992"/>
                  <a:pt x="321454" y="58992"/>
                </a:cubicBezTo>
                <a:lnTo>
                  <a:pt x="307697" y="58992"/>
                </a:lnTo>
                <a:close/>
                <a:moveTo>
                  <a:pt x="440661" y="108588"/>
                </a:moveTo>
                <a:lnTo>
                  <a:pt x="372374" y="108588"/>
                </a:lnTo>
                <a:lnTo>
                  <a:pt x="372374" y="94400"/>
                </a:lnTo>
                <a:cubicBezTo>
                  <a:pt x="383018" y="85812"/>
                  <a:pt x="391733" y="78532"/>
                  <a:pt x="398518" y="72433"/>
                </a:cubicBezTo>
                <a:cubicBezTo>
                  <a:pt x="405365" y="66397"/>
                  <a:pt x="410718" y="61108"/>
                  <a:pt x="414516" y="56628"/>
                </a:cubicBezTo>
                <a:cubicBezTo>
                  <a:pt x="418376" y="52023"/>
                  <a:pt x="421052" y="47791"/>
                  <a:pt x="422546" y="43933"/>
                </a:cubicBezTo>
                <a:cubicBezTo>
                  <a:pt x="424164" y="40012"/>
                  <a:pt x="424974" y="36092"/>
                  <a:pt x="424974" y="32109"/>
                </a:cubicBezTo>
                <a:cubicBezTo>
                  <a:pt x="424974" y="25949"/>
                  <a:pt x="423107" y="21095"/>
                  <a:pt x="419433" y="17610"/>
                </a:cubicBezTo>
                <a:cubicBezTo>
                  <a:pt x="415761" y="14125"/>
                  <a:pt x="410657" y="12383"/>
                  <a:pt x="404183" y="12383"/>
                </a:cubicBezTo>
                <a:cubicBezTo>
                  <a:pt x="393849" y="12383"/>
                  <a:pt x="384139" y="17361"/>
                  <a:pt x="375175" y="27194"/>
                </a:cubicBezTo>
                <a:lnTo>
                  <a:pt x="375175" y="12134"/>
                </a:lnTo>
                <a:cubicBezTo>
                  <a:pt x="383454" y="4044"/>
                  <a:pt x="393289" y="0"/>
                  <a:pt x="404618" y="0"/>
                </a:cubicBezTo>
                <a:cubicBezTo>
                  <a:pt x="415387" y="0"/>
                  <a:pt x="423854" y="2800"/>
                  <a:pt x="430016" y="8401"/>
                </a:cubicBezTo>
                <a:cubicBezTo>
                  <a:pt x="436303" y="13877"/>
                  <a:pt x="439416" y="21344"/>
                  <a:pt x="439416" y="30803"/>
                </a:cubicBezTo>
                <a:cubicBezTo>
                  <a:pt x="439416" y="35657"/>
                  <a:pt x="438669" y="40324"/>
                  <a:pt x="437050" y="44804"/>
                </a:cubicBezTo>
                <a:cubicBezTo>
                  <a:pt x="435556" y="49222"/>
                  <a:pt x="432879" y="53827"/>
                  <a:pt x="428958" y="58681"/>
                </a:cubicBezTo>
                <a:cubicBezTo>
                  <a:pt x="425223" y="63473"/>
                  <a:pt x="419994" y="68887"/>
                  <a:pt x="413271" y="74860"/>
                </a:cubicBezTo>
                <a:cubicBezTo>
                  <a:pt x="406611" y="80835"/>
                  <a:pt x="398145" y="87804"/>
                  <a:pt x="387874" y="95769"/>
                </a:cubicBezTo>
                <a:lnTo>
                  <a:pt x="440661" y="95769"/>
                </a:lnTo>
                <a:lnTo>
                  <a:pt x="440661" y="108588"/>
                </a:lnTo>
                <a:close/>
                <a:moveTo>
                  <a:pt x="459709" y="1493"/>
                </a:moveTo>
                <a:lnTo>
                  <a:pt x="525132" y="1493"/>
                </a:lnTo>
                <a:lnTo>
                  <a:pt x="525132" y="14374"/>
                </a:lnTo>
                <a:lnTo>
                  <a:pt x="473777" y="14374"/>
                </a:lnTo>
                <a:lnTo>
                  <a:pt x="473777" y="49907"/>
                </a:lnTo>
                <a:lnTo>
                  <a:pt x="517413" y="49907"/>
                </a:lnTo>
                <a:lnTo>
                  <a:pt x="517413" y="62601"/>
                </a:lnTo>
                <a:lnTo>
                  <a:pt x="473777" y="62601"/>
                </a:lnTo>
                <a:lnTo>
                  <a:pt x="473777" y="108588"/>
                </a:lnTo>
                <a:lnTo>
                  <a:pt x="459709" y="108588"/>
                </a:lnTo>
                <a:lnTo>
                  <a:pt x="459709" y="1493"/>
                </a:lnTo>
                <a:close/>
                <a:moveTo>
                  <a:pt x="544616" y="1493"/>
                </a:moveTo>
                <a:lnTo>
                  <a:pt x="610102" y="1493"/>
                </a:lnTo>
                <a:lnTo>
                  <a:pt x="610102" y="14374"/>
                </a:lnTo>
                <a:lnTo>
                  <a:pt x="558684" y="14374"/>
                </a:lnTo>
                <a:lnTo>
                  <a:pt x="558684" y="49907"/>
                </a:lnTo>
                <a:lnTo>
                  <a:pt x="602321" y="49907"/>
                </a:lnTo>
                <a:lnTo>
                  <a:pt x="602321" y="62601"/>
                </a:lnTo>
                <a:lnTo>
                  <a:pt x="558684" y="62601"/>
                </a:lnTo>
                <a:lnTo>
                  <a:pt x="558684" y="108588"/>
                </a:lnTo>
                <a:lnTo>
                  <a:pt x="544616" y="108588"/>
                </a:lnTo>
                <a:lnTo>
                  <a:pt x="544616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8" name="Полилиния 917">
            <a:extLst>
              <a:ext uri="{FF2B5EF4-FFF2-40B4-BE49-F238E27FC236}">
                <a16:creationId xmlns:a16="http://schemas.microsoft.com/office/drawing/2014/main" id="{FCD23607-F948-D811-65BB-2FF890A1307B}"/>
              </a:ext>
            </a:extLst>
          </p:cNvPr>
          <p:cNvSpPr/>
          <p:nvPr userDrawn="1"/>
        </p:nvSpPr>
        <p:spPr>
          <a:xfrm>
            <a:off x="4142452" y="8144980"/>
            <a:ext cx="2557159" cy="726227"/>
          </a:xfrm>
          <a:custGeom>
            <a:avLst/>
            <a:gdLst>
              <a:gd name="connsiteX0" fmla="*/ 1860 w 2191162"/>
              <a:gd name="connsiteY0" fmla="*/ 1622 h 622284"/>
              <a:gd name="connsiteX1" fmla="*/ 2193023 w 2191162"/>
              <a:gd name="connsiteY1" fmla="*/ 1622 h 622284"/>
              <a:gd name="connsiteX2" fmla="*/ 2193023 w 2191162"/>
              <a:gd name="connsiteY2" fmla="*/ 623906 h 622284"/>
              <a:gd name="connsiteX3" fmla="*/ 1860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622"/>
                </a:moveTo>
                <a:lnTo>
                  <a:pt x="2193023" y="1622"/>
                </a:lnTo>
                <a:lnTo>
                  <a:pt x="2193023" y="623906"/>
                </a:lnTo>
                <a:lnTo>
                  <a:pt x="1860" y="623906"/>
                </a:lnTo>
                <a:close/>
              </a:path>
            </a:pathLst>
          </a:custGeom>
          <a:solidFill>
            <a:srgbClr val="9B5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9" name="Полилиния 918">
            <a:extLst>
              <a:ext uri="{FF2B5EF4-FFF2-40B4-BE49-F238E27FC236}">
                <a16:creationId xmlns:a16="http://schemas.microsoft.com/office/drawing/2014/main" id="{1747FCC0-6CFD-42E7-1D2C-19846380E24C}"/>
              </a:ext>
            </a:extLst>
          </p:cNvPr>
          <p:cNvSpPr/>
          <p:nvPr userDrawn="1"/>
        </p:nvSpPr>
        <p:spPr>
          <a:xfrm>
            <a:off x="4265660" y="8446726"/>
            <a:ext cx="704454" cy="128468"/>
          </a:xfrm>
          <a:custGeom>
            <a:avLst/>
            <a:gdLst>
              <a:gd name="connsiteX0" fmla="*/ 22099 w 603628"/>
              <a:gd name="connsiteY0" fmla="*/ 108588 h 110081"/>
              <a:gd name="connsiteX1" fmla="*/ 10147 w 603628"/>
              <a:gd name="connsiteY1" fmla="*/ 108588 h 110081"/>
              <a:gd name="connsiteX2" fmla="*/ 16434 w 603628"/>
              <a:gd name="connsiteY2" fmla="*/ 77661 h 110081"/>
              <a:gd name="connsiteX3" fmla="*/ 0 w 603628"/>
              <a:gd name="connsiteY3" fmla="*/ 77661 h 110081"/>
              <a:gd name="connsiteX4" fmla="*/ 0 w 603628"/>
              <a:gd name="connsiteY4" fmla="*/ 67206 h 110081"/>
              <a:gd name="connsiteX5" fmla="*/ 18675 w 603628"/>
              <a:gd name="connsiteY5" fmla="*/ 67206 h 110081"/>
              <a:gd name="connsiteX6" fmla="*/ 24215 w 603628"/>
              <a:gd name="connsiteY6" fmla="*/ 40012 h 110081"/>
              <a:gd name="connsiteX7" fmla="*/ 4046 w 603628"/>
              <a:gd name="connsiteY7" fmla="*/ 40012 h 110081"/>
              <a:gd name="connsiteX8" fmla="*/ 4046 w 603628"/>
              <a:gd name="connsiteY8" fmla="*/ 29559 h 110081"/>
              <a:gd name="connsiteX9" fmla="*/ 26270 w 603628"/>
              <a:gd name="connsiteY9" fmla="*/ 29559 h 110081"/>
              <a:gd name="connsiteX10" fmla="*/ 32121 w 603628"/>
              <a:gd name="connsiteY10" fmla="*/ 1493 h 110081"/>
              <a:gd name="connsiteX11" fmla="*/ 44073 w 603628"/>
              <a:gd name="connsiteY11" fmla="*/ 1493 h 110081"/>
              <a:gd name="connsiteX12" fmla="*/ 38221 w 603628"/>
              <a:gd name="connsiteY12" fmla="*/ 29559 h 110081"/>
              <a:gd name="connsiteX13" fmla="*/ 60630 w 603628"/>
              <a:gd name="connsiteY13" fmla="*/ 29559 h 110081"/>
              <a:gd name="connsiteX14" fmla="*/ 66482 w 603628"/>
              <a:gd name="connsiteY14" fmla="*/ 1493 h 110081"/>
              <a:gd name="connsiteX15" fmla="*/ 78434 w 603628"/>
              <a:gd name="connsiteY15" fmla="*/ 1493 h 110081"/>
              <a:gd name="connsiteX16" fmla="*/ 72582 w 603628"/>
              <a:gd name="connsiteY16" fmla="*/ 29559 h 110081"/>
              <a:gd name="connsiteX17" fmla="*/ 89328 w 603628"/>
              <a:gd name="connsiteY17" fmla="*/ 29559 h 110081"/>
              <a:gd name="connsiteX18" fmla="*/ 89328 w 603628"/>
              <a:gd name="connsiteY18" fmla="*/ 40012 h 110081"/>
              <a:gd name="connsiteX19" fmla="*/ 70529 w 603628"/>
              <a:gd name="connsiteY19" fmla="*/ 40012 h 110081"/>
              <a:gd name="connsiteX20" fmla="*/ 64988 w 603628"/>
              <a:gd name="connsiteY20" fmla="*/ 67206 h 110081"/>
              <a:gd name="connsiteX21" fmla="*/ 85282 w 603628"/>
              <a:gd name="connsiteY21" fmla="*/ 67206 h 110081"/>
              <a:gd name="connsiteX22" fmla="*/ 85282 w 603628"/>
              <a:gd name="connsiteY22" fmla="*/ 77661 h 110081"/>
              <a:gd name="connsiteX23" fmla="*/ 62747 w 603628"/>
              <a:gd name="connsiteY23" fmla="*/ 77661 h 110081"/>
              <a:gd name="connsiteX24" fmla="*/ 56460 w 603628"/>
              <a:gd name="connsiteY24" fmla="*/ 108588 h 110081"/>
              <a:gd name="connsiteX25" fmla="*/ 44508 w 603628"/>
              <a:gd name="connsiteY25" fmla="*/ 108588 h 110081"/>
              <a:gd name="connsiteX26" fmla="*/ 50795 w 603628"/>
              <a:gd name="connsiteY26" fmla="*/ 77661 h 110081"/>
              <a:gd name="connsiteX27" fmla="*/ 28386 w 603628"/>
              <a:gd name="connsiteY27" fmla="*/ 77661 h 110081"/>
              <a:gd name="connsiteX28" fmla="*/ 22099 w 603628"/>
              <a:gd name="connsiteY28" fmla="*/ 108588 h 110081"/>
              <a:gd name="connsiteX29" fmla="*/ 30627 w 603628"/>
              <a:gd name="connsiteY29" fmla="*/ 67206 h 110081"/>
              <a:gd name="connsiteX30" fmla="*/ 53036 w 603628"/>
              <a:gd name="connsiteY30" fmla="*/ 67206 h 110081"/>
              <a:gd name="connsiteX31" fmla="*/ 58576 w 603628"/>
              <a:gd name="connsiteY31" fmla="*/ 40012 h 110081"/>
              <a:gd name="connsiteX32" fmla="*/ 36167 w 603628"/>
              <a:gd name="connsiteY32" fmla="*/ 40012 h 110081"/>
              <a:gd name="connsiteX33" fmla="*/ 30627 w 603628"/>
              <a:gd name="connsiteY33" fmla="*/ 67206 h 110081"/>
              <a:gd name="connsiteX34" fmla="*/ 100221 w 603628"/>
              <a:gd name="connsiteY34" fmla="*/ 35844 h 110081"/>
              <a:gd name="connsiteX35" fmla="*/ 104828 w 603628"/>
              <a:gd name="connsiteY35" fmla="*/ 17051 h 110081"/>
              <a:gd name="connsiteX36" fmla="*/ 117713 w 603628"/>
              <a:gd name="connsiteY36" fmla="*/ 4480 h 110081"/>
              <a:gd name="connsiteX37" fmla="*/ 135765 w 603628"/>
              <a:gd name="connsiteY37" fmla="*/ 0 h 110081"/>
              <a:gd name="connsiteX38" fmla="*/ 157428 w 603628"/>
              <a:gd name="connsiteY38" fmla="*/ 5849 h 110081"/>
              <a:gd name="connsiteX39" fmla="*/ 169504 w 603628"/>
              <a:gd name="connsiteY39" fmla="*/ 21842 h 110081"/>
              <a:gd name="connsiteX40" fmla="*/ 173239 w 603628"/>
              <a:gd name="connsiteY40" fmla="*/ 45426 h 110081"/>
              <a:gd name="connsiteX41" fmla="*/ 168633 w 603628"/>
              <a:gd name="connsiteY41" fmla="*/ 80088 h 110081"/>
              <a:gd name="connsiteX42" fmla="*/ 154315 w 603628"/>
              <a:gd name="connsiteY42" fmla="*/ 102303 h 110081"/>
              <a:gd name="connsiteX43" fmla="*/ 129790 w 603628"/>
              <a:gd name="connsiteY43" fmla="*/ 110082 h 110081"/>
              <a:gd name="connsiteX44" fmla="*/ 106757 w 603628"/>
              <a:gd name="connsiteY44" fmla="*/ 104543 h 110081"/>
              <a:gd name="connsiteX45" fmla="*/ 106757 w 603628"/>
              <a:gd name="connsiteY45" fmla="*/ 91413 h 110081"/>
              <a:gd name="connsiteX46" fmla="*/ 129790 w 603628"/>
              <a:gd name="connsiteY46" fmla="*/ 98010 h 110081"/>
              <a:gd name="connsiteX47" fmla="*/ 145352 w 603628"/>
              <a:gd name="connsiteY47" fmla="*/ 92907 h 110081"/>
              <a:gd name="connsiteX48" fmla="*/ 155062 w 603628"/>
              <a:gd name="connsiteY48" fmla="*/ 79154 h 110081"/>
              <a:gd name="connsiteX49" fmla="*/ 159358 w 603628"/>
              <a:gd name="connsiteY49" fmla="*/ 59739 h 110081"/>
              <a:gd name="connsiteX50" fmla="*/ 148340 w 603628"/>
              <a:gd name="connsiteY50" fmla="*/ 68389 h 110081"/>
              <a:gd name="connsiteX51" fmla="*/ 134396 w 603628"/>
              <a:gd name="connsiteY51" fmla="*/ 71127 h 110081"/>
              <a:gd name="connsiteX52" fmla="*/ 117091 w 603628"/>
              <a:gd name="connsiteY52" fmla="*/ 67082 h 110081"/>
              <a:gd name="connsiteX53" fmla="*/ 104703 w 603628"/>
              <a:gd name="connsiteY53" fmla="*/ 55134 h 110081"/>
              <a:gd name="connsiteX54" fmla="*/ 100221 w 603628"/>
              <a:gd name="connsiteY54" fmla="*/ 35844 h 110081"/>
              <a:gd name="connsiteX55" fmla="*/ 136201 w 603628"/>
              <a:gd name="connsiteY55" fmla="*/ 12134 h 110081"/>
              <a:gd name="connsiteX56" fmla="*/ 125432 w 603628"/>
              <a:gd name="connsiteY56" fmla="*/ 14810 h 110081"/>
              <a:gd name="connsiteX57" fmla="*/ 117401 w 603628"/>
              <a:gd name="connsiteY57" fmla="*/ 22589 h 110081"/>
              <a:gd name="connsiteX58" fmla="*/ 114414 w 603628"/>
              <a:gd name="connsiteY58" fmla="*/ 35532 h 110081"/>
              <a:gd name="connsiteX59" fmla="*/ 117401 w 603628"/>
              <a:gd name="connsiteY59" fmla="*/ 48725 h 110081"/>
              <a:gd name="connsiteX60" fmla="*/ 124996 w 603628"/>
              <a:gd name="connsiteY60" fmla="*/ 56752 h 110081"/>
              <a:gd name="connsiteX61" fmla="*/ 134707 w 603628"/>
              <a:gd name="connsiteY61" fmla="*/ 59428 h 110081"/>
              <a:gd name="connsiteX62" fmla="*/ 151141 w 603628"/>
              <a:gd name="connsiteY62" fmla="*/ 53329 h 110081"/>
              <a:gd name="connsiteX63" fmla="*/ 157863 w 603628"/>
              <a:gd name="connsiteY63" fmla="*/ 35283 h 110081"/>
              <a:gd name="connsiteX64" fmla="*/ 152075 w 603628"/>
              <a:gd name="connsiteY64" fmla="*/ 18544 h 110081"/>
              <a:gd name="connsiteX65" fmla="*/ 136201 w 603628"/>
              <a:gd name="connsiteY65" fmla="*/ 12134 h 110081"/>
              <a:gd name="connsiteX66" fmla="*/ 189984 w 603628"/>
              <a:gd name="connsiteY66" fmla="*/ 1493 h 110081"/>
              <a:gd name="connsiteX67" fmla="*/ 226276 w 603628"/>
              <a:gd name="connsiteY67" fmla="*/ 1493 h 110081"/>
              <a:gd name="connsiteX68" fmla="*/ 252980 w 603628"/>
              <a:gd name="connsiteY68" fmla="*/ 7467 h 110081"/>
              <a:gd name="connsiteX69" fmla="*/ 262255 w 603628"/>
              <a:gd name="connsiteY69" fmla="*/ 27629 h 110081"/>
              <a:gd name="connsiteX70" fmla="*/ 256466 w 603628"/>
              <a:gd name="connsiteY70" fmla="*/ 45116 h 110081"/>
              <a:gd name="connsiteX71" fmla="*/ 240904 w 603628"/>
              <a:gd name="connsiteY71" fmla="*/ 53018 h 110081"/>
              <a:gd name="connsiteX72" fmla="*/ 259703 w 603628"/>
              <a:gd name="connsiteY72" fmla="*/ 60361 h 110081"/>
              <a:gd name="connsiteX73" fmla="*/ 266177 w 603628"/>
              <a:gd name="connsiteY73" fmla="*/ 77661 h 110081"/>
              <a:gd name="connsiteX74" fmla="*/ 260948 w 603628"/>
              <a:gd name="connsiteY74" fmla="*/ 95583 h 110081"/>
              <a:gd name="connsiteX75" fmla="*/ 246568 w 603628"/>
              <a:gd name="connsiteY75" fmla="*/ 105601 h 110081"/>
              <a:gd name="connsiteX76" fmla="*/ 225964 w 603628"/>
              <a:gd name="connsiteY76" fmla="*/ 108588 h 110081"/>
              <a:gd name="connsiteX77" fmla="*/ 189984 w 603628"/>
              <a:gd name="connsiteY77" fmla="*/ 108588 h 110081"/>
              <a:gd name="connsiteX78" fmla="*/ 189984 w 603628"/>
              <a:gd name="connsiteY78" fmla="*/ 1493 h 110081"/>
              <a:gd name="connsiteX79" fmla="*/ 225217 w 603628"/>
              <a:gd name="connsiteY79" fmla="*/ 47231 h 110081"/>
              <a:gd name="connsiteX80" fmla="*/ 241651 w 603628"/>
              <a:gd name="connsiteY80" fmla="*/ 42751 h 110081"/>
              <a:gd name="connsiteX81" fmla="*/ 248063 w 603628"/>
              <a:gd name="connsiteY81" fmla="*/ 28376 h 110081"/>
              <a:gd name="connsiteX82" fmla="*/ 242398 w 603628"/>
              <a:gd name="connsiteY82" fmla="*/ 17361 h 110081"/>
              <a:gd name="connsiteX83" fmla="*/ 226276 w 603628"/>
              <a:gd name="connsiteY83" fmla="*/ 14374 h 110081"/>
              <a:gd name="connsiteX84" fmla="*/ 203990 w 603628"/>
              <a:gd name="connsiteY84" fmla="*/ 14374 h 110081"/>
              <a:gd name="connsiteX85" fmla="*/ 203990 w 603628"/>
              <a:gd name="connsiteY85" fmla="*/ 47231 h 110081"/>
              <a:gd name="connsiteX86" fmla="*/ 225217 w 603628"/>
              <a:gd name="connsiteY86" fmla="*/ 47231 h 110081"/>
              <a:gd name="connsiteX87" fmla="*/ 225964 w 603628"/>
              <a:gd name="connsiteY87" fmla="*/ 95893 h 110081"/>
              <a:gd name="connsiteX88" fmla="*/ 244327 w 603628"/>
              <a:gd name="connsiteY88" fmla="*/ 92035 h 110081"/>
              <a:gd name="connsiteX89" fmla="*/ 251361 w 603628"/>
              <a:gd name="connsiteY89" fmla="*/ 77972 h 110081"/>
              <a:gd name="connsiteX90" fmla="*/ 244763 w 603628"/>
              <a:gd name="connsiteY90" fmla="*/ 63908 h 110081"/>
              <a:gd name="connsiteX91" fmla="*/ 224345 w 603628"/>
              <a:gd name="connsiteY91" fmla="*/ 59926 h 110081"/>
              <a:gd name="connsiteX92" fmla="*/ 203990 w 603628"/>
              <a:gd name="connsiteY92" fmla="*/ 59926 h 110081"/>
              <a:gd name="connsiteX93" fmla="*/ 203990 w 603628"/>
              <a:gd name="connsiteY93" fmla="*/ 95893 h 110081"/>
              <a:gd name="connsiteX94" fmla="*/ 225964 w 603628"/>
              <a:gd name="connsiteY94" fmla="*/ 95893 h 110081"/>
              <a:gd name="connsiteX95" fmla="*/ 310187 w 603628"/>
              <a:gd name="connsiteY95" fmla="*/ 110082 h 110081"/>
              <a:gd name="connsiteX96" fmla="*/ 281614 w 603628"/>
              <a:gd name="connsiteY96" fmla="*/ 102490 h 110081"/>
              <a:gd name="connsiteX97" fmla="*/ 281614 w 603628"/>
              <a:gd name="connsiteY97" fmla="*/ 87804 h 110081"/>
              <a:gd name="connsiteX98" fmla="*/ 294749 w 603628"/>
              <a:gd name="connsiteY98" fmla="*/ 95458 h 110081"/>
              <a:gd name="connsiteX99" fmla="*/ 310187 w 603628"/>
              <a:gd name="connsiteY99" fmla="*/ 97823 h 110081"/>
              <a:gd name="connsiteX100" fmla="*/ 327181 w 603628"/>
              <a:gd name="connsiteY100" fmla="*/ 91102 h 110081"/>
              <a:gd name="connsiteX101" fmla="*/ 333343 w 603628"/>
              <a:gd name="connsiteY101" fmla="*/ 73491 h 110081"/>
              <a:gd name="connsiteX102" fmla="*/ 327368 w 603628"/>
              <a:gd name="connsiteY102" fmla="*/ 56441 h 110081"/>
              <a:gd name="connsiteX103" fmla="*/ 312241 w 603628"/>
              <a:gd name="connsiteY103" fmla="*/ 51089 h 110081"/>
              <a:gd name="connsiteX104" fmla="*/ 301659 w 603628"/>
              <a:gd name="connsiteY104" fmla="*/ 53329 h 110081"/>
              <a:gd name="connsiteX105" fmla="*/ 295496 w 603628"/>
              <a:gd name="connsiteY105" fmla="*/ 57810 h 110081"/>
              <a:gd name="connsiteX106" fmla="*/ 284603 w 603628"/>
              <a:gd name="connsiteY106" fmla="*/ 57810 h 110081"/>
              <a:gd name="connsiteX107" fmla="*/ 284603 w 603628"/>
              <a:gd name="connsiteY107" fmla="*/ 1493 h 110081"/>
              <a:gd name="connsiteX108" fmla="*/ 342556 w 603628"/>
              <a:gd name="connsiteY108" fmla="*/ 1493 h 110081"/>
              <a:gd name="connsiteX109" fmla="*/ 342556 w 603628"/>
              <a:gd name="connsiteY109" fmla="*/ 14374 h 110081"/>
              <a:gd name="connsiteX110" fmla="*/ 296866 w 603628"/>
              <a:gd name="connsiteY110" fmla="*/ 14374 h 110081"/>
              <a:gd name="connsiteX111" fmla="*/ 296866 w 603628"/>
              <a:gd name="connsiteY111" fmla="*/ 44991 h 110081"/>
              <a:gd name="connsiteX112" fmla="*/ 304211 w 603628"/>
              <a:gd name="connsiteY112" fmla="*/ 41071 h 110081"/>
              <a:gd name="connsiteX113" fmla="*/ 314482 w 603628"/>
              <a:gd name="connsiteY113" fmla="*/ 39266 h 110081"/>
              <a:gd name="connsiteX114" fmla="*/ 331227 w 603628"/>
              <a:gd name="connsiteY114" fmla="*/ 43186 h 110081"/>
              <a:gd name="connsiteX115" fmla="*/ 343054 w 603628"/>
              <a:gd name="connsiteY115" fmla="*/ 54512 h 110081"/>
              <a:gd name="connsiteX116" fmla="*/ 347536 w 603628"/>
              <a:gd name="connsiteY116" fmla="*/ 73181 h 110081"/>
              <a:gd name="connsiteX117" fmla="*/ 342868 w 603628"/>
              <a:gd name="connsiteY117" fmla="*/ 92596 h 110081"/>
              <a:gd name="connsiteX118" fmla="*/ 330044 w 603628"/>
              <a:gd name="connsiteY118" fmla="*/ 105601 h 110081"/>
              <a:gd name="connsiteX119" fmla="*/ 310187 w 603628"/>
              <a:gd name="connsiteY119" fmla="*/ 110082 h 110081"/>
              <a:gd name="connsiteX120" fmla="*/ 368390 w 603628"/>
              <a:gd name="connsiteY120" fmla="*/ 1493 h 110081"/>
              <a:gd name="connsiteX121" fmla="*/ 433813 w 603628"/>
              <a:gd name="connsiteY121" fmla="*/ 1493 h 110081"/>
              <a:gd name="connsiteX122" fmla="*/ 433813 w 603628"/>
              <a:gd name="connsiteY122" fmla="*/ 14374 h 110081"/>
              <a:gd name="connsiteX123" fmla="*/ 382458 w 603628"/>
              <a:gd name="connsiteY123" fmla="*/ 14374 h 110081"/>
              <a:gd name="connsiteX124" fmla="*/ 382458 w 603628"/>
              <a:gd name="connsiteY124" fmla="*/ 49907 h 110081"/>
              <a:gd name="connsiteX125" fmla="*/ 426095 w 603628"/>
              <a:gd name="connsiteY125" fmla="*/ 49907 h 110081"/>
              <a:gd name="connsiteX126" fmla="*/ 426095 w 603628"/>
              <a:gd name="connsiteY126" fmla="*/ 62601 h 110081"/>
              <a:gd name="connsiteX127" fmla="*/ 382458 w 603628"/>
              <a:gd name="connsiteY127" fmla="*/ 62601 h 110081"/>
              <a:gd name="connsiteX128" fmla="*/ 382458 w 603628"/>
              <a:gd name="connsiteY128" fmla="*/ 108588 h 110081"/>
              <a:gd name="connsiteX129" fmla="*/ 368390 w 603628"/>
              <a:gd name="connsiteY129" fmla="*/ 108588 h 110081"/>
              <a:gd name="connsiteX130" fmla="*/ 368390 w 603628"/>
              <a:gd name="connsiteY130" fmla="*/ 1493 h 110081"/>
              <a:gd name="connsiteX131" fmla="*/ 453297 w 603628"/>
              <a:gd name="connsiteY131" fmla="*/ 1493 h 110081"/>
              <a:gd name="connsiteX132" fmla="*/ 518721 w 603628"/>
              <a:gd name="connsiteY132" fmla="*/ 1493 h 110081"/>
              <a:gd name="connsiteX133" fmla="*/ 518721 w 603628"/>
              <a:gd name="connsiteY133" fmla="*/ 14374 h 110081"/>
              <a:gd name="connsiteX134" fmla="*/ 467366 w 603628"/>
              <a:gd name="connsiteY134" fmla="*/ 14374 h 110081"/>
              <a:gd name="connsiteX135" fmla="*/ 467366 w 603628"/>
              <a:gd name="connsiteY135" fmla="*/ 49907 h 110081"/>
              <a:gd name="connsiteX136" fmla="*/ 511002 w 603628"/>
              <a:gd name="connsiteY136" fmla="*/ 49907 h 110081"/>
              <a:gd name="connsiteX137" fmla="*/ 511002 w 603628"/>
              <a:gd name="connsiteY137" fmla="*/ 62601 h 110081"/>
              <a:gd name="connsiteX138" fmla="*/ 467366 w 603628"/>
              <a:gd name="connsiteY138" fmla="*/ 62601 h 110081"/>
              <a:gd name="connsiteX139" fmla="*/ 467366 w 603628"/>
              <a:gd name="connsiteY139" fmla="*/ 108588 h 110081"/>
              <a:gd name="connsiteX140" fmla="*/ 453297 w 603628"/>
              <a:gd name="connsiteY140" fmla="*/ 108588 h 110081"/>
              <a:gd name="connsiteX141" fmla="*/ 453297 w 603628"/>
              <a:gd name="connsiteY141" fmla="*/ 1493 h 110081"/>
              <a:gd name="connsiteX142" fmla="*/ 538205 w 603628"/>
              <a:gd name="connsiteY142" fmla="*/ 1493 h 110081"/>
              <a:gd name="connsiteX143" fmla="*/ 603629 w 603628"/>
              <a:gd name="connsiteY143" fmla="*/ 1493 h 110081"/>
              <a:gd name="connsiteX144" fmla="*/ 603629 w 603628"/>
              <a:gd name="connsiteY144" fmla="*/ 14374 h 110081"/>
              <a:gd name="connsiteX145" fmla="*/ 552273 w 603628"/>
              <a:gd name="connsiteY145" fmla="*/ 14374 h 110081"/>
              <a:gd name="connsiteX146" fmla="*/ 552273 w 603628"/>
              <a:gd name="connsiteY146" fmla="*/ 49907 h 110081"/>
              <a:gd name="connsiteX147" fmla="*/ 595909 w 603628"/>
              <a:gd name="connsiteY147" fmla="*/ 49907 h 110081"/>
              <a:gd name="connsiteX148" fmla="*/ 595909 w 603628"/>
              <a:gd name="connsiteY148" fmla="*/ 62601 h 110081"/>
              <a:gd name="connsiteX149" fmla="*/ 552273 w 603628"/>
              <a:gd name="connsiteY149" fmla="*/ 62601 h 110081"/>
              <a:gd name="connsiteX150" fmla="*/ 552273 w 603628"/>
              <a:gd name="connsiteY150" fmla="*/ 108588 h 110081"/>
              <a:gd name="connsiteX151" fmla="*/ 538205 w 603628"/>
              <a:gd name="connsiteY151" fmla="*/ 108588 h 110081"/>
              <a:gd name="connsiteX152" fmla="*/ 538205 w 603628"/>
              <a:gd name="connsiteY15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60362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0221" y="35844"/>
                </a:moveTo>
                <a:cubicBezTo>
                  <a:pt x="100221" y="28687"/>
                  <a:pt x="101778" y="22402"/>
                  <a:pt x="104828" y="17051"/>
                </a:cubicBezTo>
                <a:cubicBezTo>
                  <a:pt x="108003" y="11637"/>
                  <a:pt x="112297" y="7467"/>
                  <a:pt x="117713" y="4480"/>
                </a:cubicBezTo>
                <a:cubicBezTo>
                  <a:pt x="123066" y="1493"/>
                  <a:pt x="129104" y="0"/>
                  <a:pt x="135765" y="0"/>
                </a:cubicBezTo>
                <a:cubicBezTo>
                  <a:pt x="144729" y="0"/>
                  <a:pt x="151950" y="1929"/>
                  <a:pt x="157428" y="5849"/>
                </a:cubicBezTo>
                <a:cubicBezTo>
                  <a:pt x="163030" y="9645"/>
                  <a:pt x="167014" y="14934"/>
                  <a:pt x="169504" y="21842"/>
                </a:cubicBezTo>
                <a:cubicBezTo>
                  <a:pt x="171994" y="28563"/>
                  <a:pt x="173239" y="36466"/>
                  <a:pt x="173239" y="45426"/>
                </a:cubicBezTo>
                <a:cubicBezTo>
                  <a:pt x="173239" y="58868"/>
                  <a:pt x="171745" y="70380"/>
                  <a:pt x="168633" y="80088"/>
                </a:cubicBezTo>
                <a:cubicBezTo>
                  <a:pt x="165521" y="89733"/>
                  <a:pt x="160790" y="97138"/>
                  <a:pt x="154315" y="102303"/>
                </a:cubicBezTo>
                <a:cubicBezTo>
                  <a:pt x="147904" y="107468"/>
                  <a:pt x="139749" y="110082"/>
                  <a:pt x="129790" y="110082"/>
                </a:cubicBezTo>
                <a:cubicBezTo>
                  <a:pt x="120825" y="110082"/>
                  <a:pt x="113169" y="108215"/>
                  <a:pt x="106757" y="104543"/>
                </a:cubicBezTo>
                <a:lnTo>
                  <a:pt x="106757" y="91413"/>
                </a:lnTo>
                <a:cubicBezTo>
                  <a:pt x="113542" y="95769"/>
                  <a:pt x="121199" y="98010"/>
                  <a:pt x="129790" y="98010"/>
                </a:cubicBezTo>
                <a:cubicBezTo>
                  <a:pt x="135952" y="98010"/>
                  <a:pt x="141119" y="96267"/>
                  <a:pt x="145352" y="92907"/>
                </a:cubicBezTo>
                <a:cubicBezTo>
                  <a:pt x="149522" y="89546"/>
                  <a:pt x="152759" y="84941"/>
                  <a:pt x="155062" y="79154"/>
                </a:cubicBezTo>
                <a:cubicBezTo>
                  <a:pt x="157428" y="73367"/>
                  <a:pt x="158859" y="66896"/>
                  <a:pt x="159358" y="59739"/>
                </a:cubicBezTo>
                <a:cubicBezTo>
                  <a:pt x="156307" y="63660"/>
                  <a:pt x="152572" y="66522"/>
                  <a:pt x="148340" y="68389"/>
                </a:cubicBezTo>
                <a:cubicBezTo>
                  <a:pt x="144044" y="70193"/>
                  <a:pt x="139375" y="71127"/>
                  <a:pt x="134396" y="71127"/>
                </a:cubicBezTo>
                <a:cubicBezTo>
                  <a:pt x="128047" y="71127"/>
                  <a:pt x="122257" y="69758"/>
                  <a:pt x="117091" y="67082"/>
                </a:cubicBezTo>
                <a:cubicBezTo>
                  <a:pt x="111923" y="64406"/>
                  <a:pt x="107753" y="60424"/>
                  <a:pt x="104703" y="55134"/>
                </a:cubicBezTo>
                <a:cubicBezTo>
                  <a:pt x="101715" y="49845"/>
                  <a:pt x="100221" y="43435"/>
                  <a:pt x="100221" y="35844"/>
                </a:cubicBezTo>
                <a:close/>
                <a:moveTo>
                  <a:pt x="136201" y="12134"/>
                </a:moveTo>
                <a:cubicBezTo>
                  <a:pt x="132404" y="12134"/>
                  <a:pt x="128856" y="13006"/>
                  <a:pt x="125432" y="14810"/>
                </a:cubicBezTo>
                <a:cubicBezTo>
                  <a:pt x="122195" y="16490"/>
                  <a:pt x="119456" y="19104"/>
                  <a:pt x="117401" y="22589"/>
                </a:cubicBezTo>
                <a:cubicBezTo>
                  <a:pt x="115410" y="25949"/>
                  <a:pt x="114414" y="30305"/>
                  <a:pt x="114414" y="35532"/>
                </a:cubicBezTo>
                <a:cubicBezTo>
                  <a:pt x="114414" y="40759"/>
                  <a:pt x="115410" y="45116"/>
                  <a:pt x="117401" y="48725"/>
                </a:cubicBezTo>
                <a:cubicBezTo>
                  <a:pt x="119394" y="52271"/>
                  <a:pt x="121946" y="54947"/>
                  <a:pt x="124996" y="56752"/>
                </a:cubicBezTo>
                <a:cubicBezTo>
                  <a:pt x="128109" y="58556"/>
                  <a:pt x="131346" y="59428"/>
                  <a:pt x="134707" y="59428"/>
                </a:cubicBezTo>
                <a:cubicBezTo>
                  <a:pt x="141306" y="59428"/>
                  <a:pt x="146784" y="57437"/>
                  <a:pt x="151141" y="53329"/>
                </a:cubicBezTo>
                <a:cubicBezTo>
                  <a:pt x="155622" y="49160"/>
                  <a:pt x="157863" y="43124"/>
                  <a:pt x="157863" y="35283"/>
                </a:cubicBezTo>
                <a:cubicBezTo>
                  <a:pt x="157863" y="28313"/>
                  <a:pt x="155934" y="22713"/>
                  <a:pt x="152075" y="18544"/>
                </a:cubicBezTo>
                <a:cubicBezTo>
                  <a:pt x="148153" y="14250"/>
                  <a:pt x="142862" y="12134"/>
                  <a:pt x="136201" y="12134"/>
                </a:cubicBez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2" y="3484"/>
                  <a:pt x="252980" y="7467"/>
                </a:cubicBezTo>
                <a:cubicBezTo>
                  <a:pt x="259205" y="11450"/>
                  <a:pt x="262255" y="18170"/>
                  <a:pt x="262255" y="27629"/>
                </a:cubicBezTo>
                <a:cubicBezTo>
                  <a:pt x="262255" y="35283"/>
                  <a:pt x="260326" y="41133"/>
                  <a:pt x="256466" y="45116"/>
                </a:cubicBezTo>
                <a:cubicBezTo>
                  <a:pt x="252544" y="48974"/>
                  <a:pt x="247377" y="51649"/>
                  <a:pt x="240904" y="53018"/>
                </a:cubicBezTo>
                <a:cubicBezTo>
                  <a:pt x="249183" y="54014"/>
                  <a:pt x="255470" y="56441"/>
                  <a:pt x="259703" y="60361"/>
                </a:cubicBezTo>
                <a:cubicBezTo>
                  <a:pt x="263998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8" y="95583"/>
                </a:cubicBezTo>
                <a:cubicBezTo>
                  <a:pt x="257462" y="100188"/>
                  <a:pt x="252669" y="103486"/>
                  <a:pt x="246568" y="105601"/>
                </a:cubicBezTo>
                <a:cubicBezTo>
                  <a:pt x="240530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7" y="47231"/>
                </a:moveTo>
                <a:cubicBezTo>
                  <a:pt x="232002" y="47231"/>
                  <a:pt x="237480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8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7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1" y="84755"/>
                  <a:pt x="251361" y="77972"/>
                </a:cubicBezTo>
                <a:cubicBezTo>
                  <a:pt x="251361" y="71189"/>
                  <a:pt x="249183" y="66522"/>
                  <a:pt x="244763" y="63908"/>
                </a:cubicBezTo>
                <a:cubicBezTo>
                  <a:pt x="240530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310187" y="110082"/>
                </a:moveTo>
                <a:cubicBezTo>
                  <a:pt x="298235" y="110082"/>
                  <a:pt x="288711" y="107530"/>
                  <a:pt x="281614" y="102490"/>
                </a:cubicBezTo>
                <a:lnTo>
                  <a:pt x="281614" y="87804"/>
                </a:lnTo>
                <a:cubicBezTo>
                  <a:pt x="285785" y="91226"/>
                  <a:pt x="290205" y="93778"/>
                  <a:pt x="294749" y="95458"/>
                </a:cubicBezTo>
                <a:cubicBezTo>
                  <a:pt x="299356" y="97014"/>
                  <a:pt x="304460" y="97823"/>
                  <a:pt x="310187" y="97823"/>
                </a:cubicBezTo>
                <a:cubicBezTo>
                  <a:pt x="317532" y="97823"/>
                  <a:pt x="323197" y="95583"/>
                  <a:pt x="327181" y="91102"/>
                </a:cubicBezTo>
                <a:cubicBezTo>
                  <a:pt x="331289" y="86621"/>
                  <a:pt x="333343" y="80772"/>
                  <a:pt x="333343" y="73491"/>
                </a:cubicBezTo>
                <a:cubicBezTo>
                  <a:pt x="333343" y="65713"/>
                  <a:pt x="331351" y="60050"/>
                  <a:pt x="327368" y="56441"/>
                </a:cubicBezTo>
                <a:cubicBezTo>
                  <a:pt x="323384" y="52894"/>
                  <a:pt x="318341" y="51089"/>
                  <a:pt x="312241" y="51089"/>
                </a:cubicBezTo>
                <a:cubicBezTo>
                  <a:pt x="307884" y="51089"/>
                  <a:pt x="304335" y="51836"/>
                  <a:pt x="301659" y="53329"/>
                </a:cubicBezTo>
                <a:cubicBezTo>
                  <a:pt x="298982" y="54698"/>
                  <a:pt x="296928" y="56192"/>
                  <a:pt x="295496" y="57810"/>
                </a:cubicBezTo>
                <a:lnTo>
                  <a:pt x="284603" y="57810"/>
                </a:lnTo>
                <a:lnTo>
                  <a:pt x="284603" y="1493"/>
                </a:lnTo>
                <a:lnTo>
                  <a:pt x="342556" y="1493"/>
                </a:lnTo>
                <a:lnTo>
                  <a:pt x="342556" y="14374"/>
                </a:lnTo>
                <a:lnTo>
                  <a:pt x="296866" y="14374"/>
                </a:lnTo>
                <a:lnTo>
                  <a:pt x="296866" y="44991"/>
                </a:lnTo>
                <a:cubicBezTo>
                  <a:pt x="298857" y="43498"/>
                  <a:pt x="301285" y="42190"/>
                  <a:pt x="304211" y="41071"/>
                </a:cubicBezTo>
                <a:cubicBezTo>
                  <a:pt x="307075" y="39888"/>
                  <a:pt x="310498" y="39266"/>
                  <a:pt x="314482" y="39266"/>
                </a:cubicBezTo>
                <a:cubicBezTo>
                  <a:pt x="320644" y="39266"/>
                  <a:pt x="326247" y="40572"/>
                  <a:pt x="331227" y="43186"/>
                </a:cubicBezTo>
                <a:cubicBezTo>
                  <a:pt x="336207" y="45675"/>
                  <a:pt x="340128" y="49471"/>
                  <a:pt x="343054" y="54512"/>
                </a:cubicBezTo>
                <a:cubicBezTo>
                  <a:pt x="346042" y="59490"/>
                  <a:pt x="347536" y="65713"/>
                  <a:pt x="347536" y="73181"/>
                </a:cubicBezTo>
                <a:cubicBezTo>
                  <a:pt x="347536" y="80586"/>
                  <a:pt x="345980" y="87058"/>
                  <a:pt x="342868" y="92596"/>
                </a:cubicBezTo>
                <a:cubicBezTo>
                  <a:pt x="339880" y="98196"/>
                  <a:pt x="335584" y="102490"/>
                  <a:pt x="330044" y="105601"/>
                </a:cubicBezTo>
                <a:cubicBezTo>
                  <a:pt x="324442" y="108588"/>
                  <a:pt x="317844" y="110082"/>
                  <a:pt x="310187" y="110082"/>
                </a:cubicBezTo>
                <a:close/>
                <a:moveTo>
                  <a:pt x="368390" y="1493"/>
                </a:moveTo>
                <a:lnTo>
                  <a:pt x="433813" y="1493"/>
                </a:lnTo>
                <a:lnTo>
                  <a:pt x="433813" y="14374"/>
                </a:lnTo>
                <a:lnTo>
                  <a:pt x="382458" y="14374"/>
                </a:lnTo>
                <a:lnTo>
                  <a:pt x="382458" y="49907"/>
                </a:lnTo>
                <a:lnTo>
                  <a:pt x="426095" y="49907"/>
                </a:lnTo>
                <a:lnTo>
                  <a:pt x="426095" y="62601"/>
                </a:lnTo>
                <a:lnTo>
                  <a:pt x="382458" y="62601"/>
                </a:lnTo>
                <a:lnTo>
                  <a:pt x="382458" y="108588"/>
                </a:lnTo>
                <a:lnTo>
                  <a:pt x="368390" y="108588"/>
                </a:lnTo>
                <a:lnTo>
                  <a:pt x="368390" y="1493"/>
                </a:lnTo>
                <a:close/>
                <a:moveTo>
                  <a:pt x="453297" y="1493"/>
                </a:moveTo>
                <a:lnTo>
                  <a:pt x="518721" y="1493"/>
                </a:lnTo>
                <a:lnTo>
                  <a:pt x="518721" y="14374"/>
                </a:lnTo>
                <a:lnTo>
                  <a:pt x="467366" y="14374"/>
                </a:lnTo>
                <a:lnTo>
                  <a:pt x="467366" y="49907"/>
                </a:lnTo>
                <a:lnTo>
                  <a:pt x="511002" y="49907"/>
                </a:lnTo>
                <a:lnTo>
                  <a:pt x="511002" y="62601"/>
                </a:lnTo>
                <a:lnTo>
                  <a:pt x="467366" y="62601"/>
                </a:lnTo>
                <a:lnTo>
                  <a:pt x="467366" y="108588"/>
                </a:lnTo>
                <a:lnTo>
                  <a:pt x="453297" y="108588"/>
                </a:lnTo>
                <a:lnTo>
                  <a:pt x="453297" y="1493"/>
                </a:lnTo>
                <a:close/>
                <a:moveTo>
                  <a:pt x="538205" y="1493"/>
                </a:moveTo>
                <a:lnTo>
                  <a:pt x="603629" y="1493"/>
                </a:lnTo>
                <a:lnTo>
                  <a:pt x="603629" y="14374"/>
                </a:lnTo>
                <a:lnTo>
                  <a:pt x="552273" y="14374"/>
                </a:lnTo>
                <a:lnTo>
                  <a:pt x="552273" y="49907"/>
                </a:lnTo>
                <a:lnTo>
                  <a:pt x="595909" y="49907"/>
                </a:lnTo>
                <a:lnTo>
                  <a:pt x="595909" y="62601"/>
                </a:lnTo>
                <a:lnTo>
                  <a:pt x="552273" y="62601"/>
                </a:lnTo>
                <a:lnTo>
                  <a:pt x="552273" y="108588"/>
                </a:lnTo>
                <a:lnTo>
                  <a:pt x="538205" y="108588"/>
                </a:lnTo>
                <a:lnTo>
                  <a:pt x="538205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0" name="Полилиния 919">
            <a:extLst>
              <a:ext uri="{FF2B5EF4-FFF2-40B4-BE49-F238E27FC236}">
                <a16:creationId xmlns:a16="http://schemas.microsoft.com/office/drawing/2014/main" id="{FEDA60A3-7CD8-B542-77E8-EB12AF2746F8}"/>
              </a:ext>
            </a:extLst>
          </p:cNvPr>
          <p:cNvSpPr/>
          <p:nvPr userDrawn="1"/>
        </p:nvSpPr>
        <p:spPr>
          <a:xfrm>
            <a:off x="4142452" y="8871205"/>
            <a:ext cx="2557159" cy="726227"/>
          </a:xfrm>
          <a:custGeom>
            <a:avLst/>
            <a:gdLst>
              <a:gd name="connsiteX0" fmla="*/ 1860 w 2191162"/>
              <a:gd name="connsiteY0" fmla="*/ 1722 h 622284"/>
              <a:gd name="connsiteX1" fmla="*/ 2193023 w 2191162"/>
              <a:gd name="connsiteY1" fmla="*/ 1722 h 622284"/>
              <a:gd name="connsiteX2" fmla="*/ 2193023 w 2191162"/>
              <a:gd name="connsiteY2" fmla="*/ 624006 h 622284"/>
              <a:gd name="connsiteX3" fmla="*/ 1860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722"/>
                </a:moveTo>
                <a:lnTo>
                  <a:pt x="2193023" y="1722"/>
                </a:lnTo>
                <a:lnTo>
                  <a:pt x="2193023" y="624006"/>
                </a:lnTo>
                <a:lnTo>
                  <a:pt x="1860" y="624006"/>
                </a:lnTo>
                <a:close/>
              </a:path>
            </a:pathLst>
          </a:custGeom>
          <a:solidFill>
            <a:srgbClr val="B98C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1" name="Полилиния 920">
            <a:extLst>
              <a:ext uri="{FF2B5EF4-FFF2-40B4-BE49-F238E27FC236}">
                <a16:creationId xmlns:a16="http://schemas.microsoft.com/office/drawing/2014/main" id="{EEBD19B5-8CD0-F67B-8D09-C069BB31DD14}"/>
              </a:ext>
            </a:extLst>
          </p:cNvPr>
          <p:cNvSpPr/>
          <p:nvPr userDrawn="1"/>
        </p:nvSpPr>
        <p:spPr>
          <a:xfrm>
            <a:off x="4265660" y="9172951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4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5 w 619003"/>
              <a:gd name="connsiteY6" fmla="*/ 40012 h 110081"/>
              <a:gd name="connsiteX7" fmla="*/ 4046 w 619003"/>
              <a:gd name="connsiteY7" fmla="*/ 40012 h 110081"/>
              <a:gd name="connsiteX8" fmla="*/ 4046 w 619003"/>
              <a:gd name="connsiteY8" fmla="*/ 29559 h 110081"/>
              <a:gd name="connsiteX9" fmla="*/ 26270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1 w 619003"/>
              <a:gd name="connsiteY12" fmla="*/ 29559 h 110081"/>
              <a:gd name="connsiteX13" fmla="*/ 60630 w 619003"/>
              <a:gd name="connsiteY13" fmla="*/ 29559 h 110081"/>
              <a:gd name="connsiteX14" fmla="*/ 66482 w 619003"/>
              <a:gd name="connsiteY14" fmla="*/ 1493 h 110081"/>
              <a:gd name="connsiteX15" fmla="*/ 78434 w 619003"/>
              <a:gd name="connsiteY15" fmla="*/ 1493 h 110081"/>
              <a:gd name="connsiteX16" fmla="*/ 72582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2 w 619003"/>
              <a:gd name="connsiteY21" fmla="*/ 67206 h 110081"/>
              <a:gd name="connsiteX22" fmla="*/ 85282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8 w 619003"/>
              <a:gd name="connsiteY25" fmla="*/ 108588 h 110081"/>
              <a:gd name="connsiteX26" fmla="*/ 50795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7 w 619003"/>
              <a:gd name="connsiteY29" fmla="*/ 67206 h 110081"/>
              <a:gd name="connsiteX30" fmla="*/ 53036 w 619003"/>
              <a:gd name="connsiteY30" fmla="*/ 67206 h 110081"/>
              <a:gd name="connsiteX31" fmla="*/ 58576 w 619003"/>
              <a:gd name="connsiteY31" fmla="*/ 40012 h 110081"/>
              <a:gd name="connsiteX32" fmla="*/ 36167 w 619003"/>
              <a:gd name="connsiteY32" fmla="*/ 40012 h 110081"/>
              <a:gd name="connsiteX33" fmla="*/ 30627 w 619003"/>
              <a:gd name="connsiteY33" fmla="*/ 67206 h 110081"/>
              <a:gd name="connsiteX34" fmla="*/ 107816 w 619003"/>
              <a:gd name="connsiteY34" fmla="*/ 1493 h 110081"/>
              <a:gd name="connsiteX35" fmla="*/ 144106 w 619003"/>
              <a:gd name="connsiteY35" fmla="*/ 1493 h 110081"/>
              <a:gd name="connsiteX36" fmla="*/ 170874 w 619003"/>
              <a:gd name="connsiteY36" fmla="*/ 7467 h 110081"/>
              <a:gd name="connsiteX37" fmla="*/ 180149 w 619003"/>
              <a:gd name="connsiteY37" fmla="*/ 27629 h 110081"/>
              <a:gd name="connsiteX38" fmla="*/ 174297 w 619003"/>
              <a:gd name="connsiteY38" fmla="*/ 45116 h 110081"/>
              <a:gd name="connsiteX39" fmla="*/ 158797 w 619003"/>
              <a:gd name="connsiteY39" fmla="*/ 53018 h 110081"/>
              <a:gd name="connsiteX40" fmla="*/ 177596 w 619003"/>
              <a:gd name="connsiteY40" fmla="*/ 60361 h 110081"/>
              <a:gd name="connsiteX41" fmla="*/ 184008 w 619003"/>
              <a:gd name="connsiteY41" fmla="*/ 77661 h 110081"/>
              <a:gd name="connsiteX42" fmla="*/ 178780 w 619003"/>
              <a:gd name="connsiteY42" fmla="*/ 95583 h 110081"/>
              <a:gd name="connsiteX43" fmla="*/ 164462 w 619003"/>
              <a:gd name="connsiteY43" fmla="*/ 105601 h 110081"/>
              <a:gd name="connsiteX44" fmla="*/ 143857 w 619003"/>
              <a:gd name="connsiteY44" fmla="*/ 108588 h 110081"/>
              <a:gd name="connsiteX45" fmla="*/ 107816 w 619003"/>
              <a:gd name="connsiteY45" fmla="*/ 108588 h 110081"/>
              <a:gd name="connsiteX46" fmla="*/ 107816 w 619003"/>
              <a:gd name="connsiteY46" fmla="*/ 1493 h 110081"/>
              <a:gd name="connsiteX47" fmla="*/ 143110 w 619003"/>
              <a:gd name="connsiteY47" fmla="*/ 47231 h 110081"/>
              <a:gd name="connsiteX48" fmla="*/ 159544 w 619003"/>
              <a:gd name="connsiteY48" fmla="*/ 42751 h 110081"/>
              <a:gd name="connsiteX49" fmla="*/ 165956 w 619003"/>
              <a:gd name="connsiteY49" fmla="*/ 28376 h 110081"/>
              <a:gd name="connsiteX50" fmla="*/ 160291 w 619003"/>
              <a:gd name="connsiteY50" fmla="*/ 17361 h 110081"/>
              <a:gd name="connsiteX51" fmla="*/ 144106 w 619003"/>
              <a:gd name="connsiteY51" fmla="*/ 14374 h 110081"/>
              <a:gd name="connsiteX52" fmla="*/ 121884 w 619003"/>
              <a:gd name="connsiteY52" fmla="*/ 14374 h 110081"/>
              <a:gd name="connsiteX53" fmla="*/ 121884 w 619003"/>
              <a:gd name="connsiteY53" fmla="*/ 47231 h 110081"/>
              <a:gd name="connsiteX54" fmla="*/ 143110 w 619003"/>
              <a:gd name="connsiteY54" fmla="*/ 47231 h 110081"/>
              <a:gd name="connsiteX55" fmla="*/ 143857 w 619003"/>
              <a:gd name="connsiteY55" fmla="*/ 95893 h 110081"/>
              <a:gd name="connsiteX56" fmla="*/ 162221 w 619003"/>
              <a:gd name="connsiteY56" fmla="*/ 92035 h 110081"/>
              <a:gd name="connsiteX57" fmla="*/ 169255 w 619003"/>
              <a:gd name="connsiteY57" fmla="*/ 77972 h 110081"/>
              <a:gd name="connsiteX58" fmla="*/ 162657 w 619003"/>
              <a:gd name="connsiteY58" fmla="*/ 63908 h 110081"/>
              <a:gd name="connsiteX59" fmla="*/ 142177 w 619003"/>
              <a:gd name="connsiteY59" fmla="*/ 59926 h 110081"/>
              <a:gd name="connsiteX60" fmla="*/ 121884 w 619003"/>
              <a:gd name="connsiteY60" fmla="*/ 59926 h 110081"/>
              <a:gd name="connsiteX61" fmla="*/ 121884 w 619003"/>
              <a:gd name="connsiteY61" fmla="*/ 95893 h 110081"/>
              <a:gd name="connsiteX62" fmla="*/ 143857 w 619003"/>
              <a:gd name="connsiteY62" fmla="*/ 95893 h 110081"/>
              <a:gd name="connsiteX63" fmla="*/ 196520 w 619003"/>
              <a:gd name="connsiteY63" fmla="*/ 35844 h 110081"/>
              <a:gd name="connsiteX64" fmla="*/ 201127 w 619003"/>
              <a:gd name="connsiteY64" fmla="*/ 17051 h 110081"/>
              <a:gd name="connsiteX65" fmla="*/ 213950 w 619003"/>
              <a:gd name="connsiteY65" fmla="*/ 4480 h 110081"/>
              <a:gd name="connsiteX66" fmla="*/ 232064 w 619003"/>
              <a:gd name="connsiteY66" fmla="*/ 0 h 110081"/>
              <a:gd name="connsiteX67" fmla="*/ 253727 w 619003"/>
              <a:gd name="connsiteY67" fmla="*/ 5849 h 110081"/>
              <a:gd name="connsiteX68" fmla="*/ 265803 w 619003"/>
              <a:gd name="connsiteY68" fmla="*/ 21842 h 110081"/>
              <a:gd name="connsiteX69" fmla="*/ 269538 w 619003"/>
              <a:gd name="connsiteY69" fmla="*/ 45426 h 110081"/>
              <a:gd name="connsiteX70" fmla="*/ 264932 w 619003"/>
              <a:gd name="connsiteY70" fmla="*/ 80088 h 110081"/>
              <a:gd name="connsiteX71" fmla="*/ 250552 w 619003"/>
              <a:gd name="connsiteY71" fmla="*/ 102303 h 110081"/>
              <a:gd name="connsiteX72" fmla="*/ 226089 w 619003"/>
              <a:gd name="connsiteY72" fmla="*/ 110082 h 110081"/>
              <a:gd name="connsiteX73" fmla="*/ 203056 w 619003"/>
              <a:gd name="connsiteY73" fmla="*/ 104543 h 110081"/>
              <a:gd name="connsiteX74" fmla="*/ 203056 w 619003"/>
              <a:gd name="connsiteY74" fmla="*/ 91413 h 110081"/>
              <a:gd name="connsiteX75" fmla="*/ 226089 w 619003"/>
              <a:gd name="connsiteY75" fmla="*/ 98010 h 110081"/>
              <a:gd name="connsiteX76" fmla="*/ 241589 w 619003"/>
              <a:gd name="connsiteY76" fmla="*/ 92907 h 110081"/>
              <a:gd name="connsiteX77" fmla="*/ 251299 w 619003"/>
              <a:gd name="connsiteY77" fmla="*/ 79154 h 110081"/>
              <a:gd name="connsiteX78" fmla="*/ 255657 w 619003"/>
              <a:gd name="connsiteY78" fmla="*/ 59739 h 110081"/>
              <a:gd name="connsiteX79" fmla="*/ 244576 w 619003"/>
              <a:gd name="connsiteY79" fmla="*/ 68389 h 110081"/>
              <a:gd name="connsiteX80" fmla="*/ 230695 w 619003"/>
              <a:gd name="connsiteY80" fmla="*/ 71127 h 110081"/>
              <a:gd name="connsiteX81" fmla="*/ 213390 w 619003"/>
              <a:gd name="connsiteY81" fmla="*/ 67082 h 110081"/>
              <a:gd name="connsiteX82" fmla="*/ 201002 w 619003"/>
              <a:gd name="connsiteY82" fmla="*/ 55134 h 110081"/>
              <a:gd name="connsiteX83" fmla="*/ 196520 w 619003"/>
              <a:gd name="connsiteY83" fmla="*/ 35844 h 110081"/>
              <a:gd name="connsiteX84" fmla="*/ 232500 w 619003"/>
              <a:gd name="connsiteY84" fmla="*/ 12134 h 110081"/>
              <a:gd name="connsiteX85" fmla="*/ 221731 w 619003"/>
              <a:gd name="connsiteY85" fmla="*/ 14810 h 110081"/>
              <a:gd name="connsiteX86" fmla="*/ 213701 w 619003"/>
              <a:gd name="connsiteY86" fmla="*/ 22589 h 110081"/>
              <a:gd name="connsiteX87" fmla="*/ 210713 w 619003"/>
              <a:gd name="connsiteY87" fmla="*/ 35532 h 110081"/>
              <a:gd name="connsiteX88" fmla="*/ 213701 w 619003"/>
              <a:gd name="connsiteY88" fmla="*/ 48725 h 110081"/>
              <a:gd name="connsiteX89" fmla="*/ 221295 w 619003"/>
              <a:gd name="connsiteY89" fmla="*/ 56752 h 110081"/>
              <a:gd name="connsiteX90" fmla="*/ 231006 w 619003"/>
              <a:gd name="connsiteY90" fmla="*/ 59428 h 110081"/>
              <a:gd name="connsiteX91" fmla="*/ 247440 w 619003"/>
              <a:gd name="connsiteY91" fmla="*/ 53329 h 110081"/>
              <a:gd name="connsiteX92" fmla="*/ 254163 w 619003"/>
              <a:gd name="connsiteY92" fmla="*/ 35283 h 110081"/>
              <a:gd name="connsiteX93" fmla="*/ 248311 w 619003"/>
              <a:gd name="connsiteY93" fmla="*/ 18544 h 110081"/>
              <a:gd name="connsiteX94" fmla="*/ 232500 w 619003"/>
              <a:gd name="connsiteY94" fmla="*/ 12134 h 110081"/>
              <a:gd name="connsiteX95" fmla="*/ 315229 w 619003"/>
              <a:gd name="connsiteY95" fmla="*/ 110082 h 110081"/>
              <a:gd name="connsiteX96" fmla="*/ 296554 w 619003"/>
              <a:gd name="connsiteY96" fmla="*/ 106473 h 110081"/>
              <a:gd name="connsiteX97" fmla="*/ 283856 w 619003"/>
              <a:gd name="connsiteY97" fmla="*/ 96205 h 110081"/>
              <a:gd name="connsiteX98" fmla="*/ 279249 w 619003"/>
              <a:gd name="connsiteY98" fmla="*/ 79777 h 110081"/>
              <a:gd name="connsiteX99" fmla="*/ 284603 w 619003"/>
              <a:gd name="connsiteY99" fmla="*/ 62291 h 110081"/>
              <a:gd name="connsiteX100" fmla="*/ 299418 w 619003"/>
              <a:gd name="connsiteY100" fmla="*/ 51711 h 110081"/>
              <a:gd name="connsiteX101" fmla="*/ 287466 w 619003"/>
              <a:gd name="connsiteY101" fmla="*/ 42564 h 110081"/>
              <a:gd name="connsiteX102" fmla="*/ 283108 w 619003"/>
              <a:gd name="connsiteY102" fmla="*/ 27504 h 110081"/>
              <a:gd name="connsiteX103" fmla="*/ 287279 w 619003"/>
              <a:gd name="connsiteY103" fmla="*/ 12570 h 110081"/>
              <a:gd name="connsiteX104" fmla="*/ 298795 w 619003"/>
              <a:gd name="connsiteY104" fmla="*/ 3298 h 110081"/>
              <a:gd name="connsiteX105" fmla="*/ 315229 w 619003"/>
              <a:gd name="connsiteY105" fmla="*/ 186 h 110081"/>
              <a:gd name="connsiteX106" fmla="*/ 331351 w 619003"/>
              <a:gd name="connsiteY106" fmla="*/ 3298 h 110081"/>
              <a:gd name="connsiteX107" fmla="*/ 342743 w 619003"/>
              <a:gd name="connsiteY107" fmla="*/ 12259 h 110081"/>
              <a:gd name="connsiteX108" fmla="*/ 347038 w 619003"/>
              <a:gd name="connsiteY108" fmla="*/ 27194 h 110081"/>
              <a:gd name="connsiteX109" fmla="*/ 342556 w 619003"/>
              <a:gd name="connsiteY109" fmla="*/ 42439 h 110081"/>
              <a:gd name="connsiteX110" fmla="*/ 330791 w 619003"/>
              <a:gd name="connsiteY110" fmla="*/ 51711 h 110081"/>
              <a:gd name="connsiteX111" fmla="*/ 345109 w 619003"/>
              <a:gd name="connsiteY111" fmla="*/ 61855 h 110081"/>
              <a:gd name="connsiteX112" fmla="*/ 350649 w 619003"/>
              <a:gd name="connsiteY112" fmla="*/ 79341 h 110081"/>
              <a:gd name="connsiteX113" fmla="*/ 346042 w 619003"/>
              <a:gd name="connsiteY113" fmla="*/ 95893 h 110081"/>
              <a:gd name="connsiteX114" fmla="*/ 333343 w 619003"/>
              <a:gd name="connsiteY114" fmla="*/ 106473 h 110081"/>
              <a:gd name="connsiteX115" fmla="*/ 315229 w 619003"/>
              <a:gd name="connsiteY115" fmla="*/ 110082 h 110081"/>
              <a:gd name="connsiteX116" fmla="*/ 315229 w 619003"/>
              <a:gd name="connsiteY116" fmla="*/ 46298 h 110081"/>
              <a:gd name="connsiteX117" fmla="*/ 328239 w 619003"/>
              <a:gd name="connsiteY117" fmla="*/ 41817 h 110081"/>
              <a:gd name="connsiteX118" fmla="*/ 333468 w 619003"/>
              <a:gd name="connsiteY118" fmla="*/ 29122 h 110081"/>
              <a:gd name="connsiteX119" fmla="*/ 328239 w 619003"/>
              <a:gd name="connsiteY119" fmla="*/ 16615 h 110081"/>
              <a:gd name="connsiteX120" fmla="*/ 315229 w 619003"/>
              <a:gd name="connsiteY120" fmla="*/ 11947 h 110081"/>
              <a:gd name="connsiteX121" fmla="*/ 301970 w 619003"/>
              <a:gd name="connsiteY121" fmla="*/ 16615 h 110081"/>
              <a:gd name="connsiteX122" fmla="*/ 296741 w 619003"/>
              <a:gd name="connsiteY122" fmla="*/ 29122 h 110081"/>
              <a:gd name="connsiteX123" fmla="*/ 301970 w 619003"/>
              <a:gd name="connsiteY123" fmla="*/ 41817 h 110081"/>
              <a:gd name="connsiteX124" fmla="*/ 315229 w 619003"/>
              <a:gd name="connsiteY124" fmla="*/ 46298 h 110081"/>
              <a:gd name="connsiteX125" fmla="*/ 315229 w 619003"/>
              <a:gd name="connsiteY125" fmla="*/ 98258 h 110081"/>
              <a:gd name="connsiteX126" fmla="*/ 330604 w 619003"/>
              <a:gd name="connsiteY126" fmla="*/ 92907 h 110081"/>
              <a:gd name="connsiteX127" fmla="*/ 336891 w 619003"/>
              <a:gd name="connsiteY127" fmla="*/ 77536 h 110081"/>
              <a:gd name="connsiteX128" fmla="*/ 330604 w 619003"/>
              <a:gd name="connsiteY128" fmla="*/ 62291 h 110081"/>
              <a:gd name="connsiteX129" fmla="*/ 315229 w 619003"/>
              <a:gd name="connsiteY129" fmla="*/ 56752 h 110081"/>
              <a:gd name="connsiteX130" fmla="*/ 299231 w 619003"/>
              <a:gd name="connsiteY130" fmla="*/ 62291 h 110081"/>
              <a:gd name="connsiteX131" fmla="*/ 293006 w 619003"/>
              <a:gd name="connsiteY131" fmla="*/ 77536 h 110081"/>
              <a:gd name="connsiteX132" fmla="*/ 299231 w 619003"/>
              <a:gd name="connsiteY132" fmla="*/ 92907 h 110081"/>
              <a:gd name="connsiteX133" fmla="*/ 315229 w 619003"/>
              <a:gd name="connsiteY133" fmla="*/ 98258 h 110081"/>
              <a:gd name="connsiteX134" fmla="*/ 414889 w 619003"/>
              <a:gd name="connsiteY134" fmla="*/ 110082 h 110081"/>
              <a:gd name="connsiteX135" fmla="*/ 387064 w 619003"/>
              <a:gd name="connsiteY135" fmla="*/ 103486 h 110081"/>
              <a:gd name="connsiteX136" fmla="*/ 368700 w 619003"/>
              <a:gd name="connsiteY136" fmla="*/ 84693 h 110081"/>
              <a:gd name="connsiteX137" fmla="*/ 362102 w 619003"/>
              <a:gd name="connsiteY137" fmla="*/ 55134 h 110081"/>
              <a:gd name="connsiteX138" fmla="*/ 375735 w 619003"/>
              <a:gd name="connsiteY138" fmla="*/ 14810 h 110081"/>
              <a:gd name="connsiteX139" fmla="*/ 414579 w 619003"/>
              <a:gd name="connsiteY139" fmla="*/ 186 h 110081"/>
              <a:gd name="connsiteX140" fmla="*/ 432506 w 619003"/>
              <a:gd name="connsiteY140" fmla="*/ 2240 h 110081"/>
              <a:gd name="connsiteX141" fmla="*/ 447135 w 619003"/>
              <a:gd name="connsiteY141" fmla="*/ 7902 h 110081"/>
              <a:gd name="connsiteX142" fmla="*/ 447135 w 619003"/>
              <a:gd name="connsiteY142" fmla="*/ 21344 h 110081"/>
              <a:gd name="connsiteX143" fmla="*/ 432070 w 619003"/>
              <a:gd name="connsiteY143" fmla="*/ 15121 h 110081"/>
              <a:gd name="connsiteX144" fmla="*/ 414392 w 619003"/>
              <a:gd name="connsiteY144" fmla="*/ 12881 h 110081"/>
              <a:gd name="connsiteX145" fmla="*/ 386504 w 619003"/>
              <a:gd name="connsiteY145" fmla="*/ 23459 h 110081"/>
              <a:gd name="connsiteX146" fmla="*/ 377353 w 619003"/>
              <a:gd name="connsiteY146" fmla="*/ 55134 h 110081"/>
              <a:gd name="connsiteX147" fmla="*/ 387251 w 619003"/>
              <a:gd name="connsiteY147" fmla="*/ 86933 h 110081"/>
              <a:gd name="connsiteX148" fmla="*/ 416073 w 619003"/>
              <a:gd name="connsiteY148" fmla="*/ 97387 h 110081"/>
              <a:gd name="connsiteX149" fmla="*/ 447135 w 619003"/>
              <a:gd name="connsiteY149" fmla="*/ 87555 h 110081"/>
              <a:gd name="connsiteX150" fmla="*/ 447135 w 619003"/>
              <a:gd name="connsiteY150" fmla="*/ 100997 h 110081"/>
              <a:gd name="connsiteX151" fmla="*/ 433253 w 619003"/>
              <a:gd name="connsiteY151" fmla="*/ 107717 h 110081"/>
              <a:gd name="connsiteX152" fmla="*/ 414889 w 619003"/>
              <a:gd name="connsiteY152" fmla="*/ 110082 h 110081"/>
              <a:gd name="connsiteX153" fmla="*/ 468610 w 619003"/>
              <a:gd name="connsiteY153" fmla="*/ 1493 h 110081"/>
              <a:gd name="connsiteX154" fmla="*/ 534034 w 619003"/>
              <a:gd name="connsiteY154" fmla="*/ 1493 h 110081"/>
              <a:gd name="connsiteX155" fmla="*/ 534034 w 619003"/>
              <a:gd name="connsiteY155" fmla="*/ 14374 h 110081"/>
              <a:gd name="connsiteX156" fmla="*/ 482679 w 619003"/>
              <a:gd name="connsiteY156" fmla="*/ 14374 h 110081"/>
              <a:gd name="connsiteX157" fmla="*/ 482679 w 619003"/>
              <a:gd name="connsiteY157" fmla="*/ 49907 h 110081"/>
              <a:gd name="connsiteX158" fmla="*/ 526315 w 619003"/>
              <a:gd name="connsiteY158" fmla="*/ 49907 h 110081"/>
              <a:gd name="connsiteX159" fmla="*/ 526315 w 619003"/>
              <a:gd name="connsiteY159" fmla="*/ 62601 h 110081"/>
              <a:gd name="connsiteX160" fmla="*/ 482679 w 619003"/>
              <a:gd name="connsiteY160" fmla="*/ 62601 h 110081"/>
              <a:gd name="connsiteX161" fmla="*/ 482679 w 619003"/>
              <a:gd name="connsiteY161" fmla="*/ 108588 h 110081"/>
              <a:gd name="connsiteX162" fmla="*/ 468610 w 619003"/>
              <a:gd name="connsiteY162" fmla="*/ 108588 h 110081"/>
              <a:gd name="connsiteX163" fmla="*/ 468610 w 619003"/>
              <a:gd name="connsiteY163" fmla="*/ 1493 h 110081"/>
              <a:gd name="connsiteX164" fmla="*/ 553518 w 619003"/>
              <a:gd name="connsiteY164" fmla="*/ 1493 h 110081"/>
              <a:gd name="connsiteX165" fmla="*/ 619004 w 619003"/>
              <a:gd name="connsiteY165" fmla="*/ 1493 h 110081"/>
              <a:gd name="connsiteX166" fmla="*/ 619004 w 619003"/>
              <a:gd name="connsiteY166" fmla="*/ 14374 h 110081"/>
              <a:gd name="connsiteX167" fmla="*/ 567586 w 619003"/>
              <a:gd name="connsiteY167" fmla="*/ 14374 h 110081"/>
              <a:gd name="connsiteX168" fmla="*/ 567586 w 619003"/>
              <a:gd name="connsiteY168" fmla="*/ 49907 h 110081"/>
              <a:gd name="connsiteX169" fmla="*/ 611223 w 619003"/>
              <a:gd name="connsiteY169" fmla="*/ 49907 h 110081"/>
              <a:gd name="connsiteX170" fmla="*/ 611223 w 619003"/>
              <a:gd name="connsiteY170" fmla="*/ 62601 h 110081"/>
              <a:gd name="connsiteX171" fmla="*/ 567586 w 619003"/>
              <a:gd name="connsiteY171" fmla="*/ 62601 h 110081"/>
              <a:gd name="connsiteX172" fmla="*/ 567586 w 619003"/>
              <a:gd name="connsiteY172" fmla="*/ 108588 h 110081"/>
              <a:gd name="connsiteX173" fmla="*/ 553518 w 619003"/>
              <a:gd name="connsiteY173" fmla="*/ 108588 h 110081"/>
              <a:gd name="connsiteX174" fmla="*/ 553518 w 619003"/>
              <a:gd name="connsiteY17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44106" y="1493"/>
                </a:lnTo>
                <a:cubicBezTo>
                  <a:pt x="155872" y="1493"/>
                  <a:pt x="164774" y="3484"/>
                  <a:pt x="170874" y="7467"/>
                </a:cubicBezTo>
                <a:cubicBezTo>
                  <a:pt x="177036" y="11450"/>
                  <a:pt x="180149" y="18170"/>
                  <a:pt x="180149" y="27629"/>
                </a:cubicBezTo>
                <a:cubicBezTo>
                  <a:pt x="180149" y="35283"/>
                  <a:pt x="178219" y="41133"/>
                  <a:pt x="174297" y="45116"/>
                </a:cubicBezTo>
                <a:cubicBezTo>
                  <a:pt x="170438" y="48974"/>
                  <a:pt x="165271" y="51649"/>
                  <a:pt x="158797" y="53018"/>
                </a:cubicBezTo>
                <a:cubicBezTo>
                  <a:pt x="167014" y="54014"/>
                  <a:pt x="173302" y="56441"/>
                  <a:pt x="177596" y="60361"/>
                </a:cubicBezTo>
                <a:cubicBezTo>
                  <a:pt x="181892" y="64157"/>
                  <a:pt x="184008" y="69882"/>
                  <a:pt x="184008" y="77661"/>
                </a:cubicBezTo>
                <a:cubicBezTo>
                  <a:pt x="184008" y="85066"/>
                  <a:pt x="182265" y="91040"/>
                  <a:pt x="178780" y="95583"/>
                </a:cubicBezTo>
                <a:cubicBezTo>
                  <a:pt x="175293" y="100188"/>
                  <a:pt x="170500" y="103486"/>
                  <a:pt x="164462" y="105601"/>
                </a:cubicBezTo>
                <a:cubicBezTo>
                  <a:pt x="158362" y="107592"/>
                  <a:pt x="151514" y="108588"/>
                  <a:pt x="143857" y="108588"/>
                </a:cubicBez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43110" y="47231"/>
                </a:moveTo>
                <a:cubicBezTo>
                  <a:pt x="149834" y="47231"/>
                  <a:pt x="155312" y="45738"/>
                  <a:pt x="159544" y="42751"/>
                </a:cubicBezTo>
                <a:cubicBezTo>
                  <a:pt x="163777" y="39639"/>
                  <a:pt x="165956" y="34848"/>
                  <a:pt x="165956" y="28376"/>
                </a:cubicBezTo>
                <a:cubicBezTo>
                  <a:pt x="165956" y="22900"/>
                  <a:pt x="164027" y="19228"/>
                  <a:pt x="160291" y="17361"/>
                </a:cubicBezTo>
                <a:cubicBezTo>
                  <a:pt x="156494" y="15370"/>
                  <a:pt x="151078" y="14374"/>
                  <a:pt x="144106" y="14374"/>
                </a:cubicBezTo>
                <a:lnTo>
                  <a:pt x="121884" y="14374"/>
                </a:lnTo>
                <a:lnTo>
                  <a:pt x="121884" y="47231"/>
                </a:lnTo>
                <a:lnTo>
                  <a:pt x="143110" y="47231"/>
                </a:lnTo>
                <a:close/>
                <a:moveTo>
                  <a:pt x="143857" y="95893"/>
                </a:moveTo>
                <a:cubicBezTo>
                  <a:pt x="151390" y="95893"/>
                  <a:pt x="157552" y="94587"/>
                  <a:pt x="162221" y="92035"/>
                </a:cubicBezTo>
                <a:cubicBezTo>
                  <a:pt x="166890" y="89422"/>
                  <a:pt x="169255" y="84755"/>
                  <a:pt x="169255" y="77972"/>
                </a:cubicBezTo>
                <a:cubicBezTo>
                  <a:pt x="169255" y="71189"/>
                  <a:pt x="167014" y="66522"/>
                  <a:pt x="162657" y="63908"/>
                </a:cubicBezTo>
                <a:cubicBezTo>
                  <a:pt x="158362" y="61233"/>
                  <a:pt x="151577" y="59926"/>
                  <a:pt x="142177" y="59926"/>
                </a:cubicBezTo>
                <a:lnTo>
                  <a:pt x="121884" y="59926"/>
                </a:lnTo>
                <a:lnTo>
                  <a:pt x="121884" y="95893"/>
                </a:lnTo>
                <a:lnTo>
                  <a:pt x="143857" y="95893"/>
                </a:lnTo>
                <a:close/>
                <a:moveTo>
                  <a:pt x="196520" y="35844"/>
                </a:moveTo>
                <a:cubicBezTo>
                  <a:pt x="196520" y="28687"/>
                  <a:pt x="198014" y="22402"/>
                  <a:pt x="201127" y="17051"/>
                </a:cubicBezTo>
                <a:cubicBezTo>
                  <a:pt x="204301" y="11637"/>
                  <a:pt x="208596" y="7467"/>
                  <a:pt x="213950" y="4480"/>
                </a:cubicBezTo>
                <a:cubicBezTo>
                  <a:pt x="219365" y="1493"/>
                  <a:pt x="225404" y="0"/>
                  <a:pt x="232064" y="0"/>
                </a:cubicBezTo>
                <a:cubicBezTo>
                  <a:pt x="241029" y="0"/>
                  <a:pt x="248249" y="1929"/>
                  <a:pt x="253727" y="5849"/>
                </a:cubicBezTo>
                <a:cubicBezTo>
                  <a:pt x="259267" y="9645"/>
                  <a:pt x="263313" y="14934"/>
                  <a:pt x="265803" y="21842"/>
                </a:cubicBezTo>
                <a:cubicBezTo>
                  <a:pt x="268294" y="28563"/>
                  <a:pt x="269538" y="36466"/>
                  <a:pt x="269538" y="45426"/>
                </a:cubicBezTo>
                <a:cubicBezTo>
                  <a:pt x="269538" y="58868"/>
                  <a:pt x="267982" y="70380"/>
                  <a:pt x="264932" y="80088"/>
                </a:cubicBezTo>
                <a:cubicBezTo>
                  <a:pt x="261819" y="89733"/>
                  <a:pt x="257026" y="97138"/>
                  <a:pt x="250552" y="102303"/>
                </a:cubicBezTo>
                <a:cubicBezTo>
                  <a:pt x="244203" y="107468"/>
                  <a:pt x="236048" y="110082"/>
                  <a:pt x="226089" y="110082"/>
                </a:cubicBezTo>
                <a:cubicBezTo>
                  <a:pt x="217124" y="110082"/>
                  <a:pt x="209468" y="108215"/>
                  <a:pt x="203056" y="104543"/>
                </a:cubicBezTo>
                <a:lnTo>
                  <a:pt x="203056" y="91413"/>
                </a:lnTo>
                <a:cubicBezTo>
                  <a:pt x="209842" y="95769"/>
                  <a:pt x="217498" y="98010"/>
                  <a:pt x="226089" y="98010"/>
                </a:cubicBezTo>
                <a:cubicBezTo>
                  <a:pt x="232251" y="98010"/>
                  <a:pt x="237418" y="96267"/>
                  <a:pt x="241589" y="92907"/>
                </a:cubicBezTo>
                <a:cubicBezTo>
                  <a:pt x="245821" y="89546"/>
                  <a:pt x="249058" y="84941"/>
                  <a:pt x="251299" y="79154"/>
                </a:cubicBezTo>
                <a:cubicBezTo>
                  <a:pt x="253727" y="73367"/>
                  <a:pt x="255158" y="66896"/>
                  <a:pt x="255657" y="59739"/>
                </a:cubicBezTo>
                <a:cubicBezTo>
                  <a:pt x="252544" y="63660"/>
                  <a:pt x="248871" y="66522"/>
                  <a:pt x="244576" y="68389"/>
                </a:cubicBezTo>
                <a:cubicBezTo>
                  <a:pt x="240343" y="70193"/>
                  <a:pt x="235674" y="71127"/>
                  <a:pt x="230695" y="71127"/>
                </a:cubicBezTo>
                <a:cubicBezTo>
                  <a:pt x="224345" y="71127"/>
                  <a:pt x="218556" y="69758"/>
                  <a:pt x="213390" y="67082"/>
                </a:cubicBezTo>
                <a:cubicBezTo>
                  <a:pt x="208223" y="64406"/>
                  <a:pt x="204052" y="60424"/>
                  <a:pt x="201002" y="55134"/>
                </a:cubicBezTo>
                <a:cubicBezTo>
                  <a:pt x="198014" y="49845"/>
                  <a:pt x="196520" y="43435"/>
                  <a:pt x="196520" y="35844"/>
                </a:cubicBezTo>
                <a:close/>
                <a:moveTo>
                  <a:pt x="232500" y="12134"/>
                </a:moveTo>
                <a:cubicBezTo>
                  <a:pt x="228703" y="12134"/>
                  <a:pt x="225155" y="13006"/>
                  <a:pt x="221731" y="14810"/>
                </a:cubicBezTo>
                <a:cubicBezTo>
                  <a:pt x="218432" y="16490"/>
                  <a:pt x="215755" y="19104"/>
                  <a:pt x="213701" y="22589"/>
                </a:cubicBezTo>
                <a:cubicBezTo>
                  <a:pt x="211709" y="25949"/>
                  <a:pt x="210713" y="30305"/>
                  <a:pt x="210713" y="35532"/>
                </a:cubicBezTo>
                <a:cubicBezTo>
                  <a:pt x="210713" y="40759"/>
                  <a:pt x="211709" y="45116"/>
                  <a:pt x="213701" y="48725"/>
                </a:cubicBezTo>
                <a:cubicBezTo>
                  <a:pt x="215693" y="52271"/>
                  <a:pt x="218183" y="54947"/>
                  <a:pt x="221295" y="56752"/>
                </a:cubicBezTo>
                <a:cubicBezTo>
                  <a:pt x="224408" y="58556"/>
                  <a:pt x="227645" y="59428"/>
                  <a:pt x="231006" y="59428"/>
                </a:cubicBezTo>
                <a:cubicBezTo>
                  <a:pt x="237605" y="59428"/>
                  <a:pt x="243082" y="57437"/>
                  <a:pt x="247440" y="53329"/>
                </a:cubicBezTo>
                <a:cubicBezTo>
                  <a:pt x="251922" y="49160"/>
                  <a:pt x="254163" y="43124"/>
                  <a:pt x="254163" y="35283"/>
                </a:cubicBezTo>
                <a:cubicBezTo>
                  <a:pt x="254163" y="28313"/>
                  <a:pt x="252233" y="22713"/>
                  <a:pt x="248311" y="18544"/>
                </a:cubicBezTo>
                <a:cubicBezTo>
                  <a:pt x="244452" y="14250"/>
                  <a:pt x="239161" y="12134"/>
                  <a:pt x="232500" y="12134"/>
                </a:cubicBezTo>
                <a:close/>
                <a:moveTo>
                  <a:pt x="315229" y="110082"/>
                </a:moveTo>
                <a:cubicBezTo>
                  <a:pt x="308257" y="110082"/>
                  <a:pt x="302032" y="108900"/>
                  <a:pt x="296554" y="106473"/>
                </a:cubicBezTo>
                <a:cubicBezTo>
                  <a:pt x="291201" y="104108"/>
                  <a:pt x="286968" y="100685"/>
                  <a:pt x="283856" y="96205"/>
                </a:cubicBezTo>
                <a:cubicBezTo>
                  <a:pt x="280805" y="91600"/>
                  <a:pt x="279249" y="86124"/>
                  <a:pt x="279249" y="79777"/>
                </a:cubicBezTo>
                <a:cubicBezTo>
                  <a:pt x="279249" y="72869"/>
                  <a:pt x="281054" y="67082"/>
                  <a:pt x="284603" y="62291"/>
                </a:cubicBezTo>
                <a:cubicBezTo>
                  <a:pt x="288275" y="57437"/>
                  <a:pt x="293255" y="53889"/>
                  <a:pt x="299418" y="51711"/>
                </a:cubicBezTo>
                <a:cubicBezTo>
                  <a:pt x="294438" y="49720"/>
                  <a:pt x="290454" y="46671"/>
                  <a:pt x="287466" y="42564"/>
                </a:cubicBezTo>
                <a:cubicBezTo>
                  <a:pt x="284540" y="38519"/>
                  <a:pt x="283108" y="33479"/>
                  <a:pt x="283108" y="27504"/>
                </a:cubicBezTo>
                <a:cubicBezTo>
                  <a:pt x="283108" y="21593"/>
                  <a:pt x="284540" y="16615"/>
                  <a:pt x="287279" y="12570"/>
                </a:cubicBezTo>
                <a:cubicBezTo>
                  <a:pt x="290081" y="8463"/>
                  <a:pt x="293940" y="5414"/>
                  <a:pt x="298795" y="3298"/>
                </a:cubicBezTo>
                <a:cubicBezTo>
                  <a:pt x="303713" y="1182"/>
                  <a:pt x="309191" y="186"/>
                  <a:pt x="315229" y="186"/>
                </a:cubicBezTo>
                <a:cubicBezTo>
                  <a:pt x="321205" y="186"/>
                  <a:pt x="326621" y="1182"/>
                  <a:pt x="331351" y="3298"/>
                </a:cubicBezTo>
                <a:cubicBezTo>
                  <a:pt x="336144" y="5289"/>
                  <a:pt x="339941" y="8276"/>
                  <a:pt x="342743" y="12259"/>
                </a:cubicBezTo>
                <a:cubicBezTo>
                  <a:pt x="345606" y="16242"/>
                  <a:pt x="347038" y="21219"/>
                  <a:pt x="347038" y="27194"/>
                </a:cubicBezTo>
                <a:cubicBezTo>
                  <a:pt x="347038" y="33292"/>
                  <a:pt x="345544" y="38332"/>
                  <a:pt x="342556" y="42439"/>
                </a:cubicBezTo>
                <a:cubicBezTo>
                  <a:pt x="339568" y="46484"/>
                  <a:pt x="335647" y="49596"/>
                  <a:pt x="330791" y="51711"/>
                </a:cubicBezTo>
                <a:cubicBezTo>
                  <a:pt x="336767" y="53765"/>
                  <a:pt x="341560" y="57188"/>
                  <a:pt x="345109" y="61855"/>
                </a:cubicBezTo>
                <a:cubicBezTo>
                  <a:pt x="348781" y="66522"/>
                  <a:pt x="350649" y="72372"/>
                  <a:pt x="350649" y="79341"/>
                </a:cubicBezTo>
                <a:cubicBezTo>
                  <a:pt x="350649" y="85688"/>
                  <a:pt x="349093" y="91226"/>
                  <a:pt x="346042" y="95893"/>
                </a:cubicBezTo>
                <a:cubicBezTo>
                  <a:pt x="342930" y="100498"/>
                  <a:pt x="338697" y="103983"/>
                  <a:pt x="333343" y="106473"/>
                </a:cubicBezTo>
                <a:cubicBezTo>
                  <a:pt x="328052" y="108900"/>
                  <a:pt x="322014" y="110082"/>
                  <a:pt x="315229" y="110082"/>
                </a:cubicBezTo>
                <a:close/>
                <a:moveTo>
                  <a:pt x="315229" y="46298"/>
                </a:moveTo>
                <a:cubicBezTo>
                  <a:pt x="320520" y="46298"/>
                  <a:pt x="324878" y="44804"/>
                  <a:pt x="328239" y="41817"/>
                </a:cubicBezTo>
                <a:cubicBezTo>
                  <a:pt x="331725" y="38768"/>
                  <a:pt x="333468" y="34536"/>
                  <a:pt x="333468" y="29122"/>
                </a:cubicBezTo>
                <a:cubicBezTo>
                  <a:pt x="333468" y="23771"/>
                  <a:pt x="331725" y="19601"/>
                  <a:pt x="328239" y="16615"/>
                </a:cubicBezTo>
                <a:cubicBezTo>
                  <a:pt x="324878" y="13503"/>
                  <a:pt x="320520" y="11947"/>
                  <a:pt x="315229" y="11947"/>
                </a:cubicBezTo>
                <a:cubicBezTo>
                  <a:pt x="309938" y="11947"/>
                  <a:pt x="305518" y="13503"/>
                  <a:pt x="301970" y="16615"/>
                </a:cubicBezTo>
                <a:cubicBezTo>
                  <a:pt x="298484" y="19601"/>
                  <a:pt x="296741" y="23771"/>
                  <a:pt x="296741" y="29122"/>
                </a:cubicBezTo>
                <a:cubicBezTo>
                  <a:pt x="296741" y="34536"/>
                  <a:pt x="298484" y="38768"/>
                  <a:pt x="301970" y="41817"/>
                </a:cubicBezTo>
                <a:cubicBezTo>
                  <a:pt x="305518" y="44804"/>
                  <a:pt x="309938" y="46298"/>
                  <a:pt x="315229" y="46298"/>
                </a:cubicBezTo>
                <a:close/>
                <a:moveTo>
                  <a:pt x="315229" y="98258"/>
                </a:moveTo>
                <a:cubicBezTo>
                  <a:pt x="321391" y="98258"/>
                  <a:pt x="326559" y="96516"/>
                  <a:pt x="330604" y="92907"/>
                </a:cubicBezTo>
                <a:cubicBezTo>
                  <a:pt x="334837" y="89235"/>
                  <a:pt x="336891" y="84071"/>
                  <a:pt x="336891" y="77536"/>
                </a:cubicBezTo>
                <a:cubicBezTo>
                  <a:pt x="336891" y="70940"/>
                  <a:pt x="334837" y="65900"/>
                  <a:pt x="330604" y="62291"/>
                </a:cubicBezTo>
                <a:cubicBezTo>
                  <a:pt x="326559" y="58619"/>
                  <a:pt x="321391" y="56752"/>
                  <a:pt x="315229" y="56752"/>
                </a:cubicBezTo>
                <a:cubicBezTo>
                  <a:pt x="308879" y="56752"/>
                  <a:pt x="303526" y="58619"/>
                  <a:pt x="299231" y="62291"/>
                </a:cubicBezTo>
                <a:cubicBezTo>
                  <a:pt x="295060" y="65900"/>
                  <a:pt x="293006" y="70940"/>
                  <a:pt x="293006" y="77536"/>
                </a:cubicBezTo>
                <a:cubicBezTo>
                  <a:pt x="293006" y="84071"/>
                  <a:pt x="295060" y="89235"/>
                  <a:pt x="299231" y="92907"/>
                </a:cubicBezTo>
                <a:cubicBezTo>
                  <a:pt x="303526" y="96516"/>
                  <a:pt x="308879" y="98258"/>
                  <a:pt x="315229" y="98258"/>
                </a:cubicBezTo>
                <a:close/>
                <a:moveTo>
                  <a:pt x="414889" y="110082"/>
                </a:moveTo>
                <a:cubicBezTo>
                  <a:pt x="404307" y="110082"/>
                  <a:pt x="395032" y="107904"/>
                  <a:pt x="387064" y="103486"/>
                </a:cubicBezTo>
                <a:cubicBezTo>
                  <a:pt x="379221" y="99129"/>
                  <a:pt x="373058" y="92844"/>
                  <a:pt x="368700" y="84693"/>
                </a:cubicBezTo>
                <a:cubicBezTo>
                  <a:pt x="364343" y="76416"/>
                  <a:pt x="362102" y="66584"/>
                  <a:pt x="362102" y="55134"/>
                </a:cubicBezTo>
                <a:cubicBezTo>
                  <a:pt x="362102" y="37897"/>
                  <a:pt x="366646" y="24455"/>
                  <a:pt x="375735" y="14810"/>
                </a:cubicBezTo>
                <a:cubicBezTo>
                  <a:pt x="384761" y="5040"/>
                  <a:pt x="397709" y="186"/>
                  <a:pt x="414579" y="186"/>
                </a:cubicBezTo>
                <a:cubicBezTo>
                  <a:pt x="420865" y="186"/>
                  <a:pt x="426841" y="871"/>
                  <a:pt x="432506" y="2240"/>
                </a:cubicBezTo>
                <a:cubicBezTo>
                  <a:pt x="438295" y="3547"/>
                  <a:pt x="443151" y="5414"/>
                  <a:pt x="447135" y="7902"/>
                </a:cubicBezTo>
                <a:lnTo>
                  <a:pt x="447135" y="21344"/>
                </a:lnTo>
                <a:cubicBezTo>
                  <a:pt x="442839" y="18669"/>
                  <a:pt x="437797" y="16615"/>
                  <a:pt x="432070" y="15121"/>
                </a:cubicBezTo>
                <a:cubicBezTo>
                  <a:pt x="426343" y="13628"/>
                  <a:pt x="420492" y="12881"/>
                  <a:pt x="414392" y="12881"/>
                </a:cubicBezTo>
                <a:cubicBezTo>
                  <a:pt x="401880" y="12881"/>
                  <a:pt x="392542" y="16366"/>
                  <a:pt x="386504" y="23459"/>
                </a:cubicBezTo>
                <a:cubicBezTo>
                  <a:pt x="380403" y="30554"/>
                  <a:pt x="377353" y="41071"/>
                  <a:pt x="377353" y="55134"/>
                </a:cubicBezTo>
                <a:cubicBezTo>
                  <a:pt x="377353" y="69260"/>
                  <a:pt x="380652" y="79839"/>
                  <a:pt x="387251" y="86933"/>
                </a:cubicBezTo>
                <a:cubicBezTo>
                  <a:pt x="393787" y="93902"/>
                  <a:pt x="403436" y="97387"/>
                  <a:pt x="416073" y="97387"/>
                </a:cubicBezTo>
                <a:cubicBezTo>
                  <a:pt x="428024" y="97387"/>
                  <a:pt x="438357" y="94089"/>
                  <a:pt x="447135" y="87555"/>
                </a:cubicBezTo>
                <a:lnTo>
                  <a:pt x="447135" y="100997"/>
                </a:lnTo>
                <a:cubicBezTo>
                  <a:pt x="443648" y="103734"/>
                  <a:pt x="439042" y="105974"/>
                  <a:pt x="433253" y="107717"/>
                </a:cubicBezTo>
                <a:cubicBezTo>
                  <a:pt x="427464" y="109273"/>
                  <a:pt x="421364" y="110082"/>
                  <a:pt x="414889" y="110082"/>
                </a:cubicBez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8" y="1493"/>
                </a:moveTo>
                <a:lnTo>
                  <a:pt x="619004" y="1493"/>
                </a:lnTo>
                <a:lnTo>
                  <a:pt x="619004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3" y="49907"/>
                </a:lnTo>
                <a:lnTo>
                  <a:pt x="611223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8" y="108588"/>
                </a:lnTo>
                <a:lnTo>
                  <a:pt x="553518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2" name="Полилиния 921">
            <a:extLst>
              <a:ext uri="{FF2B5EF4-FFF2-40B4-BE49-F238E27FC236}">
                <a16:creationId xmlns:a16="http://schemas.microsoft.com/office/drawing/2014/main" id="{7ACABABF-D036-4B8F-0304-89C8B4AC51F5}"/>
              </a:ext>
            </a:extLst>
          </p:cNvPr>
          <p:cNvSpPr/>
          <p:nvPr userDrawn="1"/>
        </p:nvSpPr>
        <p:spPr>
          <a:xfrm>
            <a:off x="4142452" y="9597431"/>
            <a:ext cx="2557159" cy="726227"/>
          </a:xfrm>
          <a:custGeom>
            <a:avLst/>
            <a:gdLst>
              <a:gd name="connsiteX0" fmla="*/ 1860 w 2191162"/>
              <a:gd name="connsiteY0" fmla="*/ 1822 h 622284"/>
              <a:gd name="connsiteX1" fmla="*/ 2193023 w 2191162"/>
              <a:gd name="connsiteY1" fmla="*/ 1822 h 622284"/>
              <a:gd name="connsiteX2" fmla="*/ 2193023 w 2191162"/>
              <a:gd name="connsiteY2" fmla="*/ 624106 h 622284"/>
              <a:gd name="connsiteX3" fmla="*/ 1860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822"/>
                </a:moveTo>
                <a:lnTo>
                  <a:pt x="2193023" y="1822"/>
                </a:lnTo>
                <a:lnTo>
                  <a:pt x="2193023" y="624106"/>
                </a:lnTo>
                <a:lnTo>
                  <a:pt x="1860" y="624106"/>
                </a:lnTo>
                <a:close/>
              </a:path>
            </a:pathLst>
          </a:custGeom>
          <a:solidFill>
            <a:srgbClr val="D7BE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3" name="Полилиния 922">
            <a:extLst>
              <a:ext uri="{FF2B5EF4-FFF2-40B4-BE49-F238E27FC236}">
                <a16:creationId xmlns:a16="http://schemas.microsoft.com/office/drawing/2014/main" id="{FEB91610-9D8A-B4CE-C191-80F3863515C8}"/>
              </a:ext>
            </a:extLst>
          </p:cNvPr>
          <p:cNvSpPr/>
          <p:nvPr userDrawn="1"/>
        </p:nvSpPr>
        <p:spPr>
          <a:xfrm>
            <a:off x="4265660" y="9900922"/>
            <a:ext cx="736854" cy="124982"/>
          </a:xfrm>
          <a:custGeom>
            <a:avLst/>
            <a:gdLst>
              <a:gd name="connsiteX0" fmla="*/ 22099 w 631391"/>
              <a:gd name="connsiteY0" fmla="*/ 107095 h 107094"/>
              <a:gd name="connsiteX1" fmla="*/ 10147 w 631391"/>
              <a:gd name="connsiteY1" fmla="*/ 107095 h 107094"/>
              <a:gd name="connsiteX2" fmla="*/ 16434 w 631391"/>
              <a:gd name="connsiteY2" fmla="*/ 76168 h 107094"/>
              <a:gd name="connsiteX3" fmla="*/ 0 w 631391"/>
              <a:gd name="connsiteY3" fmla="*/ 76168 h 107094"/>
              <a:gd name="connsiteX4" fmla="*/ 0 w 631391"/>
              <a:gd name="connsiteY4" fmla="*/ 65713 h 107094"/>
              <a:gd name="connsiteX5" fmla="*/ 18675 w 631391"/>
              <a:gd name="connsiteY5" fmla="*/ 65713 h 107094"/>
              <a:gd name="connsiteX6" fmla="*/ 24215 w 631391"/>
              <a:gd name="connsiteY6" fmla="*/ 38519 h 107094"/>
              <a:gd name="connsiteX7" fmla="*/ 4046 w 631391"/>
              <a:gd name="connsiteY7" fmla="*/ 38519 h 107094"/>
              <a:gd name="connsiteX8" fmla="*/ 4046 w 631391"/>
              <a:gd name="connsiteY8" fmla="*/ 28065 h 107094"/>
              <a:gd name="connsiteX9" fmla="*/ 26270 w 631391"/>
              <a:gd name="connsiteY9" fmla="*/ 28065 h 107094"/>
              <a:gd name="connsiteX10" fmla="*/ 32121 w 631391"/>
              <a:gd name="connsiteY10" fmla="*/ 0 h 107094"/>
              <a:gd name="connsiteX11" fmla="*/ 44073 w 631391"/>
              <a:gd name="connsiteY11" fmla="*/ 0 h 107094"/>
              <a:gd name="connsiteX12" fmla="*/ 38221 w 631391"/>
              <a:gd name="connsiteY12" fmla="*/ 28065 h 107094"/>
              <a:gd name="connsiteX13" fmla="*/ 60630 w 631391"/>
              <a:gd name="connsiteY13" fmla="*/ 28065 h 107094"/>
              <a:gd name="connsiteX14" fmla="*/ 66482 w 631391"/>
              <a:gd name="connsiteY14" fmla="*/ 0 h 107094"/>
              <a:gd name="connsiteX15" fmla="*/ 78434 w 631391"/>
              <a:gd name="connsiteY15" fmla="*/ 0 h 107094"/>
              <a:gd name="connsiteX16" fmla="*/ 72582 w 631391"/>
              <a:gd name="connsiteY16" fmla="*/ 28065 h 107094"/>
              <a:gd name="connsiteX17" fmla="*/ 89328 w 631391"/>
              <a:gd name="connsiteY17" fmla="*/ 28065 h 107094"/>
              <a:gd name="connsiteX18" fmla="*/ 89328 w 631391"/>
              <a:gd name="connsiteY18" fmla="*/ 38519 h 107094"/>
              <a:gd name="connsiteX19" fmla="*/ 70529 w 631391"/>
              <a:gd name="connsiteY19" fmla="*/ 38519 h 107094"/>
              <a:gd name="connsiteX20" fmla="*/ 64988 w 631391"/>
              <a:gd name="connsiteY20" fmla="*/ 65713 h 107094"/>
              <a:gd name="connsiteX21" fmla="*/ 85282 w 631391"/>
              <a:gd name="connsiteY21" fmla="*/ 65713 h 107094"/>
              <a:gd name="connsiteX22" fmla="*/ 85282 w 631391"/>
              <a:gd name="connsiteY22" fmla="*/ 76168 h 107094"/>
              <a:gd name="connsiteX23" fmla="*/ 62747 w 631391"/>
              <a:gd name="connsiteY23" fmla="*/ 76168 h 107094"/>
              <a:gd name="connsiteX24" fmla="*/ 56460 w 631391"/>
              <a:gd name="connsiteY24" fmla="*/ 107095 h 107094"/>
              <a:gd name="connsiteX25" fmla="*/ 44508 w 631391"/>
              <a:gd name="connsiteY25" fmla="*/ 107095 h 107094"/>
              <a:gd name="connsiteX26" fmla="*/ 50795 w 631391"/>
              <a:gd name="connsiteY26" fmla="*/ 76168 h 107094"/>
              <a:gd name="connsiteX27" fmla="*/ 28386 w 631391"/>
              <a:gd name="connsiteY27" fmla="*/ 76168 h 107094"/>
              <a:gd name="connsiteX28" fmla="*/ 22099 w 631391"/>
              <a:gd name="connsiteY28" fmla="*/ 107095 h 107094"/>
              <a:gd name="connsiteX29" fmla="*/ 30627 w 631391"/>
              <a:gd name="connsiteY29" fmla="*/ 65713 h 107094"/>
              <a:gd name="connsiteX30" fmla="*/ 53036 w 631391"/>
              <a:gd name="connsiteY30" fmla="*/ 65713 h 107094"/>
              <a:gd name="connsiteX31" fmla="*/ 58576 w 631391"/>
              <a:gd name="connsiteY31" fmla="*/ 38519 h 107094"/>
              <a:gd name="connsiteX32" fmla="*/ 36167 w 631391"/>
              <a:gd name="connsiteY32" fmla="*/ 38519 h 107094"/>
              <a:gd name="connsiteX33" fmla="*/ 30627 w 631391"/>
              <a:gd name="connsiteY33" fmla="*/ 65713 h 107094"/>
              <a:gd name="connsiteX34" fmla="*/ 107816 w 631391"/>
              <a:gd name="connsiteY34" fmla="*/ 0 h 107094"/>
              <a:gd name="connsiteX35" fmla="*/ 143857 w 631391"/>
              <a:gd name="connsiteY35" fmla="*/ 0 h 107094"/>
              <a:gd name="connsiteX36" fmla="*/ 163840 w 631391"/>
              <a:gd name="connsiteY36" fmla="*/ 2551 h 107094"/>
              <a:gd name="connsiteX37" fmla="*/ 179962 w 631391"/>
              <a:gd name="connsiteY37" fmla="*/ 10890 h 107094"/>
              <a:gd name="connsiteX38" fmla="*/ 190731 w 631391"/>
              <a:gd name="connsiteY38" fmla="*/ 26136 h 107094"/>
              <a:gd name="connsiteX39" fmla="*/ 194653 w 631391"/>
              <a:gd name="connsiteY39" fmla="*/ 49907 h 107094"/>
              <a:gd name="connsiteX40" fmla="*/ 187743 w 631391"/>
              <a:gd name="connsiteY40" fmla="*/ 81581 h 107094"/>
              <a:gd name="connsiteX41" fmla="*/ 169255 w 631391"/>
              <a:gd name="connsiteY41" fmla="*/ 100685 h 107094"/>
              <a:gd name="connsiteX42" fmla="*/ 142177 w 631391"/>
              <a:gd name="connsiteY42" fmla="*/ 107095 h 107094"/>
              <a:gd name="connsiteX43" fmla="*/ 107816 w 631391"/>
              <a:gd name="connsiteY43" fmla="*/ 107095 h 107094"/>
              <a:gd name="connsiteX44" fmla="*/ 107816 w 631391"/>
              <a:gd name="connsiteY44" fmla="*/ 0 h 107094"/>
              <a:gd name="connsiteX45" fmla="*/ 142177 w 631391"/>
              <a:gd name="connsiteY45" fmla="*/ 94400 h 107094"/>
              <a:gd name="connsiteX46" fmla="*/ 161599 w 631391"/>
              <a:gd name="connsiteY46" fmla="*/ 89920 h 107094"/>
              <a:gd name="connsiteX47" fmla="*/ 174609 w 631391"/>
              <a:gd name="connsiteY47" fmla="*/ 75732 h 107094"/>
              <a:gd name="connsiteX48" fmla="*/ 179402 w 631391"/>
              <a:gd name="connsiteY48" fmla="*/ 50965 h 107094"/>
              <a:gd name="connsiteX49" fmla="*/ 174733 w 631391"/>
              <a:gd name="connsiteY49" fmla="*/ 27629 h 107094"/>
              <a:gd name="connsiteX50" fmla="*/ 162034 w 631391"/>
              <a:gd name="connsiteY50" fmla="*/ 16117 h 107094"/>
              <a:gd name="connsiteX51" fmla="*/ 143857 w 631391"/>
              <a:gd name="connsiteY51" fmla="*/ 12881 h 107094"/>
              <a:gd name="connsiteX52" fmla="*/ 121884 w 631391"/>
              <a:gd name="connsiteY52" fmla="*/ 12881 h 107094"/>
              <a:gd name="connsiteX53" fmla="*/ 121884 w 631391"/>
              <a:gd name="connsiteY53" fmla="*/ 94400 h 107094"/>
              <a:gd name="connsiteX54" fmla="*/ 142177 w 631391"/>
              <a:gd name="connsiteY54" fmla="*/ 94400 h 107094"/>
              <a:gd name="connsiteX55" fmla="*/ 276323 w 631391"/>
              <a:gd name="connsiteY55" fmla="*/ 12134 h 107094"/>
              <a:gd name="connsiteX56" fmla="*/ 230944 w 631391"/>
              <a:gd name="connsiteY56" fmla="*/ 107095 h 107094"/>
              <a:gd name="connsiteX57" fmla="*/ 216315 w 631391"/>
              <a:gd name="connsiteY57" fmla="*/ 107095 h 107094"/>
              <a:gd name="connsiteX58" fmla="*/ 262006 w 631391"/>
              <a:gd name="connsiteY58" fmla="*/ 12881 h 107094"/>
              <a:gd name="connsiteX59" fmla="*/ 207476 w 631391"/>
              <a:gd name="connsiteY59" fmla="*/ 12881 h 107094"/>
              <a:gd name="connsiteX60" fmla="*/ 207476 w 631391"/>
              <a:gd name="connsiteY60" fmla="*/ 0 h 107094"/>
              <a:gd name="connsiteX61" fmla="*/ 276323 w 631391"/>
              <a:gd name="connsiteY61" fmla="*/ 0 h 107094"/>
              <a:gd name="connsiteX62" fmla="*/ 276323 w 631391"/>
              <a:gd name="connsiteY62" fmla="*/ 12134 h 107094"/>
              <a:gd name="connsiteX63" fmla="*/ 295434 w 631391"/>
              <a:gd name="connsiteY63" fmla="*/ 0 h 107094"/>
              <a:gd name="connsiteX64" fmla="*/ 331725 w 631391"/>
              <a:gd name="connsiteY64" fmla="*/ 0 h 107094"/>
              <a:gd name="connsiteX65" fmla="*/ 358492 w 631391"/>
              <a:gd name="connsiteY65" fmla="*/ 5974 h 107094"/>
              <a:gd name="connsiteX66" fmla="*/ 367767 w 631391"/>
              <a:gd name="connsiteY66" fmla="*/ 26136 h 107094"/>
              <a:gd name="connsiteX67" fmla="*/ 361915 w 631391"/>
              <a:gd name="connsiteY67" fmla="*/ 43622 h 107094"/>
              <a:gd name="connsiteX68" fmla="*/ 346416 w 631391"/>
              <a:gd name="connsiteY68" fmla="*/ 51525 h 107094"/>
              <a:gd name="connsiteX69" fmla="*/ 365215 w 631391"/>
              <a:gd name="connsiteY69" fmla="*/ 58868 h 107094"/>
              <a:gd name="connsiteX70" fmla="*/ 371627 w 631391"/>
              <a:gd name="connsiteY70" fmla="*/ 76168 h 107094"/>
              <a:gd name="connsiteX71" fmla="*/ 366397 w 631391"/>
              <a:gd name="connsiteY71" fmla="*/ 94089 h 107094"/>
              <a:gd name="connsiteX72" fmla="*/ 352080 w 631391"/>
              <a:gd name="connsiteY72" fmla="*/ 104108 h 107094"/>
              <a:gd name="connsiteX73" fmla="*/ 331476 w 631391"/>
              <a:gd name="connsiteY73" fmla="*/ 107095 h 107094"/>
              <a:gd name="connsiteX74" fmla="*/ 295434 w 631391"/>
              <a:gd name="connsiteY74" fmla="*/ 107095 h 107094"/>
              <a:gd name="connsiteX75" fmla="*/ 295434 w 631391"/>
              <a:gd name="connsiteY75" fmla="*/ 0 h 107094"/>
              <a:gd name="connsiteX76" fmla="*/ 330729 w 631391"/>
              <a:gd name="connsiteY76" fmla="*/ 45738 h 107094"/>
              <a:gd name="connsiteX77" fmla="*/ 347163 w 631391"/>
              <a:gd name="connsiteY77" fmla="*/ 41257 h 107094"/>
              <a:gd name="connsiteX78" fmla="*/ 353574 w 631391"/>
              <a:gd name="connsiteY78" fmla="*/ 26882 h 107094"/>
              <a:gd name="connsiteX79" fmla="*/ 347909 w 631391"/>
              <a:gd name="connsiteY79" fmla="*/ 15868 h 107094"/>
              <a:gd name="connsiteX80" fmla="*/ 331725 w 631391"/>
              <a:gd name="connsiteY80" fmla="*/ 12881 h 107094"/>
              <a:gd name="connsiteX81" fmla="*/ 309502 w 631391"/>
              <a:gd name="connsiteY81" fmla="*/ 12881 h 107094"/>
              <a:gd name="connsiteX82" fmla="*/ 309502 w 631391"/>
              <a:gd name="connsiteY82" fmla="*/ 45738 h 107094"/>
              <a:gd name="connsiteX83" fmla="*/ 330729 w 631391"/>
              <a:gd name="connsiteY83" fmla="*/ 45738 h 107094"/>
              <a:gd name="connsiteX84" fmla="*/ 331476 w 631391"/>
              <a:gd name="connsiteY84" fmla="*/ 94400 h 107094"/>
              <a:gd name="connsiteX85" fmla="*/ 349840 w 631391"/>
              <a:gd name="connsiteY85" fmla="*/ 90542 h 107094"/>
              <a:gd name="connsiteX86" fmla="*/ 356874 w 631391"/>
              <a:gd name="connsiteY86" fmla="*/ 76478 h 107094"/>
              <a:gd name="connsiteX87" fmla="*/ 350275 w 631391"/>
              <a:gd name="connsiteY87" fmla="*/ 62415 h 107094"/>
              <a:gd name="connsiteX88" fmla="*/ 329795 w 631391"/>
              <a:gd name="connsiteY88" fmla="*/ 58433 h 107094"/>
              <a:gd name="connsiteX89" fmla="*/ 309502 w 631391"/>
              <a:gd name="connsiteY89" fmla="*/ 58433 h 107094"/>
              <a:gd name="connsiteX90" fmla="*/ 309502 w 631391"/>
              <a:gd name="connsiteY90" fmla="*/ 94400 h 107094"/>
              <a:gd name="connsiteX91" fmla="*/ 331476 w 631391"/>
              <a:gd name="connsiteY91" fmla="*/ 94400 h 107094"/>
              <a:gd name="connsiteX92" fmla="*/ 391733 w 631391"/>
              <a:gd name="connsiteY92" fmla="*/ 0 h 107094"/>
              <a:gd name="connsiteX93" fmla="*/ 458091 w 631391"/>
              <a:gd name="connsiteY93" fmla="*/ 0 h 107094"/>
              <a:gd name="connsiteX94" fmla="*/ 458091 w 631391"/>
              <a:gd name="connsiteY94" fmla="*/ 12881 h 107094"/>
              <a:gd name="connsiteX95" fmla="*/ 405801 w 631391"/>
              <a:gd name="connsiteY95" fmla="*/ 12881 h 107094"/>
              <a:gd name="connsiteX96" fmla="*/ 405801 w 631391"/>
              <a:gd name="connsiteY96" fmla="*/ 45240 h 107094"/>
              <a:gd name="connsiteX97" fmla="*/ 450185 w 631391"/>
              <a:gd name="connsiteY97" fmla="*/ 45240 h 107094"/>
              <a:gd name="connsiteX98" fmla="*/ 450185 w 631391"/>
              <a:gd name="connsiteY98" fmla="*/ 57934 h 107094"/>
              <a:gd name="connsiteX99" fmla="*/ 405801 w 631391"/>
              <a:gd name="connsiteY99" fmla="*/ 57934 h 107094"/>
              <a:gd name="connsiteX100" fmla="*/ 405801 w 631391"/>
              <a:gd name="connsiteY100" fmla="*/ 94400 h 107094"/>
              <a:gd name="connsiteX101" fmla="*/ 458838 w 631391"/>
              <a:gd name="connsiteY101" fmla="*/ 94400 h 107094"/>
              <a:gd name="connsiteX102" fmla="*/ 458838 w 631391"/>
              <a:gd name="connsiteY102" fmla="*/ 107095 h 107094"/>
              <a:gd name="connsiteX103" fmla="*/ 391733 w 631391"/>
              <a:gd name="connsiteY103" fmla="*/ 107095 h 107094"/>
              <a:gd name="connsiteX104" fmla="*/ 391733 w 631391"/>
              <a:gd name="connsiteY104" fmla="*/ 0 h 107094"/>
              <a:gd name="connsiteX105" fmla="*/ 480998 w 631391"/>
              <a:gd name="connsiteY105" fmla="*/ 0 h 107094"/>
              <a:gd name="connsiteX106" fmla="*/ 546484 w 631391"/>
              <a:gd name="connsiteY106" fmla="*/ 0 h 107094"/>
              <a:gd name="connsiteX107" fmla="*/ 546484 w 631391"/>
              <a:gd name="connsiteY107" fmla="*/ 12881 h 107094"/>
              <a:gd name="connsiteX108" fmla="*/ 495066 w 631391"/>
              <a:gd name="connsiteY108" fmla="*/ 12881 h 107094"/>
              <a:gd name="connsiteX109" fmla="*/ 495066 w 631391"/>
              <a:gd name="connsiteY109" fmla="*/ 48413 h 107094"/>
              <a:gd name="connsiteX110" fmla="*/ 538703 w 631391"/>
              <a:gd name="connsiteY110" fmla="*/ 48413 h 107094"/>
              <a:gd name="connsiteX111" fmla="*/ 538703 w 631391"/>
              <a:gd name="connsiteY111" fmla="*/ 61108 h 107094"/>
              <a:gd name="connsiteX112" fmla="*/ 495066 w 631391"/>
              <a:gd name="connsiteY112" fmla="*/ 61108 h 107094"/>
              <a:gd name="connsiteX113" fmla="*/ 495066 w 631391"/>
              <a:gd name="connsiteY113" fmla="*/ 107095 h 107094"/>
              <a:gd name="connsiteX114" fmla="*/ 480998 w 631391"/>
              <a:gd name="connsiteY114" fmla="*/ 107095 h 107094"/>
              <a:gd name="connsiteX115" fmla="*/ 480998 w 631391"/>
              <a:gd name="connsiteY115" fmla="*/ 0 h 107094"/>
              <a:gd name="connsiteX116" fmla="*/ 565968 w 631391"/>
              <a:gd name="connsiteY116" fmla="*/ 0 h 107094"/>
              <a:gd name="connsiteX117" fmla="*/ 631391 w 631391"/>
              <a:gd name="connsiteY117" fmla="*/ 0 h 107094"/>
              <a:gd name="connsiteX118" fmla="*/ 631391 w 631391"/>
              <a:gd name="connsiteY118" fmla="*/ 12881 h 107094"/>
              <a:gd name="connsiteX119" fmla="*/ 579974 w 631391"/>
              <a:gd name="connsiteY119" fmla="*/ 12881 h 107094"/>
              <a:gd name="connsiteX120" fmla="*/ 579974 w 631391"/>
              <a:gd name="connsiteY120" fmla="*/ 48413 h 107094"/>
              <a:gd name="connsiteX121" fmla="*/ 623610 w 631391"/>
              <a:gd name="connsiteY121" fmla="*/ 48413 h 107094"/>
              <a:gd name="connsiteX122" fmla="*/ 623610 w 631391"/>
              <a:gd name="connsiteY122" fmla="*/ 61108 h 107094"/>
              <a:gd name="connsiteX123" fmla="*/ 579974 w 631391"/>
              <a:gd name="connsiteY123" fmla="*/ 61108 h 107094"/>
              <a:gd name="connsiteX124" fmla="*/ 579974 w 631391"/>
              <a:gd name="connsiteY124" fmla="*/ 107095 h 107094"/>
              <a:gd name="connsiteX125" fmla="*/ 565968 w 631391"/>
              <a:gd name="connsiteY125" fmla="*/ 107095 h 107094"/>
              <a:gd name="connsiteX126" fmla="*/ 565968 w 631391"/>
              <a:gd name="connsiteY126" fmla="*/ 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631391" h="107094">
                <a:moveTo>
                  <a:pt x="22099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70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2" y="65713"/>
                </a:lnTo>
                <a:lnTo>
                  <a:pt x="85282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7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7" y="38519"/>
                </a:lnTo>
                <a:lnTo>
                  <a:pt x="30627" y="65713"/>
                </a:lnTo>
                <a:close/>
                <a:moveTo>
                  <a:pt x="107816" y="0"/>
                </a:moveTo>
                <a:lnTo>
                  <a:pt x="143857" y="0"/>
                </a:lnTo>
                <a:cubicBezTo>
                  <a:pt x="151016" y="0"/>
                  <a:pt x="157677" y="871"/>
                  <a:pt x="163840" y="2551"/>
                </a:cubicBezTo>
                <a:cubicBezTo>
                  <a:pt x="170002" y="4231"/>
                  <a:pt x="175418" y="7032"/>
                  <a:pt x="179962" y="10890"/>
                </a:cubicBezTo>
                <a:cubicBezTo>
                  <a:pt x="184568" y="14686"/>
                  <a:pt x="188178" y="19788"/>
                  <a:pt x="190731" y="26136"/>
                </a:cubicBezTo>
                <a:cubicBezTo>
                  <a:pt x="193346" y="32545"/>
                  <a:pt x="194653" y="40448"/>
                  <a:pt x="194653" y="49907"/>
                </a:cubicBezTo>
                <a:cubicBezTo>
                  <a:pt x="194653" y="62415"/>
                  <a:pt x="192349" y="72994"/>
                  <a:pt x="187743" y="81581"/>
                </a:cubicBezTo>
                <a:cubicBezTo>
                  <a:pt x="183261" y="90044"/>
                  <a:pt x="177099" y="96392"/>
                  <a:pt x="169255" y="100685"/>
                </a:cubicBezTo>
                <a:cubicBezTo>
                  <a:pt x="161350" y="104979"/>
                  <a:pt x="152324" y="107095"/>
                  <a:pt x="142177" y="107095"/>
                </a:cubicBezTo>
                <a:lnTo>
                  <a:pt x="107816" y="107095"/>
                </a:lnTo>
                <a:lnTo>
                  <a:pt x="107816" y="0"/>
                </a:lnTo>
                <a:close/>
                <a:moveTo>
                  <a:pt x="142177" y="94400"/>
                </a:moveTo>
                <a:cubicBezTo>
                  <a:pt x="149584" y="94400"/>
                  <a:pt x="156059" y="92907"/>
                  <a:pt x="161599" y="89920"/>
                </a:cubicBezTo>
                <a:cubicBezTo>
                  <a:pt x="167201" y="86808"/>
                  <a:pt x="171496" y="82079"/>
                  <a:pt x="174609" y="75732"/>
                </a:cubicBezTo>
                <a:cubicBezTo>
                  <a:pt x="177783" y="69260"/>
                  <a:pt x="179402" y="60983"/>
                  <a:pt x="179402" y="50965"/>
                </a:cubicBezTo>
                <a:cubicBezTo>
                  <a:pt x="179402" y="40884"/>
                  <a:pt x="177846" y="33105"/>
                  <a:pt x="174733" y="27629"/>
                </a:cubicBezTo>
                <a:cubicBezTo>
                  <a:pt x="171683" y="22153"/>
                  <a:pt x="167450" y="18357"/>
                  <a:pt x="162034" y="16117"/>
                </a:cubicBezTo>
                <a:cubicBezTo>
                  <a:pt x="156806" y="13939"/>
                  <a:pt x="150705" y="12881"/>
                  <a:pt x="143857" y="12881"/>
                </a:cubicBezTo>
                <a:lnTo>
                  <a:pt x="121884" y="12881"/>
                </a:lnTo>
                <a:lnTo>
                  <a:pt x="121884" y="94400"/>
                </a:lnTo>
                <a:lnTo>
                  <a:pt x="142177" y="94400"/>
                </a:lnTo>
                <a:close/>
                <a:moveTo>
                  <a:pt x="276323" y="12134"/>
                </a:moveTo>
                <a:lnTo>
                  <a:pt x="230944" y="107095"/>
                </a:lnTo>
                <a:lnTo>
                  <a:pt x="216315" y="107095"/>
                </a:lnTo>
                <a:lnTo>
                  <a:pt x="262006" y="12881"/>
                </a:lnTo>
                <a:lnTo>
                  <a:pt x="207476" y="12881"/>
                </a:lnTo>
                <a:lnTo>
                  <a:pt x="207476" y="0"/>
                </a:lnTo>
                <a:lnTo>
                  <a:pt x="276323" y="0"/>
                </a:lnTo>
                <a:lnTo>
                  <a:pt x="276323" y="12134"/>
                </a:lnTo>
                <a:close/>
                <a:moveTo>
                  <a:pt x="295434" y="0"/>
                </a:moveTo>
                <a:lnTo>
                  <a:pt x="331725" y="0"/>
                </a:lnTo>
                <a:cubicBezTo>
                  <a:pt x="343490" y="0"/>
                  <a:pt x="352391" y="1991"/>
                  <a:pt x="358492" y="5974"/>
                </a:cubicBezTo>
                <a:cubicBezTo>
                  <a:pt x="364655" y="9956"/>
                  <a:pt x="367767" y="16677"/>
                  <a:pt x="367767" y="26136"/>
                </a:cubicBezTo>
                <a:cubicBezTo>
                  <a:pt x="367767" y="33790"/>
                  <a:pt x="365837" y="39639"/>
                  <a:pt x="361915" y="43622"/>
                </a:cubicBezTo>
                <a:cubicBezTo>
                  <a:pt x="358056" y="47480"/>
                  <a:pt x="352890" y="50156"/>
                  <a:pt x="346416" y="51525"/>
                </a:cubicBezTo>
                <a:cubicBezTo>
                  <a:pt x="354633" y="52520"/>
                  <a:pt x="360919" y="54947"/>
                  <a:pt x="365215" y="58868"/>
                </a:cubicBezTo>
                <a:cubicBezTo>
                  <a:pt x="369510" y="62664"/>
                  <a:pt x="371627" y="68389"/>
                  <a:pt x="371627" y="76168"/>
                </a:cubicBezTo>
                <a:cubicBezTo>
                  <a:pt x="371627" y="83572"/>
                  <a:pt x="369884" y="89547"/>
                  <a:pt x="366397" y="94089"/>
                </a:cubicBezTo>
                <a:cubicBezTo>
                  <a:pt x="362912" y="98694"/>
                  <a:pt x="358118" y="101992"/>
                  <a:pt x="352080" y="104108"/>
                </a:cubicBezTo>
                <a:cubicBezTo>
                  <a:pt x="345980" y="106099"/>
                  <a:pt x="339132" y="107095"/>
                  <a:pt x="331476" y="107095"/>
                </a:cubicBezTo>
                <a:lnTo>
                  <a:pt x="295434" y="107095"/>
                </a:lnTo>
                <a:lnTo>
                  <a:pt x="295434" y="0"/>
                </a:lnTo>
                <a:close/>
                <a:moveTo>
                  <a:pt x="330729" y="45738"/>
                </a:moveTo>
                <a:cubicBezTo>
                  <a:pt x="337452" y="45738"/>
                  <a:pt x="342930" y="44244"/>
                  <a:pt x="347163" y="41257"/>
                </a:cubicBezTo>
                <a:cubicBezTo>
                  <a:pt x="351396" y="38146"/>
                  <a:pt x="353574" y="33354"/>
                  <a:pt x="353574" y="26882"/>
                </a:cubicBezTo>
                <a:cubicBezTo>
                  <a:pt x="353574" y="21406"/>
                  <a:pt x="351644" y="17735"/>
                  <a:pt x="347909" y="15868"/>
                </a:cubicBezTo>
                <a:cubicBezTo>
                  <a:pt x="344112" y="13877"/>
                  <a:pt x="338697" y="12881"/>
                  <a:pt x="331725" y="12881"/>
                </a:cubicBezTo>
                <a:lnTo>
                  <a:pt x="309502" y="12881"/>
                </a:lnTo>
                <a:lnTo>
                  <a:pt x="309502" y="45738"/>
                </a:lnTo>
                <a:lnTo>
                  <a:pt x="330729" y="45738"/>
                </a:lnTo>
                <a:close/>
                <a:moveTo>
                  <a:pt x="331476" y="94400"/>
                </a:moveTo>
                <a:cubicBezTo>
                  <a:pt x="339008" y="94400"/>
                  <a:pt x="345171" y="93093"/>
                  <a:pt x="349840" y="90542"/>
                </a:cubicBezTo>
                <a:cubicBezTo>
                  <a:pt x="354508" y="87929"/>
                  <a:pt x="356874" y="83262"/>
                  <a:pt x="356874" y="76478"/>
                </a:cubicBezTo>
                <a:cubicBezTo>
                  <a:pt x="356874" y="69696"/>
                  <a:pt x="354633" y="65028"/>
                  <a:pt x="350275" y="62415"/>
                </a:cubicBezTo>
                <a:cubicBezTo>
                  <a:pt x="345980" y="59739"/>
                  <a:pt x="339194" y="58433"/>
                  <a:pt x="329795" y="58433"/>
                </a:cubicBezTo>
                <a:lnTo>
                  <a:pt x="309502" y="58433"/>
                </a:lnTo>
                <a:lnTo>
                  <a:pt x="309502" y="94400"/>
                </a:lnTo>
                <a:lnTo>
                  <a:pt x="331476" y="94400"/>
                </a:lnTo>
                <a:close/>
                <a:moveTo>
                  <a:pt x="391733" y="0"/>
                </a:moveTo>
                <a:lnTo>
                  <a:pt x="458091" y="0"/>
                </a:lnTo>
                <a:lnTo>
                  <a:pt x="458091" y="12881"/>
                </a:lnTo>
                <a:lnTo>
                  <a:pt x="405801" y="12881"/>
                </a:lnTo>
                <a:lnTo>
                  <a:pt x="405801" y="45240"/>
                </a:lnTo>
                <a:lnTo>
                  <a:pt x="450185" y="45240"/>
                </a:lnTo>
                <a:lnTo>
                  <a:pt x="450185" y="57934"/>
                </a:lnTo>
                <a:lnTo>
                  <a:pt x="405801" y="57934"/>
                </a:lnTo>
                <a:lnTo>
                  <a:pt x="405801" y="94400"/>
                </a:lnTo>
                <a:lnTo>
                  <a:pt x="458838" y="94400"/>
                </a:lnTo>
                <a:lnTo>
                  <a:pt x="458838" y="107095"/>
                </a:lnTo>
                <a:lnTo>
                  <a:pt x="391733" y="107095"/>
                </a:lnTo>
                <a:lnTo>
                  <a:pt x="391733" y="0"/>
                </a:lnTo>
                <a:close/>
                <a:moveTo>
                  <a:pt x="480998" y="0"/>
                </a:moveTo>
                <a:lnTo>
                  <a:pt x="546484" y="0"/>
                </a:lnTo>
                <a:lnTo>
                  <a:pt x="546484" y="12881"/>
                </a:lnTo>
                <a:lnTo>
                  <a:pt x="495066" y="12881"/>
                </a:lnTo>
                <a:lnTo>
                  <a:pt x="495066" y="48413"/>
                </a:lnTo>
                <a:lnTo>
                  <a:pt x="538703" y="48413"/>
                </a:lnTo>
                <a:lnTo>
                  <a:pt x="538703" y="61108"/>
                </a:lnTo>
                <a:lnTo>
                  <a:pt x="495066" y="61108"/>
                </a:lnTo>
                <a:lnTo>
                  <a:pt x="495066" y="107095"/>
                </a:lnTo>
                <a:lnTo>
                  <a:pt x="480998" y="107095"/>
                </a:lnTo>
                <a:lnTo>
                  <a:pt x="480998" y="0"/>
                </a:lnTo>
                <a:close/>
                <a:moveTo>
                  <a:pt x="565968" y="0"/>
                </a:moveTo>
                <a:lnTo>
                  <a:pt x="631391" y="0"/>
                </a:lnTo>
                <a:lnTo>
                  <a:pt x="631391" y="12881"/>
                </a:lnTo>
                <a:lnTo>
                  <a:pt x="579974" y="12881"/>
                </a:lnTo>
                <a:lnTo>
                  <a:pt x="579974" y="48413"/>
                </a:lnTo>
                <a:lnTo>
                  <a:pt x="623610" y="48413"/>
                </a:lnTo>
                <a:lnTo>
                  <a:pt x="623610" y="61108"/>
                </a:lnTo>
                <a:lnTo>
                  <a:pt x="579974" y="61108"/>
                </a:lnTo>
                <a:lnTo>
                  <a:pt x="579974" y="107095"/>
                </a:lnTo>
                <a:lnTo>
                  <a:pt x="565968" y="107095"/>
                </a:lnTo>
                <a:lnTo>
                  <a:pt x="565968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4" name="Полилиния 923">
            <a:extLst>
              <a:ext uri="{FF2B5EF4-FFF2-40B4-BE49-F238E27FC236}">
                <a16:creationId xmlns:a16="http://schemas.microsoft.com/office/drawing/2014/main" id="{A062C3DB-2016-648B-4129-38469D917A19}"/>
              </a:ext>
            </a:extLst>
          </p:cNvPr>
          <p:cNvSpPr/>
          <p:nvPr userDrawn="1"/>
        </p:nvSpPr>
        <p:spPr>
          <a:xfrm>
            <a:off x="4142452" y="10323656"/>
            <a:ext cx="255715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0E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5" name="Полилиния 924">
            <a:extLst>
              <a:ext uri="{FF2B5EF4-FFF2-40B4-BE49-F238E27FC236}">
                <a16:creationId xmlns:a16="http://schemas.microsoft.com/office/drawing/2014/main" id="{B8DB3981-E3B6-51E5-E5AA-73DC75362C93}"/>
              </a:ext>
            </a:extLst>
          </p:cNvPr>
          <p:cNvSpPr/>
          <p:nvPr userDrawn="1"/>
        </p:nvSpPr>
        <p:spPr>
          <a:xfrm>
            <a:off x="4265660" y="10625622"/>
            <a:ext cx="810735" cy="128252"/>
          </a:xfrm>
          <a:custGeom>
            <a:avLst/>
            <a:gdLst>
              <a:gd name="connsiteX0" fmla="*/ 22099 w 694698"/>
              <a:gd name="connsiteY0" fmla="*/ 108402 h 109895"/>
              <a:gd name="connsiteX1" fmla="*/ 10147 w 694698"/>
              <a:gd name="connsiteY1" fmla="*/ 108402 h 109895"/>
              <a:gd name="connsiteX2" fmla="*/ 16434 w 694698"/>
              <a:gd name="connsiteY2" fmla="*/ 77475 h 109895"/>
              <a:gd name="connsiteX3" fmla="*/ 0 w 694698"/>
              <a:gd name="connsiteY3" fmla="*/ 77475 h 109895"/>
              <a:gd name="connsiteX4" fmla="*/ 0 w 694698"/>
              <a:gd name="connsiteY4" fmla="*/ 67020 h 109895"/>
              <a:gd name="connsiteX5" fmla="*/ 18675 w 694698"/>
              <a:gd name="connsiteY5" fmla="*/ 67020 h 109895"/>
              <a:gd name="connsiteX6" fmla="*/ 24215 w 694698"/>
              <a:gd name="connsiteY6" fmla="*/ 39826 h 109895"/>
              <a:gd name="connsiteX7" fmla="*/ 4046 w 694698"/>
              <a:gd name="connsiteY7" fmla="*/ 39826 h 109895"/>
              <a:gd name="connsiteX8" fmla="*/ 4046 w 694698"/>
              <a:gd name="connsiteY8" fmla="*/ 29372 h 109895"/>
              <a:gd name="connsiteX9" fmla="*/ 26270 w 694698"/>
              <a:gd name="connsiteY9" fmla="*/ 29372 h 109895"/>
              <a:gd name="connsiteX10" fmla="*/ 32121 w 694698"/>
              <a:gd name="connsiteY10" fmla="*/ 1307 h 109895"/>
              <a:gd name="connsiteX11" fmla="*/ 44073 w 694698"/>
              <a:gd name="connsiteY11" fmla="*/ 1307 h 109895"/>
              <a:gd name="connsiteX12" fmla="*/ 38221 w 694698"/>
              <a:gd name="connsiteY12" fmla="*/ 29372 h 109895"/>
              <a:gd name="connsiteX13" fmla="*/ 60630 w 694698"/>
              <a:gd name="connsiteY13" fmla="*/ 29372 h 109895"/>
              <a:gd name="connsiteX14" fmla="*/ 66482 w 694698"/>
              <a:gd name="connsiteY14" fmla="*/ 1307 h 109895"/>
              <a:gd name="connsiteX15" fmla="*/ 78434 w 694698"/>
              <a:gd name="connsiteY15" fmla="*/ 1307 h 109895"/>
              <a:gd name="connsiteX16" fmla="*/ 72582 w 694698"/>
              <a:gd name="connsiteY16" fmla="*/ 29372 h 109895"/>
              <a:gd name="connsiteX17" fmla="*/ 89328 w 694698"/>
              <a:gd name="connsiteY17" fmla="*/ 29372 h 109895"/>
              <a:gd name="connsiteX18" fmla="*/ 89328 w 694698"/>
              <a:gd name="connsiteY18" fmla="*/ 39826 h 109895"/>
              <a:gd name="connsiteX19" fmla="*/ 70529 w 694698"/>
              <a:gd name="connsiteY19" fmla="*/ 39826 h 109895"/>
              <a:gd name="connsiteX20" fmla="*/ 64988 w 694698"/>
              <a:gd name="connsiteY20" fmla="*/ 67020 h 109895"/>
              <a:gd name="connsiteX21" fmla="*/ 85282 w 694698"/>
              <a:gd name="connsiteY21" fmla="*/ 67020 h 109895"/>
              <a:gd name="connsiteX22" fmla="*/ 85282 w 694698"/>
              <a:gd name="connsiteY22" fmla="*/ 77475 h 109895"/>
              <a:gd name="connsiteX23" fmla="*/ 62747 w 694698"/>
              <a:gd name="connsiteY23" fmla="*/ 77475 h 109895"/>
              <a:gd name="connsiteX24" fmla="*/ 56460 w 694698"/>
              <a:gd name="connsiteY24" fmla="*/ 108402 h 109895"/>
              <a:gd name="connsiteX25" fmla="*/ 44508 w 694698"/>
              <a:gd name="connsiteY25" fmla="*/ 108402 h 109895"/>
              <a:gd name="connsiteX26" fmla="*/ 50795 w 694698"/>
              <a:gd name="connsiteY26" fmla="*/ 77475 h 109895"/>
              <a:gd name="connsiteX27" fmla="*/ 28386 w 694698"/>
              <a:gd name="connsiteY27" fmla="*/ 77475 h 109895"/>
              <a:gd name="connsiteX28" fmla="*/ 22099 w 694698"/>
              <a:gd name="connsiteY28" fmla="*/ 108402 h 109895"/>
              <a:gd name="connsiteX29" fmla="*/ 30627 w 694698"/>
              <a:gd name="connsiteY29" fmla="*/ 67020 h 109895"/>
              <a:gd name="connsiteX30" fmla="*/ 53036 w 694698"/>
              <a:gd name="connsiteY30" fmla="*/ 67020 h 109895"/>
              <a:gd name="connsiteX31" fmla="*/ 58576 w 694698"/>
              <a:gd name="connsiteY31" fmla="*/ 39826 h 109895"/>
              <a:gd name="connsiteX32" fmla="*/ 36167 w 694698"/>
              <a:gd name="connsiteY32" fmla="*/ 39826 h 109895"/>
              <a:gd name="connsiteX33" fmla="*/ 30627 w 694698"/>
              <a:gd name="connsiteY33" fmla="*/ 67020 h 109895"/>
              <a:gd name="connsiteX34" fmla="*/ 107816 w 694698"/>
              <a:gd name="connsiteY34" fmla="*/ 1307 h 109895"/>
              <a:gd name="connsiteX35" fmla="*/ 173239 w 694698"/>
              <a:gd name="connsiteY35" fmla="*/ 1307 h 109895"/>
              <a:gd name="connsiteX36" fmla="*/ 173239 w 694698"/>
              <a:gd name="connsiteY36" fmla="*/ 14188 h 109895"/>
              <a:gd name="connsiteX37" fmla="*/ 121884 w 694698"/>
              <a:gd name="connsiteY37" fmla="*/ 14188 h 109895"/>
              <a:gd name="connsiteX38" fmla="*/ 121884 w 694698"/>
              <a:gd name="connsiteY38" fmla="*/ 49720 h 109895"/>
              <a:gd name="connsiteX39" fmla="*/ 165521 w 694698"/>
              <a:gd name="connsiteY39" fmla="*/ 49720 h 109895"/>
              <a:gd name="connsiteX40" fmla="*/ 165521 w 694698"/>
              <a:gd name="connsiteY40" fmla="*/ 62415 h 109895"/>
              <a:gd name="connsiteX41" fmla="*/ 121884 w 694698"/>
              <a:gd name="connsiteY41" fmla="*/ 62415 h 109895"/>
              <a:gd name="connsiteX42" fmla="*/ 121884 w 694698"/>
              <a:gd name="connsiteY42" fmla="*/ 108402 h 109895"/>
              <a:gd name="connsiteX43" fmla="*/ 107816 w 694698"/>
              <a:gd name="connsiteY43" fmla="*/ 108402 h 109895"/>
              <a:gd name="connsiteX44" fmla="*/ 107816 w 694698"/>
              <a:gd name="connsiteY44" fmla="*/ 1307 h 109895"/>
              <a:gd name="connsiteX45" fmla="*/ 221545 w 694698"/>
              <a:gd name="connsiteY45" fmla="*/ 109896 h 109895"/>
              <a:gd name="connsiteX46" fmla="*/ 203368 w 694698"/>
              <a:gd name="connsiteY46" fmla="*/ 104047 h 109895"/>
              <a:gd name="connsiteX47" fmla="*/ 190669 w 694698"/>
              <a:gd name="connsiteY47" fmla="*/ 86125 h 109895"/>
              <a:gd name="connsiteX48" fmla="*/ 186187 w 694698"/>
              <a:gd name="connsiteY48" fmla="*/ 54761 h 109895"/>
              <a:gd name="connsiteX49" fmla="*/ 190669 w 694698"/>
              <a:gd name="connsiteY49" fmla="*/ 23398 h 109895"/>
              <a:gd name="connsiteX50" fmla="*/ 203368 w 694698"/>
              <a:gd name="connsiteY50" fmla="*/ 5663 h 109895"/>
              <a:gd name="connsiteX51" fmla="*/ 221545 w 694698"/>
              <a:gd name="connsiteY51" fmla="*/ 0 h 109895"/>
              <a:gd name="connsiteX52" fmla="*/ 239658 w 694698"/>
              <a:gd name="connsiteY52" fmla="*/ 5663 h 109895"/>
              <a:gd name="connsiteX53" fmla="*/ 252046 w 694698"/>
              <a:gd name="connsiteY53" fmla="*/ 23398 h 109895"/>
              <a:gd name="connsiteX54" fmla="*/ 256528 w 694698"/>
              <a:gd name="connsiteY54" fmla="*/ 54512 h 109895"/>
              <a:gd name="connsiteX55" fmla="*/ 252046 w 694698"/>
              <a:gd name="connsiteY55" fmla="*/ 85876 h 109895"/>
              <a:gd name="connsiteX56" fmla="*/ 239658 w 694698"/>
              <a:gd name="connsiteY56" fmla="*/ 104047 h 109895"/>
              <a:gd name="connsiteX57" fmla="*/ 221545 w 694698"/>
              <a:gd name="connsiteY57" fmla="*/ 109896 h 109895"/>
              <a:gd name="connsiteX58" fmla="*/ 221420 w 694698"/>
              <a:gd name="connsiteY58" fmla="*/ 98072 h 109895"/>
              <a:gd name="connsiteX59" fmla="*/ 232749 w 694698"/>
              <a:gd name="connsiteY59" fmla="*/ 94089 h 109895"/>
              <a:gd name="connsiteX60" fmla="*/ 239970 w 694698"/>
              <a:gd name="connsiteY60" fmla="*/ 80462 h 109895"/>
              <a:gd name="connsiteX61" fmla="*/ 242460 w 694698"/>
              <a:gd name="connsiteY61" fmla="*/ 54948 h 109895"/>
              <a:gd name="connsiteX62" fmla="*/ 240095 w 694698"/>
              <a:gd name="connsiteY62" fmla="*/ 29559 h 109895"/>
              <a:gd name="connsiteX63" fmla="*/ 232936 w 694698"/>
              <a:gd name="connsiteY63" fmla="*/ 15931 h 109895"/>
              <a:gd name="connsiteX64" fmla="*/ 221545 w 694698"/>
              <a:gd name="connsiteY64" fmla="*/ 11761 h 109895"/>
              <a:gd name="connsiteX65" fmla="*/ 210090 w 694698"/>
              <a:gd name="connsiteY65" fmla="*/ 15931 h 109895"/>
              <a:gd name="connsiteX66" fmla="*/ 202745 w 694698"/>
              <a:gd name="connsiteY66" fmla="*/ 29559 h 109895"/>
              <a:gd name="connsiteX67" fmla="*/ 200193 w 694698"/>
              <a:gd name="connsiteY67" fmla="*/ 54948 h 109895"/>
              <a:gd name="connsiteX68" fmla="*/ 202621 w 694698"/>
              <a:gd name="connsiteY68" fmla="*/ 80462 h 109895"/>
              <a:gd name="connsiteX69" fmla="*/ 209904 w 694698"/>
              <a:gd name="connsiteY69" fmla="*/ 94089 h 109895"/>
              <a:gd name="connsiteX70" fmla="*/ 221420 w 694698"/>
              <a:gd name="connsiteY70" fmla="*/ 98072 h 109895"/>
              <a:gd name="connsiteX71" fmla="*/ 274892 w 694698"/>
              <a:gd name="connsiteY71" fmla="*/ 1307 h 109895"/>
              <a:gd name="connsiteX72" fmla="*/ 341187 w 694698"/>
              <a:gd name="connsiteY72" fmla="*/ 1307 h 109895"/>
              <a:gd name="connsiteX73" fmla="*/ 341187 w 694698"/>
              <a:gd name="connsiteY73" fmla="*/ 14188 h 109895"/>
              <a:gd name="connsiteX74" fmla="*/ 288898 w 694698"/>
              <a:gd name="connsiteY74" fmla="*/ 14188 h 109895"/>
              <a:gd name="connsiteX75" fmla="*/ 288898 w 694698"/>
              <a:gd name="connsiteY75" fmla="*/ 46547 h 109895"/>
              <a:gd name="connsiteX76" fmla="*/ 333281 w 694698"/>
              <a:gd name="connsiteY76" fmla="*/ 46547 h 109895"/>
              <a:gd name="connsiteX77" fmla="*/ 333281 w 694698"/>
              <a:gd name="connsiteY77" fmla="*/ 59242 h 109895"/>
              <a:gd name="connsiteX78" fmla="*/ 288898 w 694698"/>
              <a:gd name="connsiteY78" fmla="*/ 59242 h 109895"/>
              <a:gd name="connsiteX79" fmla="*/ 288898 w 694698"/>
              <a:gd name="connsiteY79" fmla="*/ 95707 h 109895"/>
              <a:gd name="connsiteX80" fmla="*/ 341934 w 694698"/>
              <a:gd name="connsiteY80" fmla="*/ 95707 h 109895"/>
              <a:gd name="connsiteX81" fmla="*/ 341934 w 694698"/>
              <a:gd name="connsiteY81" fmla="*/ 108402 h 109895"/>
              <a:gd name="connsiteX82" fmla="*/ 274892 w 694698"/>
              <a:gd name="connsiteY82" fmla="*/ 108402 h 109895"/>
              <a:gd name="connsiteX83" fmla="*/ 274892 w 694698"/>
              <a:gd name="connsiteY83" fmla="*/ 1307 h 109895"/>
              <a:gd name="connsiteX84" fmla="*/ 364156 w 694698"/>
              <a:gd name="connsiteY84" fmla="*/ 1307 h 109895"/>
              <a:gd name="connsiteX85" fmla="*/ 400448 w 694698"/>
              <a:gd name="connsiteY85" fmla="*/ 1307 h 109895"/>
              <a:gd name="connsiteX86" fmla="*/ 427215 w 694698"/>
              <a:gd name="connsiteY86" fmla="*/ 7281 h 109895"/>
              <a:gd name="connsiteX87" fmla="*/ 436490 w 694698"/>
              <a:gd name="connsiteY87" fmla="*/ 27443 h 109895"/>
              <a:gd name="connsiteX88" fmla="*/ 430639 w 694698"/>
              <a:gd name="connsiteY88" fmla="*/ 44930 h 109895"/>
              <a:gd name="connsiteX89" fmla="*/ 415139 w 694698"/>
              <a:gd name="connsiteY89" fmla="*/ 52832 h 109895"/>
              <a:gd name="connsiteX90" fmla="*/ 433938 w 694698"/>
              <a:gd name="connsiteY90" fmla="*/ 60175 h 109895"/>
              <a:gd name="connsiteX91" fmla="*/ 440349 w 694698"/>
              <a:gd name="connsiteY91" fmla="*/ 77475 h 109895"/>
              <a:gd name="connsiteX92" fmla="*/ 435120 w 694698"/>
              <a:gd name="connsiteY92" fmla="*/ 95397 h 109895"/>
              <a:gd name="connsiteX93" fmla="*/ 420804 w 694698"/>
              <a:gd name="connsiteY93" fmla="*/ 105415 h 109895"/>
              <a:gd name="connsiteX94" fmla="*/ 400199 w 694698"/>
              <a:gd name="connsiteY94" fmla="*/ 108402 h 109895"/>
              <a:gd name="connsiteX95" fmla="*/ 364156 w 694698"/>
              <a:gd name="connsiteY95" fmla="*/ 108402 h 109895"/>
              <a:gd name="connsiteX96" fmla="*/ 364156 w 694698"/>
              <a:gd name="connsiteY96" fmla="*/ 1307 h 109895"/>
              <a:gd name="connsiteX97" fmla="*/ 399452 w 694698"/>
              <a:gd name="connsiteY97" fmla="*/ 47045 h 109895"/>
              <a:gd name="connsiteX98" fmla="*/ 415886 w 694698"/>
              <a:gd name="connsiteY98" fmla="*/ 42565 h 109895"/>
              <a:gd name="connsiteX99" fmla="*/ 422297 w 694698"/>
              <a:gd name="connsiteY99" fmla="*/ 28190 h 109895"/>
              <a:gd name="connsiteX100" fmla="*/ 416633 w 694698"/>
              <a:gd name="connsiteY100" fmla="*/ 17175 h 109895"/>
              <a:gd name="connsiteX101" fmla="*/ 400448 w 694698"/>
              <a:gd name="connsiteY101" fmla="*/ 14188 h 109895"/>
              <a:gd name="connsiteX102" fmla="*/ 378225 w 694698"/>
              <a:gd name="connsiteY102" fmla="*/ 14188 h 109895"/>
              <a:gd name="connsiteX103" fmla="*/ 378225 w 694698"/>
              <a:gd name="connsiteY103" fmla="*/ 47045 h 109895"/>
              <a:gd name="connsiteX104" fmla="*/ 399452 w 694698"/>
              <a:gd name="connsiteY104" fmla="*/ 47045 h 109895"/>
              <a:gd name="connsiteX105" fmla="*/ 400199 w 694698"/>
              <a:gd name="connsiteY105" fmla="*/ 95707 h 109895"/>
              <a:gd name="connsiteX106" fmla="*/ 418562 w 694698"/>
              <a:gd name="connsiteY106" fmla="*/ 91849 h 109895"/>
              <a:gd name="connsiteX107" fmla="*/ 425596 w 694698"/>
              <a:gd name="connsiteY107" fmla="*/ 77786 h 109895"/>
              <a:gd name="connsiteX108" fmla="*/ 418998 w 694698"/>
              <a:gd name="connsiteY108" fmla="*/ 63722 h 109895"/>
              <a:gd name="connsiteX109" fmla="*/ 398518 w 694698"/>
              <a:gd name="connsiteY109" fmla="*/ 59740 h 109895"/>
              <a:gd name="connsiteX110" fmla="*/ 378225 w 694698"/>
              <a:gd name="connsiteY110" fmla="*/ 59740 h 109895"/>
              <a:gd name="connsiteX111" fmla="*/ 378225 w 694698"/>
              <a:gd name="connsiteY111" fmla="*/ 95707 h 109895"/>
              <a:gd name="connsiteX112" fmla="*/ 400199 w 694698"/>
              <a:gd name="connsiteY112" fmla="*/ 95707 h 109895"/>
              <a:gd name="connsiteX113" fmla="*/ 460456 w 694698"/>
              <a:gd name="connsiteY113" fmla="*/ 1307 h 109895"/>
              <a:gd name="connsiteX114" fmla="*/ 525879 w 694698"/>
              <a:gd name="connsiteY114" fmla="*/ 1307 h 109895"/>
              <a:gd name="connsiteX115" fmla="*/ 525879 w 694698"/>
              <a:gd name="connsiteY115" fmla="*/ 14188 h 109895"/>
              <a:gd name="connsiteX116" fmla="*/ 474524 w 694698"/>
              <a:gd name="connsiteY116" fmla="*/ 14188 h 109895"/>
              <a:gd name="connsiteX117" fmla="*/ 474524 w 694698"/>
              <a:gd name="connsiteY117" fmla="*/ 49720 h 109895"/>
              <a:gd name="connsiteX118" fmla="*/ 518098 w 694698"/>
              <a:gd name="connsiteY118" fmla="*/ 49720 h 109895"/>
              <a:gd name="connsiteX119" fmla="*/ 518098 w 694698"/>
              <a:gd name="connsiteY119" fmla="*/ 62415 h 109895"/>
              <a:gd name="connsiteX120" fmla="*/ 474524 w 694698"/>
              <a:gd name="connsiteY120" fmla="*/ 62415 h 109895"/>
              <a:gd name="connsiteX121" fmla="*/ 474524 w 694698"/>
              <a:gd name="connsiteY121" fmla="*/ 108402 h 109895"/>
              <a:gd name="connsiteX122" fmla="*/ 460456 w 694698"/>
              <a:gd name="connsiteY122" fmla="*/ 108402 h 109895"/>
              <a:gd name="connsiteX123" fmla="*/ 460456 w 694698"/>
              <a:gd name="connsiteY123" fmla="*/ 1307 h 109895"/>
              <a:gd name="connsiteX124" fmla="*/ 545363 w 694698"/>
              <a:gd name="connsiteY124" fmla="*/ 1307 h 109895"/>
              <a:gd name="connsiteX125" fmla="*/ 610787 w 694698"/>
              <a:gd name="connsiteY125" fmla="*/ 1307 h 109895"/>
              <a:gd name="connsiteX126" fmla="*/ 610787 w 694698"/>
              <a:gd name="connsiteY126" fmla="*/ 14188 h 109895"/>
              <a:gd name="connsiteX127" fmla="*/ 559431 w 694698"/>
              <a:gd name="connsiteY127" fmla="*/ 14188 h 109895"/>
              <a:gd name="connsiteX128" fmla="*/ 559431 w 694698"/>
              <a:gd name="connsiteY128" fmla="*/ 49720 h 109895"/>
              <a:gd name="connsiteX129" fmla="*/ 603006 w 694698"/>
              <a:gd name="connsiteY129" fmla="*/ 49720 h 109895"/>
              <a:gd name="connsiteX130" fmla="*/ 603006 w 694698"/>
              <a:gd name="connsiteY130" fmla="*/ 62415 h 109895"/>
              <a:gd name="connsiteX131" fmla="*/ 559431 w 694698"/>
              <a:gd name="connsiteY131" fmla="*/ 62415 h 109895"/>
              <a:gd name="connsiteX132" fmla="*/ 559431 w 694698"/>
              <a:gd name="connsiteY132" fmla="*/ 108402 h 109895"/>
              <a:gd name="connsiteX133" fmla="*/ 545363 w 694698"/>
              <a:gd name="connsiteY133" fmla="*/ 108402 h 109895"/>
              <a:gd name="connsiteX134" fmla="*/ 545363 w 694698"/>
              <a:gd name="connsiteY134" fmla="*/ 1307 h 109895"/>
              <a:gd name="connsiteX135" fmla="*/ 659279 w 694698"/>
              <a:gd name="connsiteY135" fmla="*/ 109896 h 109895"/>
              <a:gd name="connsiteX136" fmla="*/ 640604 w 694698"/>
              <a:gd name="connsiteY136" fmla="*/ 106287 h 109895"/>
              <a:gd name="connsiteX137" fmla="*/ 627905 w 694698"/>
              <a:gd name="connsiteY137" fmla="*/ 96019 h 109895"/>
              <a:gd name="connsiteX138" fmla="*/ 623236 w 694698"/>
              <a:gd name="connsiteY138" fmla="*/ 79590 h 109895"/>
              <a:gd name="connsiteX139" fmla="*/ 628652 w 694698"/>
              <a:gd name="connsiteY139" fmla="*/ 62105 h 109895"/>
              <a:gd name="connsiteX140" fmla="*/ 643405 w 694698"/>
              <a:gd name="connsiteY140" fmla="*/ 51525 h 109895"/>
              <a:gd name="connsiteX141" fmla="*/ 631454 w 694698"/>
              <a:gd name="connsiteY141" fmla="*/ 42378 h 109895"/>
              <a:gd name="connsiteX142" fmla="*/ 627158 w 694698"/>
              <a:gd name="connsiteY142" fmla="*/ 27318 h 109895"/>
              <a:gd name="connsiteX143" fmla="*/ 631329 w 694698"/>
              <a:gd name="connsiteY143" fmla="*/ 12383 h 109895"/>
              <a:gd name="connsiteX144" fmla="*/ 642845 w 694698"/>
              <a:gd name="connsiteY144" fmla="*/ 3111 h 109895"/>
              <a:gd name="connsiteX145" fmla="*/ 659279 w 694698"/>
              <a:gd name="connsiteY145" fmla="*/ 0 h 109895"/>
              <a:gd name="connsiteX146" fmla="*/ 675401 w 694698"/>
              <a:gd name="connsiteY146" fmla="*/ 3111 h 109895"/>
              <a:gd name="connsiteX147" fmla="*/ 686731 w 694698"/>
              <a:gd name="connsiteY147" fmla="*/ 12073 h 109895"/>
              <a:gd name="connsiteX148" fmla="*/ 691088 w 694698"/>
              <a:gd name="connsiteY148" fmla="*/ 27008 h 109895"/>
              <a:gd name="connsiteX149" fmla="*/ 686606 w 694698"/>
              <a:gd name="connsiteY149" fmla="*/ 42253 h 109895"/>
              <a:gd name="connsiteX150" fmla="*/ 674779 w 694698"/>
              <a:gd name="connsiteY150" fmla="*/ 51525 h 109895"/>
              <a:gd name="connsiteX151" fmla="*/ 689159 w 694698"/>
              <a:gd name="connsiteY151" fmla="*/ 61669 h 109895"/>
              <a:gd name="connsiteX152" fmla="*/ 694699 w 694698"/>
              <a:gd name="connsiteY152" fmla="*/ 79155 h 109895"/>
              <a:gd name="connsiteX153" fmla="*/ 690030 w 694698"/>
              <a:gd name="connsiteY153" fmla="*/ 95707 h 109895"/>
              <a:gd name="connsiteX154" fmla="*/ 677331 w 694698"/>
              <a:gd name="connsiteY154" fmla="*/ 106287 h 109895"/>
              <a:gd name="connsiteX155" fmla="*/ 659279 w 694698"/>
              <a:gd name="connsiteY155" fmla="*/ 109896 h 109895"/>
              <a:gd name="connsiteX156" fmla="*/ 659279 w 694698"/>
              <a:gd name="connsiteY156" fmla="*/ 46111 h 109895"/>
              <a:gd name="connsiteX157" fmla="*/ 672289 w 694698"/>
              <a:gd name="connsiteY157" fmla="*/ 41631 h 109895"/>
              <a:gd name="connsiteX158" fmla="*/ 677518 w 694698"/>
              <a:gd name="connsiteY158" fmla="*/ 28936 h 109895"/>
              <a:gd name="connsiteX159" fmla="*/ 672289 w 694698"/>
              <a:gd name="connsiteY159" fmla="*/ 16428 h 109895"/>
              <a:gd name="connsiteX160" fmla="*/ 659279 w 694698"/>
              <a:gd name="connsiteY160" fmla="*/ 11761 h 109895"/>
              <a:gd name="connsiteX161" fmla="*/ 645957 w 694698"/>
              <a:gd name="connsiteY161" fmla="*/ 16428 h 109895"/>
              <a:gd name="connsiteX162" fmla="*/ 640729 w 694698"/>
              <a:gd name="connsiteY162" fmla="*/ 28936 h 109895"/>
              <a:gd name="connsiteX163" fmla="*/ 645957 w 694698"/>
              <a:gd name="connsiteY163" fmla="*/ 41631 h 109895"/>
              <a:gd name="connsiteX164" fmla="*/ 659279 w 694698"/>
              <a:gd name="connsiteY164" fmla="*/ 46111 h 109895"/>
              <a:gd name="connsiteX165" fmla="*/ 659279 w 694698"/>
              <a:gd name="connsiteY165" fmla="*/ 98072 h 109895"/>
              <a:gd name="connsiteX166" fmla="*/ 674654 w 694698"/>
              <a:gd name="connsiteY166" fmla="*/ 92721 h 109895"/>
              <a:gd name="connsiteX167" fmla="*/ 680941 w 694698"/>
              <a:gd name="connsiteY167" fmla="*/ 77350 h 109895"/>
              <a:gd name="connsiteX168" fmla="*/ 674654 w 694698"/>
              <a:gd name="connsiteY168" fmla="*/ 62105 h 109895"/>
              <a:gd name="connsiteX169" fmla="*/ 659279 w 694698"/>
              <a:gd name="connsiteY169" fmla="*/ 56566 h 109895"/>
              <a:gd name="connsiteX170" fmla="*/ 643281 w 694698"/>
              <a:gd name="connsiteY170" fmla="*/ 62105 h 109895"/>
              <a:gd name="connsiteX171" fmla="*/ 636994 w 694698"/>
              <a:gd name="connsiteY171" fmla="*/ 77350 h 109895"/>
              <a:gd name="connsiteX172" fmla="*/ 643281 w 694698"/>
              <a:gd name="connsiteY172" fmla="*/ 92721 h 109895"/>
              <a:gd name="connsiteX173" fmla="*/ 659279 w 694698"/>
              <a:gd name="connsiteY173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</a:cxnLst>
            <a:rect l="l" t="t" r="r" b="b"/>
            <a:pathLst>
              <a:path w="69469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1" y="49720"/>
                </a:lnTo>
                <a:lnTo>
                  <a:pt x="165521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221545" y="109896"/>
                </a:moveTo>
                <a:cubicBezTo>
                  <a:pt x="214821" y="109896"/>
                  <a:pt x="208721" y="107967"/>
                  <a:pt x="203368" y="104047"/>
                </a:cubicBezTo>
                <a:cubicBezTo>
                  <a:pt x="197952" y="100188"/>
                  <a:pt x="193719" y="94214"/>
                  <a:pt x="190669" y="86125"/>
                </a:cubicBezTo>
                <a:cubicBezTo>
                  <a:pt x="187681" y="77972"/>
                  <a:pt x="186187" y="67518"/>
                  <a:pt x="186187" y="54761"/>
                </a:cubicBezTo>
                <a:cubicBezTo>
                  <a:pt x="186187" y="41942"/>
                  <a:pt x="187681" y="31488"/>
                  <a:pt x="190669" y="23398"/>
                </a:cubicBezTo>
                <a:cubicBezTo>
                  <a:pt x="193719" y="15371"/>
                  <a:pt x="197952" y="9459"/>
                  <a:pt x="203368" y="5663"/>
                </a:cubicBezTo>
                <a:cubicBezTo>
                  <a:pt x="208721" y="1867"/>
                  <a:pt x="214821" y="0"/>
                  <a:pt x="221545" y="0"/>
                </a:cubicBezTo>
                <a:cubicBezTo>
                  <a:pt x="228329" y="0"/>
                  <a:pt x="234367" y="1867"/>
                  <a:pt x="239658" y="5663"/>
                </a:cubicBezTo>
                <a:cubicBezTo>
                  <a:pt x="244950" y="9459"/>
                  <a:pt x="249058" y="15371"/>
                  <a:pt x="252046" y="23398"/>
                </a:cubicBezTo>
                <a:cubicBezTo>
                  <a:pt x="255035" y="31363"/>
                  <a:pt x="256528" y="41756"/>
                  <a:pt x="256528" y="54512"/>
                </a:cubicBezTo>
                <a:cubicBezTo>
                  <a:pt x="256528" y="67145"/>
                  <a:pt x="255035" y="77599"/>
                  <a:pt x="252046" y="85876"/>
                </a:cubicBezTo>
                <a:cubicBezTo>
                  <a:pt x="249058" y="94027"/>
                  <a:pt x="244950" y="100064"/>
                  <a:pt x="239658" y="104047"/>
                </a:cubicBezTo>
                <a:cubicBezTo>
                  <a:pt x="234367" y="107967"/>
                  <a:pt x="228329" y="109896"/>
                  <a:pt x="221545" y="109896"/>
                </a:cubicBezTo>
                <a:close/>
                <a:moveTo>
                  <a:pt x="221420" y="98072"/>
                </a:moveTo>
                <a:cubicBezTo>
                  <a:pt x="225902" y="98072"/>
                  <a:pt x="229699" y="96766"/>
                  <a:pt x="232749" y="94089"/>
                </a:cubicBezTo>
                <a:cubicBezTo>
                  <a:pt x="235986" y="91289"/>
                  <a:pt x="238351" y="86747"/>
                  <a:pt x="239970" y="80462"/>
                </a:cubicBezTo>
                <a:cubicBezTo>
                  <a:pt x="241651" y="74114"/>
                  <a:pt x="242460" y="65589"/>
                  <a:pt x="242460" y="54948"/>
                </a:cubicBezTo>
                <a:cubicBezTo>
                  <a:pt x="242460" y="44307"/>
                  <a:pt x="241713" y="35844"/>
                  <a:pt x="240095" y="29559"/>
                </a:cubicBezTo>
                <a:cubicBezTo>
                  <a:pt x="238476" y="23150"/>
                  <a:pt x="236111" y="18669"/>
                  <a:pt x="232936" y="15931"/>
                </a:cubicBezTo>
                <a:cubicBezTo>
                  <a:pt x="229823" y="13192"/>
                  <a:pt x="226026" y="11761"/>
                  <a:pt x="221545" y="11761"/>
                </a:cubicBezTo>
                <a:cubicBezTo>
                  <a:pt x="217062" y="11761"/>
                  <a:pt x="213265" y="13192"/>
                  <a:pt x="210090" y="15931"/>
                </a:cubicBezTo>
                <a:cubicBezTo>
                  <a:pt x="206853" y="18669"/>
                  <a:pt x="204426" y="23150"/>
                  <a:pt x="202745" y="29559"/>
                </a:cubicBezTo>
                <a:cubicBezTo>
                  <a:pt x="201064" y="35844"/>
                  <a:pt x="200193" y="44307"/>
                  <a:pt x="200193" y="54948"/>
                </a:cubicBezTo>
                <a:cubicBezTo>
                  <a:pt x="200193" y="65589"/>
                  <a:pt x="201002" y="74114"/>
                  <a:pt x="202621" y="80462"/>
                </a:cubicBezTo>
                <a:cubicBezTo>
                  <a:pt x="204301" y="86747"/>
                  <a:pt x="206729" y="91289"/>
                  <a:pt x="209904" y="94089"/>
                </a:cubicBezTo>
                <a:cubicBezTo>
                  <a:pt x="213078" y="96766"/>
                  <a:pt x="216938" y="98072"/>
                  <a:pt x="221420" y="98072"/>
                </a:cubicBezTo>
                <a:close/>
                <a:moveTo>
                  <a:pt x="274892" y="1307"/>
                </a:moveTo>
                <a:lnTo>
                  <a:pt x="341187" y="1307"/>
                </a:lnTo>
                <a:lnTo>
                  <a:pt x="341187" y="14188"/>
                </a:lnTo>
                <a:lnTo>
                  <a:pt x="288898" y="14188"/>
                </a:lnTo>
                <a:lnTo>
                  <a:pt x="288898" y="46547"/>
                </a:lnTo>
                <a:lnTo>
                  <a:pt x="333281" y="46547"/>
                </a:lnTo>
                <a:lnTo>
                  <a:pt x="333281" y="59242"/>
                </a:lnTo>
                <a:lnTo>
                  <a:pt x="288898" y="59242"/>
                </a:lnTo>
                <a:lnTo>
                  <a:pt x="288898" y="95707"/>
                </a:lnTo>
                <a:lnTo>
                  <a:pt x="341934" y="95707"/>
                </a:lnTo>
                <a:lnTo>
                  <a:pt x="341934" y="108402"/>
                </a:lnTo>
                <a:lnTo>
                  <a:pt x="274892" y="108402"/>
                </a:lnTo>
                <a:lnTo>
                  <a:pt x="274892" y="1307"/>
                </a:lnTo>
                <a:close/>
                <a:moveTo>
                  <a:pt x="364156" y="1307"/>
                </a:moveTo>
                <a:lnTo>
                  <a:pt x="400448" y="1307"/>
                </a:lnTo>
                <a:cubicBezTo>
                  <a:pt x="412213" y="1307"/>
                  <a:pt x="421114" y="3298"/>
                  <a:pt x="427215" y="7281"/>
                </a:cubicBezTo>
                <a:cubicBezTo>
                  <a:pt x="433377" y="11264"/>
                  <a:pt x="436490" y="17984"/>
                  <a:pt x="436490" y="27443"/>
                </a:cubicBezTo>
                <a:cubicBezTo>
                  <a:pt x="436490" y="35097"/>
                  <a:pt x="434560" y="40947"/>
                  <a:pt x="430639" y="44930"/>
                </a:cubicBezTo>
                <a:cubicBezTo>
                  <a:pt x="426779" y="48788"/>
                  <a:pt x="421612" y="51463"/>
                  <a:pt x="415139" y="52832"/>
                </a:cubicBezTo>
                <a:cubicBezTo>
                  <a:pt x="423355" y="53828"/>
                  <a:pt x="429642" y="56255"/>
                  <a:pt x="433938" y="60175"/>
                </a:cubicBezTo>
                <a:cubicBezTo>
                  <a:pt x="438233" y="63971"/>
                  <a:pt x="440349" y="69696"/>
                  <a:pt x="440349" y="77475"/>
                </a:cubicBezTo>
                <a:cubicBezTo>
                  <a:pt x="440349" y="84880"/>
                  <a:pt x="438607" y="90854"/>
                  <a:pt x="435120" y="95397"/>
                </a:cubicBezTo>
                <a:cubicBezTo>
                  <a:pt x="431635" y="100002"/>
                  <a:pt x="426841" y="103300"/>
                  <a:pt x="420804" y="105415"/>
                </a:cubicBezTo>
                <a:cubicBezTo>
                  <a:pt x="414702" y="107406"/>
                  <a:pt x="407855" y="108402"/>
                  <a:pt x="400199" y="108402"/>
                </a:cubicBezTo>
                <a:lnTo>
                  <a:pt x="364156" y="108402"/>
                </a:lnTo>
                <a:lnTo>
                  <a:pt x="364156" y="1307"/>
                </a:lnTo>
                <a:close/>
                <a:moveTo>
                  <a:pt x="399452" y="47045"/>
                </a:moveTo>
                <a:cubicBezTo>
                  <a:pt x="406174" y="47045"/>
                  <a:pt x="411652" y="45552"/>
                  <a:pt x="415886" y="42565"/>
                </a:cubicBezTo>
                <a:cubicBezTo>
                  <a:pt x="420118" y="39453"/>
                  <a:pt x="422297" y="34662"/>
                  <a:pt x="422297" y="28190"/>
                </a:cubicBezTo>
                <a:cubicBezTo>
                  <a:pt x="422297" y="22714"/>
                  <a:pt x="420367" y="19042"/>
                  <a:pt x="416633" y="17175"/>
                </a:cubicBezTo>
                <a:cubicBezTo>
                  <a:pt x="412835" y="15184"/>
                  <a:pt x="407420" y="14188"/>
                  <a:pt x="400448" y="14188"/>
                </a:cubicBezTo>
                <a:lnTo>
                  <a:pt x="378225" y="14188"/>
                </a:lnTo>
                <a:lnTo>
                  <a:pt x="378225" y="47045"/>
                </a:lnTo>
                <a:lnTo>
                  <a:pt x="399452" y="47045"/>
                </a:lnTo>
                <a:close/>
                <a:moveTo>
                  <a:pt x="400199" y="95707"/>
                </a:moveTo>
                <a:cubicBezTo>
                  <a:pt x="407731" y="95707"/>
                  <a:pt x="413893" y="94401"/>
                  <a:pt x="418562" y="91849"/>
                </a:cubicBezTo>
                <a:cubicBezTo>
                  <a:pt x="423231" y="89236"/>
                  <a:pt x="425596" y="84569"/>
                  <a:pt x="425596" y="77786"/>
                </a:cubicBezTo>
                <a:cubicBezTo>
                  <a:pt x="425596" y="71003"/>
                  <a:pt x="423355" y="66336"/>
                  <a:pt x="418998" y="63722"/>
                </a:cubicBezTo>
                <a:cubicBezTo>
                  <a:pt x="414702" y="61046"/>
                  <a:pt x="407918" y="59740"/>
                  <a:pt x="398518" y="59740"/>
                </a:cubicBezTo>
                <a:lnTo>
                  <a:pt x="378225" y="59740"/>
                </a:lnTo>
                <a:lnTo>
                  <a:pt x="378225" y="95707"/>
                </a:lnTo>
                <a:lnTo>
                  <a:pt x="400199" y="95707"/>
                </a:lnTo>
                <a:close/>
                <a:moveTo>
                  <a:pt x="460456" y="1307"/>
                </a:moveTo>
                <a:lnTo>
                  <a:pt x="525879" y="1307"/>
                </a:lnTo>
                <a:lnTo>
                  <a:pt x="525879" y="14188"/>
                </a:lnTo>
                <a:lnTo>
                  <a:pt x="474524" y="14188"/>
                </a:lnTo>
                <a:lnTo>
                  <a:pt x="474524" y="49720"/>
                </a:lnTo>
                <a:lnTo>
                  <a:pt x="518098" y="49720"/>
                </a:lnTo>
                <a:lnTo>
                  <a:pt x="518098" y="62415"/>
                </a:lnTo>
                <a:lnTo>
                  <a:pt x="474524" y="62415"/>
                </a:lnTo>
                <a:lnTo>
                  <a:pt x="474524" y="108402"/>
                </a:lnTo>
                <a:lnTo>
                  <a:pt x="460456" y="108402"/>
                </a:lnTo>
                <a:lnTo>
                  <a:pt x="460456" y="1307"/>
                </a:lnTo>
                <a:close/>
                <a:moveTo>
                  <a:pt x="545363" y="1307"/>
                </a:moveTo>
                <a:lnTo>
                  <a:pt x="610787" y="1307"/>
                </a:lnTo>
                <a:lnTo>
                  <a:pt x="610787" y="14188"/>
                </a:lnTo>
                <a:lnTo>
                  <a:pt x="559431" y="14188"/>
                </a:lnTo>
                <a:lnTo>
                  <a:pt x="559431" y="49720"/>
                </a:lnTo>
                <a:lnTo>
                  <a:pt x="603006" y="49720"/>
                </a:lnTo>
                <a:lnTo>
                  <a:pt x="603006" y="62415"/>
                </a:lnTo>
                <a:lnTo>
                  <a:pt x="559431" y="62415"/>
                </a:lnTo>
                <a:lnTo>
                  <a:pt x="559431" y="108402"/>
                </a:lnTo>
                <a:lnTo>
                  <a:pt x="545363" y="108402"/>
                </a:lnTo>
                <a:lnTo>
                  <a:pt x="545363" y="1307"/>
                </a:lnTo>
                <a:close/>
                <a:moveTo>
                  <a:pt x="659279" y="109896"/>
                </a:moveTo>
                <a:cubicBezTo>
                  <a:pt x="652307" y="109896"/>
                  <a:pt x="646082" y="108714"/>
                  <a:pt x="640604" y="106287"/>
                </a:cubicBezTo>
                <a:cubicBezTo>
                  <a:pt x="635189" y="103922"/>
                  <a:pt x="630955" y="100499"/>
                  <a:pt x="627905" y="96019"/>
                </a:cubicBezTo>
                <a:cubicBezTo>
                  <a:pt x="624793" y="91414"/>
                  <a:pt x="623236" y="85938"/>
                  <a:pt x="623236" y="79590"/>
                </a:cubicBezTo>
                <a:cubicBezTo>
                  <a:pt x="623236" y="72683"/>
                  <a:pt x="625042" y="66896"/>
                  <a:pt x="628652" y="62105"/>
                </a:cubicBezTo>
                <a:cubicBezTo>
                  <a:pt x="632325" y="57251"/>
                  <a:pt x="637242" y="53703"/>
                  <a:pt x="643405" y="51525"/>
                </a:cubicBezTo>
                <a:cubicBezTo>
                  <a:pt x="638426" y="49534"/>
                  <a:pt x="634442" y="46485"/>
                  <a:pt x="631454" y="42378"/>
                </a:cubicBezTo>
                <a:cubicBezTo>
                  <a:pt x="628590" y="38333"/>
                  <a:pt x="627158" y="33293"/>
                  <a:pt x="627158" y="27318"/>
                </a:cubicBezTo>
                <a:cubicBezTo>
                  <a:pt x="627158" y="21407"/>
                  <a:pt x="628528" y="16428"/>
                  <a:pt x="631329" y="12383"/>
                </a:cubicBezTo>
                <a:cubicBezTo>
                  <a:pt x="634130" y="8277"/>
                  <a:pt x="637927" y="5228"/>
                  <a:pt x="642845" y="3111"/>
                </a:cubicBezTo>
                <a:cubicBezTo>
                  <a:pt x="647701" y="996"/>
                  <a:pt x="653179" y="0"/>
                  <a:pt x="659279" y="0"/>
                </a:cubicBezTo>
                <a:cubicBezTo>
                  <a:pt x="665255" y="0"/>
                  <a:pt x="670608" y="996"/>
                  <a:pt x="675401" y="3111"/>
                </a:cubicBezTo>
                <a:cubicBezTo>
                  <a:pt x="680194" y="5103"/>
                  <a:pt x="683992" y="8090"/>
                  <a:pt x="686731" y="12073"/>
                </a:cubicBezTo>
                <a:cubicBezTo>
                  <a:pt x="689656" y="16055"/>
                  <a:pt x="691088" y="21033"/>
                  <a:pt x="691088" y="27008"/>
                </a:cubicBezTo>
                <a:cubicBezTo>
                  <a:pt x="691088" y="33106"/>
                  <a:pt x="689594" y="38146"/>
                  <a:pt x="686606" y="42253"/>
                </a:cubicBezTo>
                <a:cubicBezTo>
                  <a:pt x="683618" y="46298"/>
                  <a:pt x="679697" y="49410"/>
                  <a:pt x="674779" y="51525"/>
                </a:cubicBezTo>
                <a:cubicBezTo>
                  <a:pt x="680754" y="53579"/>
                  <a:pt x="685548" y="57001"/>
                  <a:pt x="689159" y="61669"/>
                </a:cubicBezTo>
                <a:cubicBezTo>
                  <a:pt x="692831" y="66336"/>
                  <a:pt x="694699" y="72186"/>
                  <a:pt x="694699" y="79155"/>
                </a:cubicBezTo>
                <a:cubicBezTo>
                  <a:pt x="694699" y="85502"/>
                  <a:pt x="693143" y="91040"/>
                  <a:pt x="690030" y="95707"/>
                </a:cubicBezTo>
                <a:cubicBezTo>
                  <a:pt x="686979" y="100312"/>
                  <a:pt x="682747" y="103797"/>
                  <a:pt x="677331" y="106287"/>
                </a:cubicBezTo>
                <a:cubicBezTo>
                  <a:pt x="672040" y="108714"/>
                  <a:pt x="666064" y="109896"/>
                  <a:pt x="659279" y="109896"/>
                </a:cubicBezTo>
                <a:close/>
                <a:moveTo>
                  <a:pt x="659279" y="46111"/>
                </a:moveTo>
                <a:cubicBezTo>
                  <a:pt x="664570" y="46111"/>
                  <a:pt x="668865" y="44618"/>
                  <a:pt x="672289" y="41631"/>
                </a:cubicBezTo>
                <a:cubicBezTo>
                  <a:pt x="675775" y="38582"/>
                  <a:pt x="677518" y="34350"/>
                  <a:pt x="677518" y="28936"/>
                </a:cubicBezTo>
                <a:cubicBezTo>
                  <a:pt x="677518" y="23585"/>
                  <a:pt x="675775" y="19415"/>
                  <a:pt x="672289" y="16428"/>
                </a:cubicBezTo>
                <a:cubicBezTo>
                  <a:pt x="668865" y="13317"/>
                  <a:pt x="664570" y="11761"/>
                  <a:pt x="659279" y="11761"/>
                </a:cubicBezTo>
                <a:cubicBezTo>
                  <a:pt x="653988" y="11761"/>
                  <a:pt x="649568" y="13317"/>
                  <a:pt x="645957" y="16428"/>
                </a:cubicBezTo>
                <a:cubicBezTo>
                  <a:pt x="642472" y="19415"/>
                  <a:pt x="640729" y="23585"/>
                  <a:pt x="640729" y="28936"/>
                </a:cubicBezTo>
                <a:cubicBezTo>
                  <a:pt x="640729" y="34350"/>
                  <a:pt x="642472" y="38582"/>
                  <a:pt x="645957" y="41631"/>
                </a:cubicBezTo>
                <a:cubicBezTo>
                  <a:pt x="649568" y="44618"/>
                  <a:pt x="653988" y="46111"/>
                  <a:pt x="659279" y="46111"/>
                </a:cubicBezTo>
                <a:close/>
                <a:moveTo>
                  <a:pt x="659279" y="98072"/>
                </a:moveTo>
                <a:cubicBezTo>
                  <a:pt x="665441" y="98072"/>
                  <a:pt x="670546" y="96330"/>
                  <a:pt x="674654" y="92721"/>
                </a:cubicBezTo>
                <a:cubicBezTo>
                  <a:pt x="678825" y="89049"/>
                  <a:pt x="680941" y="83885"/>
                  <a:pt x="680941" y="77350"/>
                </a:cubicBezTo>
                <a:cubicBezTo>
                  <a:pt x="680941" y="70754"/>
                  <a:pt x="678825" y="65714"/>
                  <a:pt x="674654" y="62105"/>
                </a:cubicBezTo>
                <a:cubicBezTo>
                  <a:pt x="670546" y="58433"/>
                  <a:pt x="665441" y="56566"/>
                  <a:pt x="659279" y="56566"/>
                </a:cubicBezTo>
                <a:cubicBezTo>
                  <a:pt x="652867" y="56566"/>
                  <a:pt x="647576" y="58433"/>
                  <a:pt x="643281" y="62105"/>
                </a:cubicBezTo>
                <a:cubicBezTo>
                  <a:pt x="639110" y="65714"/>
                  <a:pt x="636994" y="70754"/>
                  <a:pt x="636994" y="77350"/>
                </a:cubicBezTo>
                <a:cubicBezTo>
                  <a:pt x="636994" y="83885"/>
                  <a:pt x="639110" y="89049"/>
                  <a:pt x="643281" y="92721"/>
                </a:cubicBezTo>
                <a:cubicBezTo>
                  <a:pt x="647576" y="96330"/>
                  <a:pt x="652867" y="98072"/>
                  <a:pt x="659279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6" name="Полилиния 925">
            <a:extLst>
              <a:ext uri="{FF2B5EF4-FFF2-40B4-BE49-F238E27FC236}">
                <a16:creationId xmlns:a16="http://schemas.microsoft.com/office/drawing/2014/main" id="{D9F6BDE0-BD4B-5066-5BE2-ED97A897D465}"/>
              </a:ext>
            </a:extLst>
          </p:cNvPr>
          <p:cNvSpPr/>
          <p:nvPr userDrawn="1"/>
        </p:nvSpPr>
        <p:spPr>
          <a:xfrm>
            <a:off x="6844904" y="3787620"/>
            <a:ext cx="2557159" cy="726227"/>
          </a:xfrm>
          <a:custGeom>
            <a:avLst/>
            <a:gdLst>
              <a:gd name="connsiteX0" fmla="*/ 2232 w 2191162"/>
              <a:gd name="connsiteY0" fmla="*/ 1022 h 622284"/>
              <a:gd name="connsiteX1" fmla="*/ 2193395 w 2191162"/>
              <a:gd name="connsiteY1" fmla="*/ 1022 h 622284"/>
              <a:gd name="connsiteX2" fmla="*/ 2193395 w 2191162"/>
              <a:gd name="connsiteY2" fmla="*/ 623306 h 622284"/>
              <a:gd name="connsiteX3" fmla="*/ 2232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022"/>
                </a:moveTo>
                <a:lnTo>
                  <a:pt x="2193395" y="1022"/>
                </a:lnTo>
                <a:lnTo>
                  <a:pt x="2193395" y="623306"/>
                </a:lnTo>
                <a:lnTo>
                  <a:pt x="2232" y="623306"/>
                </a:lnTo>
                <a:close/>
              </a:path>
            </a:pathLst>
          </a:custGeom>
          <a:solidFill>
            <a:srgbClr val="0F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7" name="Полилиния 926">
            <a:extLst>
              <a:ext uri="{FF2B5EF4-FFF2-40B4-BE49-F238E27FC236}">
                <a16:creationId xmlns:a16="http://schemas.microsoft.com/office/drawing/2014/main" id="{6C9B65F3-E595-84F3-5134-D8F51FC0F5BC}"/>
              </a:ext>
            </a:extLst>
          </p:cNvPr>
          <p:cNvSpPr/>
          <p:nvPr userDrawn="1"/>
        </p:nvSpPr>
        <p:spPr>
          <a:xfrm>
            <a:off x="6968113" y="4089586"/>
            <a:ext cx="679828" cy="128252"/>
          </a:xfrm>
          <a:custGeom>
            <a:avLst/>
            <a:gdLst>
              <a:gd name="connsiteX0" fmla="*/ 22099 w 582526"/>
              <a:gd name="connsiteY0" fmla="*/ 108402 h 109895"/>
              <a:gd name="connsiteX1" fmla="*/ 10147 w 582526"/>
              <a:gd name="connsiteY1" fmla="*/ 108402 h 109895"/>
              <a:gd name="connsiteX2" fmla="*/ 16435 w 582526"/>
              <a:gd name="connsiteY2" fmla="*/ 77475 h 109895"/>
              <a:gd name="connsiteX3" fmla="*/ 0 w 582526"/>
              <a:gd name="connsiteY3" fmla="*/ 77475 h 109895"/>
              <a:gd name="connsiteX4" fmla="*/ 0 w 582526"/>
              <a:gd name="connsiteY4" fmla="*/ 67020 h 109895"/>
              <a:gd name="connsiteX5" fmla="*/ 18675 w 582526"/>
              <a:gd name="connsiteY5" fmla="*/ 67020 h 109895"/>
              <a:gd name="connsiteX6" fmla="*/ 24216 w 582526"/>
              <a:gd name="connsiteY6" fmla="*/ 39826 h 109895"/>
              <a:gd name="connsiteX7" fmla="*/ 4047 w 582526"/>
              <a:gd name="connsiteY7" fmla="*/ 39826 h 109895"/>
              <a:gd name="connsiteX8" fmla="*/ 4047 w 582526"/>
              <a:gd name="connsiteY8" fmla="*/ 29372 h 109895"/>
              <a:gd name="connsiteX9" fmla="*/ 26269 w 582526"/>
              <a:gd name="connsiteY9" fmla="*/ 29372 h 109895"/>
              <a:gd name="connsiteX10" fmla="*/ 32121 w 582526"/>
              <a:gd name="connsiteY10" fmla="*/ 1307 h 109895"/>
              <a:gd name="connsiteX11" fmla="*/ 44073 w 582526"/>
              <a:gd name="connsiteY11" fmla="*/ 1307 h 109895"/>
              <a:gd name="connsiteX12" fmla="*/ 38222 w 582526"/>
              <a:gd name="connsiteY12" fmla="*/ 29372 h 109895"/>
              <a:gd name="connsiteX13" fmla="*/ 60630 w 582526"/>
              <a:gd name="connsiteY13" fmla="*/ 29372 h 109895"/>
              <a:gd name="connsiteX14" fmla="*/ 66481 w 582526"/>
              <a:gd name="connsiteY14" fmla="*/ 1307 h 109895"/>
              <a:gd name="connsiteX15" fmla="*/ 78434 w 582526"/>
              <a:gd name="connsiteY15" fmla="*/ 1307 h 109895"/>
              <a:gd name="connsiteX16" fmla="*/ 72583 w 582526"/>
              <a:gd name="connsiteY16" fmla="*/ 29372 h 109895"/>
              <a:gd name="connsiteX17" fmla="*/ 89328 w 582526"/>
              <a:gd name="connsiteY17" fmla="*/ 29372 h 109895"/>
              <a:gd name="connsiteX18" fmla="*/ 89328 w 582526"/>
              <a:gd name="connsiteY18" fmla="*/ 39826 h 109895"/>
              <a:gd name="connsiteX19" fmla="*/ 70529 w 582526"/>
              <a:gd name="connsiteY19" fmla="*/ 39826 h 109895"/>
              <a:gd name="connsiteX20" fmla="*/ 64988 w 582526"/>
              <a:gd name="connsiteY20" fmla="*/ 67020 h 109895"/>
              <a:gd name="connsiteX21" fmla="*/ 85281 w 582526"/>
              <a:gd name="connsiteY21" fmla="*/ 67020 h 109895"/>
              <a:gd name="connsiteX22" fmla="*/ 85281 w 582526"/>
              <a:gd name="connsiteY22" fmla="*/ 77475 h 109895"/>
              <a:gd name="connsiteX23" fmla="*/ 62747 w 582526"/>
              <a:gd name="connsiteY23" fmla="*/ 77475 h 109895"/>
              <a:gd name="connsiteX24" fmla="*/ 56460 w 582526"/>
              <a:gd name="connsiteY24" fmla="*/ 108402 h 109895"/>
              <a:gd name="connsiteX25" fmla="*/ 44509 w 582526"/>
              <a:gd name="connsiteY25" fmla="*/ 108402 h 109895"/>
              <a:gd name="connsiteX26" fmla="*/ 50796 w 582526"/>
              <a:gd name="connsiteY26" fmla="*/ 77475 h 109895"/>
              <a:gd name="connsiteX27" fmla="*/ 28386 w 582526"/>
              <a:gd name="connsiteY27" fmla="*/ 77475 h 109895"/>
              <a:gd name="connsiteX28" fmla="*/ 22099 w 582526"/>
              <a:gd name="connsiteY28" fmla="*/ 108402 h 109895"/>
              <a:gd name="connsiteX29" fmla="*/ 30626 w 582526"/>
              <a:gd name="connsiteY29" fmla="*/ 67020 h 109895"/>
              <a:gd name="connsiteX30" fmla="*/ 53036 w 582526"/>
              <a:gd name="connsiteY30" fmla="*/ 67020 h 109895"/>
              <a:gd name="connsiteX31" fmla="*/ 58577 w 582526"/>
              <a:gd name="connsiteY31" fmla="*/ 39826 h 109895"/>
              <a:gd name="connsiteX32" fmla="*/ 36167 w 582526"/>
              <a:gd name="connsiteY32" fmla="*/ 39826 h 109895"/>
              <a:gd name="connsiteX33" fmla="*/ 30626 w 582526"/>
              <a:gd name="connsiteY33" fmla="*/ 67020 h 109895"/>
              <a:gd name="connsiteX34" fmla="*/ 136636 w 582526"/>
              <a:gd name="connsiteY34" fmla="*/ 109896 h 109895"/>
              <a:gd name="connsiteX35" fmla="*/ 118460 w 582526"/>
              <a:gd name="connsiteY35" fmla="*/ 104047 h 109895"/>
              <a:gd name="connsiteX36" fmla="*/ 105761 w 582526"/>
              <a:gd name="connsiteY36" fmla="*/ 86125 h 109895"/>
              <a:gd name="connsiteX37" fmla="*/ 101279 w 582526"/>
              <a:gd name="connsiteY37" fmla="*/ 54761 h 109895"/>
              <a:gd name="connsiteX38" fmla="*/ 105761 w 582526"/>
              <a:gd name="connsiteY38" fmla="*/ 23398 h 109895"/>
              <a:gd name="connsiteX39" fmla="*/ 118460 w 582526"/>
              <a:gd name="connsiteY39" fmla="*/ 5663 h 109895"/>
              <a:gd name="connsiteX40" fmla="*/ 136636 w 582526"/>
              <a:gd name="connsiteY40" fmla="*/ 0 h 109895"/>
              <a:gd name="connsiteX41" fmla="*/ 154752 w 582526"/>
              <a:gd name="connsiteY41" fmla="*/ 5663 h 109895"/>
              <a:gd name="connsiteX42" fmla="*/ 167139 w 582526"/>
              <a:gd name="connsiteY42" fmla="*/ 23398 h 109895"/>
              <a:gd name="connsiteX43" fmla="*/ 171621 w 582526"/>
              <a:gd name="connsiteY43" fmla="*/ 54512 h 109895"/>
              <a:gd name="connsiteX44" fmla="*/ 167139 w 582526"/>
              <a:gd name="connsiteY44" fmla="*/ 85876 h 109895"/>
              <a:gd name="connsiteX45" fmla="*/ 154752 w 582526"/>
              <a:gd name="connsiteY45" fmla="*/ 104047 h 109895"/>
              <a:gd name="connsiteX46" fmla="*/ 136636 w 582526"/>
              <a:gd name="connsiteY46" fmla="*/ 109896 h 109895"/>
              <a:gd name="connsiteX47" fmla="*/ 136512 w 582526"/>
              <a:gd name="connsiteY47" fmla="*/ 98072 h 109895"/>
              <a:gd name="connsiteX48" fmla="*/ 147841 w 582526"/>
              <a:gd name="connsiteY48" fmla="*/ 94089 h 109895"/>
              <a:gd name="connsiteX49" fmla="*/ 155063 w 582526"/>
              <a:gd name="connsiteY49" fmla="*/ 80462 h 109895"/>
              <a:gd name="connsiteX50" fmla="*/ 157552 w 582526"/>
              <a:gd name="connsiteY50" fmla="*/ 54948 h 109895"/>
              <a:gd name="connsiteX51" fmla="*/ 155186 w 582526"/>
              <a:gd name="connsiteY51" fmla="*/ 29559 h 109895"/>
              <a:gd name="connsiteX52" fmla="*/ 148028 w 582526"/>
              <a:gd name="connsiteY52" fmla="*/ 15931 h 109895"/>
              <a:gd name="connsiteX53" fmla="*/ 136636 w 582526"/>
              <a:gd name="connsiteY53" fmla="*/ 11761 h 109895"/>
              <a:gd name="connsiteX54" fmla="*/ 125183 w 582526"/>
              <a:gd name="connsiteY54" fmla="*/ 15931 h 109895"/>
              <a:gd name="connsiteX55" fmla="*/ 117837 w 582526"/>
              <a:gd name="connsiteY55" fmla="*/ 29559 h 109895"/>
              <a:gd name="connsiteX56" fmla="*/ 115285 w 582526"/>
              <a:gd name="connsiteY56" fmla="*/ 54948 h 109895"/>
              <a:gd name="connsiteX57" fmla="*/ 117714 w 582526"/>
              <a:gd name="connsiteY57" fmla="*/ 80462 h 109895"/>
              <a:gd name="connsiteX58" fmla="*/ 124996 w 582526"/>
              <a:gd name="connsiteY58" fmla="*/ 94089 h 109895"/>
              <a:gd name="connsiteX59" fmla="*/ 136512 w 582526"/>
              <a:gd name="connsiteY59" fmla="*/ 98072 h 109895"/>
              <a:gd name="connsiteX60" fmla="*/ 189984 w 582526"/>
              <a:gd name="connsiteY60" fmla="*/ 1307 h 109895"/>
              <a:gd name="connsiteX61" fmla="*/ 255408 w 582526"/>
              <a:gd name="connsiteY61" fmla="*/ 1307 h 109895"/>
              <a:gd name="connsiteX62" fmla="*/ 255408 w 582526"/>
              <a:gd name="connsiteY62" fmla="*/ 14188 h 109895"/>
              <a:gd name="connsiteX63" fmla="*/ 203990 w 582526"/>
              <a:gd name="connsiteY63" fmla="*/ 14188 h 109895"/>
              <a:gd name="connsiteX64" fmla="*/ 203990 w 582526"/>
              <a:gd name="connsiteY64" fmla="*/ 49720 h 109895"/>
              <a:gd name="connsiteX65" fmla="*/ 247627 w 582526"/>
              <a:gd name="connsiteY65" fmla="*/ 49720 h 109895"/>
              <a:gd name="connsiteX66" fmla="*/ 247627 w 582526"/>
              <a:gd name="connsiteY66" fmla="*/ 62415 h 109895"/>
              <a:gd name="connsiteX67" fmla="*/ 203990 w 582526"/>
              <a:gd name="connsiteY67" fmla="*/ 62415 h 109895"/>
              <a:gd name="connsiteX68" fmla="*/ 203990 w 582526"/>
              <a:gd name="connsiteY68" fmla="*/ 108402 h 109895"/>
              <a:gd name="connsiteX69" fmla="*/ 189984 w 582526"/>
              <a:gd name="connsiteY69" fmla="*/ 108402 h 109895"/>
              <a:gd name="connsiteX70" fmla="*/ 189984 w 582526"/>
              <a:gd name="connsiteY70" fmla="*/ 1307 h 109895"/>
              <a:gd name="connsiteX71" fmla="*/ 303713 w 582526"/>
              <a:gd name="connsiteY71" fmla="*/ 109896 h 109895"/>
              <a:gd name="connsiteX72" fmla="*/ 285474 w 582526"/>
              <a:gd name="connsiteY72" fmla="*/ 104047 h 109895"/>
              <a:gd name="connsiteX73" fmla="*/ 272775 w 582526"/>
              <a:gd name="connsiteY73" fmla="*/ 86125 h 109895"/>
              <a:gd name="connsiteX74" fmla="*/ 268294 w 582526"/>
              <a:gd name="connsiteY74" fmla="*/ 54761 h 109895"/>
              <a:gd name="connsiteX75" fmla="*/ 272775 w 582526"/>
              <a:gd name="connsiteY75" fmla="*/ 23398 h 109895"/>
              <a:gd name="connsiteX76" fmla="*/ 285474 w 582526"/>
              <a:gd name="connsiteY76" fmla="*/ 5663 h 109895"/>
              <a:gd name="connsiteX77" fmla="*/ 303713 w 582526"/>
              <a:gd name="connsiteY77" fmla="*/ 0 h 109895"/>
              <a:gd name="connsiteX78" fmla="*/ 321764 w 582526"/>
              <a:gd name="connsiteY78" fmla="*/ 5663 h 109895"/>
              <a:gd name="connsiteX79" fmla="*/ 334214 w 582526"/>
              <a:gd name="connsiteY79" fmla="*/ 23398 h 109895"/>
              <a:gd name="connsiteX80" fmla="*/ 338698 w 582526"/>
              <a:gd name="connsiteY80" fmla="*/ 54512 h 109895"/>
              <a:gd name="connsiteX81" fmla="*/ 334214 w 582526"/>
              <a:gd name="connsiteY81" fmla="*/ 85876 h 109895"/>
              <a:gd name="connsiteX82" fmla="*/ 321764 w 582526"/>
              <a:gd name="connsiteY82" fmla="*/ 104047 h 109895"/>
              <a:gd name="connsiteX83" fmla="*/ 303713 w 582526"/>
              <a:gd name="connsiteY83" fmla="*/ 109896 h 109895"/>
              <a:gd name="connsiteX84" fmla="*/ 303588 w 582526"/>
              <a:gd name="connsiteY84" fmla="*/ 98072 h 109895"/>
              <a:gd name="connsiteX85" fmla="*/ 314918 w 582526"/>
              <a:gd name="connsiteY85" fmla="*/ 94089 h 109895"/>
              <a:gd name="connsiteX86" fmla="*/ 322076 w 582526"/>
              <a:gd name="connsiteY86" fmla="*/ 80462 h 109895"/>
              <a:gd name="connsiteX87" fmla="*/ 324629 w 582526"/>
              <a:gd name="connsiteY87" fmla="*/ 54948 h 109895"/>
              <a:gd name="connsiteX88" fmla="*/ 322263 w 582526"/>
              <a:gd name="connsiteY88" fmla="*/ 29559 h 109895"/>
              <a:gd name="connsiteX89" fmla="*/ 315043 w 582526"/>
              <a:gd name="connsiteY89" fmla="*/ 15931 h 109895"/>
              <a:gd name="connsiteX90" fmla="*/ 303713 w 582526"/>
              <a:gd name="connsiteY90" fmla="*/ 11761 h 109895"/>
              <a:gd name="connsiteX91" fmla="*/ 292196 w 582526"/>
              <a:gd name="connsiteY91" fmla="*/ 15931 h 109895"/>
              <a:gd name="connsiteX92" fmla="*/ 284914 w 582526"/>
              <a:gd name="connsiteY92" fmla="*/ 29559 h 109895"/>
              <a:gd name="connsiteX93" fmla="*/ 282362 w 582526"/>
              <a:gd name="connsiteY93" fmla="*/ 54948 h 109895"/>
              <a:gd name="connsiteX94" fmla="*/ 284727 w 582526"/>
              <a:gd name="connsiteY94" fmla="*/ 80462 h 109895"/>
              <a:gd name="connsiteX95" fmla="*/ 292072 w 582526"/>
              <a:gd name="connsiteY95" fmla="*/ 94089 h 109895"/>
              <a:gd name="connsiteX96" fmla="*/ 303588 w 582526"/>
              <a:gd name="connsiteY96" fmla="*/ 98072 h 109895"/>
              <a:gd name="connsiteX97" fmla="*/ 385819 w 582526"/>
              <a:gd name="connsiteY97" fmla="*/ 109896 h 109895"/>
              <a:gd name="connsiteX98" fmla="*/ 367643 w 582526"/>
              <a:gd name="connsiteY98" fmla="*/ 104047 h 109895"/>
              <a:gd name="connsiteX99" fmla="*/ 354944 w 582526"/>
              <a:gd name="connsiteY99" fmla="*/ 86125 h 109895"/>
              <a:gd name="connsiteX100" fmla="*/ 350462 w 582526"/>
              <a:gd name="connsiteY100" fmla="*/ 54761 h 109895"/>
              <a:gd name="connsiteX101" fmla="*/ 354944 w 582526"/>
              <a:gd name="connsiteY101" fmla="*/ 23398 h 109895"/>
              <a:gd name="connsiteX102" fmla="*/ 367643 w 582526"/>
              <a:gd name="connsiteY102" fmla="*/ 5663 h 109895"/>
              <a:gd name="connsiteX103" fmla="*/ 385819 w 582526"/>
              <a:gd name="connsiteY103" fmla="*/ 0 h 109895"/>
              <a:gd name="connsiteX104" fmla="*/ 403934 w 582526"/>
              <a:gd name="connsiteY104" fmla="*/ 5663 h 109895"/>
              <a:gd name="connsiteX105" fmla="*/ 416322 w 582526"/>
              <a:gd name="connsiteY105" fmla="*/ 23398 h 109895"/>
              <a:gd name="connsiteX106" fmla="*/ 420804 w 582526"/>
              <a:gd name="connsiteY106" fmla="*/ 54512 h 109895"/>
              <a:gd name="connsiteX107" fmla="*/ 416322 w 582526"/>
              <a:gd name="connsiteY107" fmla="*/ 85876 h 109895"/>
              <a:gd name="connsiteX108" fmla="*/ 403934 w 582526"/>
              <a:gd name="connsiteY108" fmla="*/ 104047 h 109895"/>
              <a:gd name="connsiteX109" fmla="*/ 385819 w 582526"/>
              <a:gd name="connsiteY109" fmla="*/ 109896 h 109895"/>
              <a:gd name="connsiteX110" fmla="*/ 385694 w 582526"/>
              <a:gd name="connsiteY110" fmla="*/ 98072 h 109895"/>
              <a:gd name="connsiteX111" fmla="*/ 397024 w 582526"/>
              <a:gd name="connsiteY111" fmla="*/ 94089 h 109895"/>
              <a:gd name="connsiteX112" fmla="*/ 404244 w 582526"/>
              <a:gd name="connsiteY112" fmla="*/ 80462 h 109895"/>
              <a:gd name="connsiteX113" fmla="*/ 406735 w 582526"/>
              <a:gd name="connsiteY113" fmla="*/ 54948 h 109895"/>
              <a:gd name="connsiteX114" fmla="*/ 404369 w 582526"/>
              <a:gd name="connsiteY114" fmla="*/ 29559 h 109895"/>
              <a:gd name="connsiteX115" fmla="*/ 397211 w 582526"/>
              <a:gd name="connsiteY115" fmla="*/ 15931 h 109895"/>
              <a:gd name="connsiteX116" fmla="*/ 385819 w 582526"/>
              <a:gd name="connsiteY116" fmla="*/ 11761 h 109895"/>
              <a:gd name="connsiteX117" fmla="*/ 374366 w 582526"/>
              <a:gd name="connsiteY117" fmla="*/ 15931 h 109895"/>
              <a:gd name="connsiteX118" fmla="*/ 367020 w 582526"/>
              <a:gd name="connsiteY118" fmla="*/ 29559 h 109895"/>
              <a:gd name="connsiteX119" fmla="*/ 364468 w 582526"/>
              <a:gd name="connsiteY119" fmla="*/ 54948 h 109895"/>
              <a:gd name="connsiteX120" fmla="*/ 366895 w 582526"/>
              <a:gd name="connsiteY120" fmla="*/ 80462 h 109895"/>
              <a:gd name="connsiteX121" fmla="*/ 374179 w 582526"/>
              <a:gd name="connsiteY121" fmla="*/ 94089 h 109895"/>
              <a:gd name="connsiteX122" fmla="*/ 385694 w 582526"/>
              <a:gd name="connsiteY122" fmla="*/ 98072 h 109895"/>
              <a:gd name="connsiteX123" fmla="*/ 463071 w 582526"/>
              <a:gd name="connsiteY123" fmla="*/ 109896 h 109895"/>
              <a:gd name="connsiteX124" fmla="*/ 434498 w 582526"/>
              <a:gd name="connsiteY124" fmla="*/ 102304 h 109895"/>
              <a:gd name="connsiteX125" fmla="*/ 434498 w 582526"/>
              <a:gd name="connsiteY125" fmla="*/ 87618 h 109895"/>
              <a:gd name="connsiteX126" fmla="*/ 447694 w 582526"/>
              <a:gd name="connsiteY126" fmla="*/ 95272 h 109895"/>
              <a:gd name="connsiteX127" fmla="*/ 463071 w 582526"/>
              <a:gd name="connsiteY127" fmla="*/ 97637 h 109895"/>
              <a:gd name="connsiteX128" fmla="*/ 480065 w 582526"/>
              <a:gd name="connsiteY128" fmla="*/ 90916 h 109895"/>
              <a:gd name="connsiteX129" fmla="*/ 486227 w 582526"/>
              <a:gd name="connsiteY129" fmla="*/ 73305 h 109895"/>
              <a:gd name="connsiteX130" fmla="*/ 480252 w 582526"/>
              <a:gd name="connsiteY130" fmla="*/ 56255 h 109895"/>
              <a:gd name="connsiteX131" fmla="*/ 465124 w 582526"/>
              <a:gd name="connsiteY131" fmla="*/ 50903 h 109895"/>
              <a:gd name="connsiteX132" fmla="*/ 454542 w 582526"/>
              <a:gd name="connsiteY132" fmla="*/ 53143 h 109895"/>
              <a:gd name="connsiteX133" fmla="*/ 448442 w 582526"/>
              <a:gd name="connsiteY133" fmla="*/ 57624 h 109895"/>
              <a:gd name="connsiteX134" fmla="*/ 437486 w 582526"/>
              <a:gd name="connsiteY134" fmla="*/ 57624 h 109895"/>
              <a:gd name="connsiteX135" fmla="*/ 437486 w 582526"/>
              <a:gd name="connsiteY135" fmla="*/ 1307 h 109895"/>
              <a:gd name="connsiteX136" fmla="*/ 495502 w 582526"/>
              <a:gd name="connsiteY136" fmla="*/ 1307 h 109895"/>
              <a:gd name="connsiteX137" fmla="*/ 495502 w 582526"/>
              <a:gd name="connsiteY137" fmla="*/ 14188 h 109895"/>
              <a:gd name="connsiteX138" fmla="*/ 449749 w 582526"/>
              <a:gd name="connsiteY138" fmla="*/ 14188 h 109895"/>
              <a:gd name="connsiteX139" fmla="*/ 449749 w 582526"/>
              <a:gd name="connsiteY139" fmla="*/ 44805 h 109895"/>
              <a:gd name="connsiteX140" fmla="*/ 457094 w 582526"/>
              <a:gd name="connsiteY140" fmla="*/ 40885 h 109895"/>
              <a:gd name="connsiteX141" fmla="*/ 467366 w 582526"/>
              <a:gd name="connsiteY141" fmla="*/ 39080 h 109895"/>
              <a:gd name="connsiteX142" fmla="*/ 484110 w 582526"/>
              <a:gd name="connsiteY142" fmla="*/ 43000 h 109895"/>
              <a:gd name="connsiteX143" fmla="*/ 495937 w 582526"/>
              <a:gd name="connsiteY143" fmla="*/ 54326 h 109895"/>
              <a:gd name="connsiteX144" fmla="*/ 500420 w 582526"/>
              <a:gd name="connsiteY144" fmla="*/ 72995 h 109895"/>
              <a:gd name="connsiteX145" fmla="*/ 495751 w 582526"/>
              <a:gd name="connsiteY145" fmla="*/ 92410 h 109895"/>
              <a:gd name="connsiteX146" fmla="*/ 482928 w 582526"/>
              <a:gd name="connsiteY146" fmla="*/ 105415 h 109895"/>
              <a:gd name="connsiteX147" fmla="*/ 463071 w 582526"/>
              <a:gd name="connsiteY147" fmla="*/ 109896 h 109895"/>
              <a:gd name="connsiteX148" fmla="*/ 545177 w 582526"/>
              <a:gd name="connsiteY148" fmla="*/ 109896 h 109895"/>
              <a:gd name="connsiteX149" fmla="*/ 516666 w 582526"/>
              <a:gd name="connsiteY149" fmla="*/ 102304 h 109895"/>
              <a:gd name="connsiteX150" fmla="*/ 516666 w 582526"/>
              <a:gd name="connsiteY150" fmla="*/ 87618 h 109895"/>
              <a:gd name="connsiteX151" fmla="*/ 529801 w 582526"/>
              <a:gd name="connsiteY151" fmla="*/ 95272 h 109895"/>
              <a:gd name="connsiteX152" fmla="*/ 545177 w 582526"/>
              <a:gd name="connsiteY152" fmla="*/ 97637 h 109895"/>
              <a:gd name="connsiteX153" fmla="*/ 562233 w 582526"/>
              <a:gd name="connsiteY153" fmla="*/ 90916 h 109895"/>
              <a:gd name="connsiteX154" fmla="*/ 568333 w 582526"/>
              <a:gd name="connsiteY154" fmla="*/ 73305 h 109895"/>
              <a:gd name="connsiteX155" fmla="*/ 562358 w 582526"/>
              <a:gd name="connsiteY155" fmla="*/ 56255 h 109895"/>
              <a:gd name="connsiteX156" fmla="*/ 547292 w 582526"/>
              <a:gd name="connsiteY156" fmla="*/ 50903 h 109895"/>
              <a:gd name="connsiteX157" fmla="*/ 536710 w 582526"/>
              <a:gd name="connsiteY157" fmla="*/ 53143 h 109895"/>
              <a:gd name="connsiteX158" fmla="*/ 530548 w 582526"/>
              <a:gd name="connsiteY158" fmla="*/ 57624 h 109895"/>
              <a:gd name="connsiteX159" fmla="*/ 519654 w 582526"/>
              <a:gd name="connsiteY159" fmla="*/ 57624 h 109895"/>
              <a:gd name="connsiteX160" fmla="*/ 519654 w 582526"/>
              <a:gd name="connsiteY160" fmla="*/ 1307 h 109895"/>
              <a:gd name="connsiteX161" fmla="*/ 577608 w 582526"/>
              <a:gd name="connsiteY161" fmla="*/ 1307 h 109895"/>
              <a:gd name="connsiteX162" fmla="*/ 577608 w 582526"/>
              <a:gd name="connsiteY162" fmla="*/ 14188 h 109895"/>
              <a:gd name="connsiteX163" fmla="*/ 531917 w 582526"/>
              <a:gd name="connsiteY163" fmla="*/ 14188 h 109895"/>
              <a:gd name="connsiteX164" fmla="*/ 531917 w 582526"/>
              <a:gd name="connsiteY164" fmla="*/ 44805 h 109895"/>
              <a:gd name="connsiteX165" fmla="*/ 539201 w 582526"/>
              <a:gd name="connsiteY165" fmla="*/ 40885 h 109895"/>
              <a:gd name="connsiteX166" fmla="*/ 549534 w 582526"/>
              <a:gd name="connsiteY166" fmla="*/ 39080 h 109895"/>
              <a:gd name="connsiteX167" fmla="*/ 566279 w 582526"/>
              <a:gd name="connsiteY167" fmla="*/ 43000 h 109895"/>
              <a:gd name="connsiteX168" fmla="*/ 578044 w 582526"/>
              <a:gd name="connsiteY168" fmla="*/ 54326 h 109895"/>
              <a:gd name="connsiteX169" fmla="*/ 582526 w 582526"/>
              <a:gd name="connsiteY169" fmla="*/ 72995 h 109895"/>
              <a:gd name="connsiteX170" fmla="*/ 577920 w 582526"/>
              <a:gd name="connsiteY170" fmla="*/ 92410 h 109895"/>
              <a:gd name="connsiteX171" fmla="*/ 565096 w 582526"/>
              <a:gd name="connsiteY171" fmla="*/ 105415 h 109895"/>
              <a:gd name="connsiteX172" fmla="*/ 545177 w 582526"/>
              <a:gd name="connsiteY172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</a:cxnLst>
            <a:rect l="l" t="t" r="r" b="b"/>
            <a:pathLst>
              <a:path w="582526" h="109895">
                <a:moveTo>
                  <a:pt x="22099" y="108402"/>
                </a:moveTo>
                <a:lnTo>
                  <a:pt x="10147" y="108402"/>
                </a:lnTo>
                <a:lnTo>
                  <a:pt x="16435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6" y="39826"/>
                </a:lnTo>
                <a:lnTo>
                  <a:pt x="4047" y="39826"/>
                </a:lnTo>
                <a:lnTo>
                  <a:pt x="4047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2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3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9" y="108402"/>
                </a:lnTo>
                <a:lnTo>
                  <a:pt x="50796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7" y="39826"/>
                </a:lnTo>
                <a:lnTo>
                  <a:pt x="36167" y="39826"/>
                </a:lnTo>
                <a:lnTo>
                  <a:pt x="30626" y="67020"/>
                </a:lnTo>
                <a:close/>
                <a:moveTo>
                  <a:pt x="136636" y="109896"/>
                </a:moveTo>
                <a:cubicBezTo>
                  <a:pt x="129914" y="109896"/>
                  <a:pt x="123814" y="107967"/>
                  <a:pt x="118460" y="104047"/>
                </a:cubicBezTo>
                <a:cubicBezTo>
                  <a:pt x="113045" y="100188"/>
                  <a:pt x="108811" y="94214"/>
                  <a:pt x="105761" y="86125"/>
                </a:cubicBezTo>
                <a:cubicBezTo>
                  <a:pt x="102773" y="77972"/>
                  <a:pt x="101279" y="67518"/>
                  <a:pt x="101279" y="54761"/>
                </a:cubicBezTo>
                <a:cubicBezTo>
                  <a:pt x="101279" y="41942"/>
                  <a:pt x="102773" y="31488"/>
                  <a:pt x="105761" y="23398"/>
                </a:cubicBezTo>
                <a:cubicBezTo>
                  <a:pt x="108811" y="15371"/>
                  <a:pt x="113045" y="9459"/>
                  <a:pt x="118460" y="5663"/>
                </a:cubicBezTo>
                <a:cubicBezTo>
                  <a:pt x="123814" y="1867"/>
                  <a:pt x="129914" y="0"/>
                  <a:pt x="136636" y="0"/>
                </a:cubicBezTo>
                <a:cubicBezTo>
                  <a:pt x="143422" y="0"/>
                  <a:pt x="149460" y="1867"/>
                  <a:pt x="154752" y="5663"/>
                </a:cubicBezTo>
                <a:cubicBezTo>
                  <a:pt x="160042" y="9459"/>
                  <a:pt x="164151" y="15371"/>
                  <a:pt x="167139" y="23398"/>
                </a:cubicBezTo>
                <a:cubicBezTo>
                  <a:pt x="170127" y="31363"/>
                  <a:pt x="171621" y="41756"/>
                  <a:pt x="171621" y="54512"/>
                </a:cubicBezTo>
                <a:cubicBezTo>
                  <a:pt x="171621" y="67145"/>
                  <a:pt x="170127" y="77599"/>
                  <a:pt x="167139" y="85876"/>
                </a:cubicBezTo>
                <a:cubicBezTo>
                  <a:pt x="164151" y="94027"/>
                  <a:pt x="160042" y="100064"/>
                  <a:pt x="154752" y="104047"/>
                </a:cubicBezTo>
                <a:cubicBezTo>
                  <a:pt x="149460" y="107967"/>
                  <a:pt x="143422" y="109896"/>
                  <a:pt x="136636" y="109896"/>
                </a:cubicBezTo>
                <a:close/>
                <a:moveTo>
                  <a:pt x="136512" y="98072"/>
                </a:moveTo>
                <a:cubicBezTo>
                  <a:pt x="140995" y="98072"/>
                  <a:pt x="144791" y="96766"/>
                  <a:pt x="147841" y="94089"/>
                </a:cubicBezTo>
                <a:cubicBezTo>
                  <a:pt x="151078" y="91289"/>
                  <a:pt x="153445" y="86747"/>
                  <a:pt x="155063" y="80462"/>
                </a:cubicBezTo>
                <a:cubicBezTo>
                  <a:pt x="156742" y="74114"/>
                  <a:pt x="157552" y="65589"/>
                  <a:pt x="157552" y="54948"/>
                </a:cubicBezTo>
                <a:cubicBezTo>
                  <a:pt x="157552" y="44307"/>
                  <a:pt x="156805" y="35844"/>
                  <a:pt x="155186" y="29559"/>
                </a:cubicBezTo>
                <a:cubicBezTo>
                  <a:pt x="153568" y="23150"/>
                  <a:pt x="151203" y="18669"/>
                  <a:pt x="148028" y="15931"/>
                </a:cubicBezTo>
                <a:cubicBezTo>
                  <a:pt x="144916" y="13192"/>
                  <a:pt x="141118" y="11761"/>
                  <a:pt x="136636" y="11761"/>
                </a:cubicBezTo>
                <a:cubicBezTo>
                  <a:pt x="132154" y="11761"/>
                  <a:pt x="128358" y="13192"/>
                  <a:pt x="125183" y="15931"/>
                </a:cubicBezTo>
                <a:cubicBezTo>
                  <a:pt x="121946" y="18669"/>
                  <a:pt x="119518" y="23150"/>
                  <a:pt x="117837" y="29559"/>
                </a:cubicBezTo>
                <a:cubicBezTo>
                  <a:pt x="116158" y="35844"/>
                  <a:pt x="115285" y="44307"/>
                  <a:pt x="115285" y="54948"/>
                </a:cubicBezTo>
                <a:cubicBezTo>
                  <a:pt x="115285" y="65589"/>
                  <a:pt x="116095" y="74114"/>
                  <a:pt x="117714" y="80462"/>
                </a:cubicBezTo>
                <a:cubicBezTo>
                  <a:pt x="119393" y="86747"/>
                  <a:pt x="121822" y="91289"/>
                  <a:pt x="124996" y="94089"/>
                </a:cubicBezTo>
                <a:cubicBezTo>
                  <a:pt x="128171" y="96766"/>
                  <a:pt x="132030" y="98072"/>
                  <a:pt x="136512" y="98072"/>
                </a:cubicBezTo>
                <a:close/>
                <a:moveTo>
                  <a:pt x="189984" y="1307"/>
                </a:moveTo>
                <a:lnTo>
                  <a:pt x="255408" y="1307"/>
                </a:lnTo>
                <a:lnTo>
                  <a:pt x="255408" y="14188"/>
                </a:lnTo>
                <a:lnTo>
                  <a:pt x="203990" y="14188"/>
                </a:lnTo>
                <a:lnTo>
                  <a:pt x="203990" y="49720"/>
                </a:lnTo>
                <a:lnTo>
                  <a:pt x="247627" y="49720"/>
                </a:lnTo>
                <a:lnTo>
                  <a:pt x="247627" y="62415"/>
                </a:lnTo>
                <a:lnTo>
                  <a:pt x="203990" y="62415"/>
                </a:lnTo>
                <a:lnTo>
                  <a:pt x="203990" y="108402"/>
                </a:lnTo>
                <a:lnTo>
                  <a:pt x="189984" y="108402"/>
                </a:lnTo>
                <a:lnTo>
                  <a:pt x="189984" y="1307"/>
                </a:lnTo>
                <a:close/>
                <a:moveTo>
                  <a:pt x="303713" y="109896"/>
                </a:moveTo>
                <a:cubicBezTo>
                  <a:pt x="296927" y="109896"/>
                  <a:pt x="290889" y="107967"/>
                  <a:pt x="285474" y="104047"/>
                </a:cubicBezTo>
                <a:cubicBezTo>
                  <a:pt x="280120" y="100188"/>
                  <a:pt x="275888" y="94214"/>
                  <a:pt x="272775" y="86125"/>
                </a:cubicBezTo>
                <a:cubicBezTo>
                  <a:pt x="269788" y="77972"/>
                  <a:pt x="268294" y="67518"/>
                  <a:pt x="268294" y="54761"/>
                </a:cubicBezTo>
                <a:cubicBezTo>
                  <a:pt x="268294" y="41942"/>
                  <a:pt x="269788" y="31488"/>
                  <a:pt x="272775" y="23398"/>
                </a:cubicBezTo>
                <a:cubicBezTo>
                  <a:pt x="275888" y="15371"/>
                  <a:pt x="280120" y="9459"/>
                  <a:pt x="285474" y="5663"/>
                </a:cubicBezTo>
                <a:cubicBezTo>
                  <a:pt x="290889" y="1867"/>
                  <a:pt x="296927" y="0"/>
                  <a:pt x="303713" y="0"/>
                </a:cubicBezTo>
                <a:cubicBezTo>
                  <a:pt x="310499" y="0"/>
                  <a:pt x="316537" y="1867"/>
                  <a:pt x="321764" y="5663"/>
                </a:cubicBezTo>
                <a:cubicBezTo>
                  <a:pt x="327056" y="9459"/>
                  <a:pt x="331226" y="15371"/>
                  <a:pt x="334214" y="23398"/>
                </a:cubicBezTo>
                <a:cubicBezTo>
                  <a:pt x="337202" y="31363"/>
                  <a:pt x="338698" y="41756"/>
                  <a:pt x="338698" y="54512"/>
                </a:cubicBezTo>
                <a:cubicBezTo>
                  <a:pt x="338698" y="67145"/>
                  <a:pt x="337202" y="77599"/>
                  <a:pt x="334214" y="85876"/>
                </a:cubicBezTo>
                <a:cubicBezTo>
                  <a:pt x="331226" y="94027"/>
                  <a:pt x="327056" y="100064"/>
                  <a:pt x="321764" y="104047"/>
                </a:cubicBezTo>
                <a:cubicBezTo>
                  <a:pt x="316537" y="107967"/>
                  <a:pt x="310499" y="109896"/>
                  <a:pt x="303713" y="109896"/>
                </a:cubicBezTo>
                <a:close/>
                <a:moveTo>
                  <a:pt x="303588" y="98072"/>
                </a:moveTo>
                <a:cubicBezTo>
                  <a:pt x="308070" y="98072"/>
                  <a:pt x="311806" y="96766"/>
                  <a:pt x="314918" y="94089"/>
                </a:cubicBezTo>
                <a:cubicBezTo>
                  <a:pt x="318093" y="91289"/>
                  <a:pt x="320520" y="86747"/>
                  <a:pt x="322076" y="80462"/>
                </a:cubicBezTo>
                <a:cubicBezTo>
                  <a:pt x="323757" y="74114"/>
                  <a:pt x="324629" y="65589"/>
                  <a:pt x="324629" y="54948"/>
                </a:cubicBezTo>
                <a:cubicBezTo>
                  <a:pt x="324629" y="44307"/>
                  <a:pt x="323819" y="35844"/>
                  <a:pt x="322263" y="29559"/>
                </a:cubicBezTo>
                <a:cubicBezTo>
                  <a:pt x="320644" y="23150"/>
                  <a:pt x="318280" y="18669"/>
                  <a:pt x="315043" y="15931"/>
                </a:cubicBezTo>
                <a:cubicBezTo>
                  <a:pt x="311992" y="13192"/>
                  <a:pt x="308195" y="11761"/>
                  <a:pt x="303713" y="11761"/>
                </a:cubicBezTo>
                <a:cubicBezTo>
                  <a:pt x="299231" y="11761"/>
                  <a:pt x="295371" y="13192"/>
                  <a:pt x="292196" y="15931"/>
                </a:cubicBezTo>
                <a:cubicBezTo>
                  <a:pt x="289021" y="18669"/>
                  <a:pt x="286594" y="23150"/>
                  <a:pt x="284914" y="29559"/>
                </a:cubicBezTo>
                <a:cubicBezTo>
                  <a:pt x="283170" y="35844"/>
                  <a:pt x="282362" y="44307"/>
                  <a:pt x="282362" y="54948"/>
                </a:cubicBezTo>
                <a:cubicBezTo>
                  <a:pt x="282362" y="65589"/>
                  <a:pt x="283170" y="74114"/>
                  <a:pt x="284727" y="80462"/>
                </a:cubicBezTo>
                <a:cubicBezTo>
                  <a:pt x="286407" y="86747"/>
                  <a:pt x="288898" y="91289"/>
                  <a:pt x="292072" y="94089"/>
                </a:cubicBezTo>
                <a:cubicBezTo>
                  <a:pt x="295246" y="96766"/>
                  <a:pt x="299107" y="98072"/>
                  <a:pt x="303588" y="98072"/>
                </a:cubicBezTo>
                <a:close/>
                <a:moveTo>
                  <a:pt x="385819" y="109896"/>
                </a:moveTo>
                <a:cubicBezTo>
                  <a:pt x="379097" y="109896"/>
                  <a:pt x="372995" y="107967"/>
                  <a:pt x="367643" y="104047"/>
                </a:cubicBezTo>
                <a:cubicBezTo>
                  <a:pt x="362226" y="100188"/>
                  <a:pt x="357994" y="94214"/>
                  <a:pt x="354944" y="86125"/>
                </a:cubicBezTo>
                <a:cubicBezTo>
                  <a:pt x="351956" y="77972"/>
                  <a:pt x="350462" y="67518"/>
                  <a:pt x="350462" y="54761"/>
                </a:cubicBezTo>
                <a:cubicBezTo>
                  <a:pt x="350462" y="41942"/>
                  <a:pt x="351956" y="31488"/>
                  <a:pt x="354944" y="23398"/>
                </a:cubicBezTo>
                <a:cubicBezTo>
                  <a:pt x="357994" y="15371"/>
                  <a:pt x="362226" y="9459"/>
                  <a:pt x="367643" y="5663"/>
                </a:cubicBezTo>
                <a:cubicBezTo>
                  <a:pt x="372995" y="1867"/>
                  <a:pt x="379097" y="0"/>
                  <a:pt x="385819" y="0"/>
                </a:cubicBezTo>
                <a:cubicBezTo>
                  <a:pt x="392605" y="0"/>
                  <a:pt x="398643" y="1867"/>
                  <a:pt x="403934" y="5663"/>
                </a:cubicBezTo>
                <a:cubicBezTo>
                  <a:pt x="409225" y="9459"/>
                  <a:pt x="413334" y="15371"/>
                  <a:pt x="416322" y="23398"/>
                </a:cubicBezTo>
                <a:cubicBezTo>
                  <a:pt x="419310" y="31363"/>
                  <a:pt x="420804" y="41756"/>
                  <a:pt x="420804" y="54512"/>
                </a:cubicBezTo>
                <a:cubicBezTo>
                  <a:pt x="420804" y="67145"/>
                  <a:pt x="419310" y="77599"/>
                  <a:pt x="416322" y="85876"/>
                </a:cubicBezTo>
                <a:cubicBezTo>
                  <a:pt x="413334" y="94027"/>
                  <a:pt x="409225" y="100064"/>
                  <a:pt x="403934" y="104047"/>
                </a:cubicBezTo>
                <a:cubicBezTo>
                  <a:pt x="398643" y="107967"/>
                  <a:pt x="392605" y="109896"/>
                  <a:pt x="385819" y="109896"/>
                </a:cubicBezTo>
                <a:close/>
                <a:moveTo>
                  <a:pt x="385694" y="98072"/>
                </a:moveTo>
                <a:cubicBezTo>
                  <a:pt x="390176" y="98072"/>
                  <a:pt x="393974" y="96766"/>
                  <a:pt x="397024" y="94089"/>
                </a:cubicBezTo>
                <a:cubicBezTo>
                  <a:pt x="400261" y="91289"/>
                  <a:pt x="402626" y="86747"/>
                  <a:pt x="404244" y="80462"/>
                </a:cubicBezTo>
                <a:cubicBezTo>
                  <a:pt x="405925" y="74114"/>
                  <a:pt x="406735" y="65589"/>
                  <a:pt x="406735" y="54948"/>
                </a:cubicBezTo>
                <a:cubicBezTo>
                  <a:pt x="406735" y="44307"/>
                  <a:pt x="405987" y="35844"/>
                  <a:pt x="404369" y="29559"/>
                </a:cubicBezTo>
                <a:cubicBezTo>
                  <a:pt x="402750" y="23150"/>
                  <a:pt x="400386" y="18669"/>
                  <a:pt x="397211" y="15931"/>
                </a:cubicBezTo>
                <a:cubicBezTo>
                  <a:pt x="394098" y="13192"/>
                  <a:pt x="390301" y="11761"/>
                  <a:pt x="385819" y="11761"/>
                </a:cubicBezTo>
                <a:cubicBezTo>
                  <a:pt x="381337" y="11761"/>
                  <a:pt x="377541" y="13192"/>
                  <a:pt x="374366" y="15931"/>
                </a:cubicBezTo>
                <a:cubicBezTo>
                  <a:pt x="371129" y="18669"/>
                  <a:pt x="368700" y="23150"/>
                  <a:pt x="367020" y="29559"/>
                </a:cubicBezTo>
                <a:cubicBezTo>
                  <a:pt x="365339" y="35844"/>
                  <a:pt x="364468" y="44307"/>
                  <a:pt x="364468" y="54948"/>
                </a:cubicBezTo>
                <a:cubicBezTo>
                  <a:pt x="364468" y="65589"/>
                  <a:pt x="365276" y="74114"/>
                  <a:pt x="366895" y="80462"/>
                </a:cubicBezTo>
                <a:cubicBezTo>
                  <a:pt x="368576" y="86747"/>
                  <a:pt x="371004" y="91289"/>
                  <a:pt x="374179" y="94089"/>
                </a:cubicBezTo>
                <a:cubicBezTo>
                  <a:pt x="377354" y="96766"/>
                  <a:pt x="381213" y="98072"/>
                  <a:pt x="385694" y="98072"/>
                </a:cubicBezTo>
                <a:close/>
                <a:moveTo>
                  <a:pt x="463071" y="109896"/>
                </a:moveTo>
                <a:cubicBezTo>
                  <a:pt x="451118" y="109896"/>
                  <a:pt x="441594" y="107344"/>
                  <a:pt x="434498" y="102304"/>
                </a:cubicBezTo>
                <a:lnTo>
                  <a:pt x="434498" y="87618"/>
                </a:lnTo>
                <a:cubicBezTo>
                  <a:pt x="438730" y="91040"/>
                  <a:pt x="443088" y="93592"/>
                  <a:pt x="447694" y="95272"/>
                </a:cubicBezTo>
                <a:cubicBezTo>
                  <a:pt x="452240" y="96828"/>
                  <a:pt x="457405" y="97637"/>
                  <a:pt x="463071" y="97637"/>
                </a:cubicBezTo>
                <a:cubicBezTo>
                  <a:pt x="470416" y="97637"/>
                  <a:pt x="476080" y="95397"/>
                  <a:pt x="480065" y="90916"/>
                </a:cubicBezTo>
                <a:cubicBezTo>
                  <a:pt x="484173" y="86435"/>
                  <a:pt x="486227" y="80586"/>
                  <a:pt x="486227" y="73305"/>
                </a:cubicBezTo>
                <a:cubicBezTo>
                  <a:pt x="486227" y="65527"/>
                  <a:pt x="484235" y="59864"/>
                  <a:pt x="480252" y="56255"/>
                </a:cubicBezTo>
                <a:cubicBezTo>
                  <a:pt x="476267" y="52708"/>
                  <a:pt x="471224" y="50903"/>
                  <a:pt x="465124" y="50903"/>
                </a:cubicBezTo>
                <a:cubicBezTo>
                  <a:pt x="460767" y="50903"/>
                  <a:pt x="457218" y="51650"/>
                  <a:pt x="454542" y="53143"/>
                </a:cubicBezTo>
                <a:cubicBezTo>
                  <a:pt x="451866" y="54512"/>
                  <a:pt x="449811" y="56006"/>
                  <a:pt x="448442" y="57624"/>
                </a:cubicBezTo>
                <a:lnTo>
                  <a:pt x="437486" y="57624"/>
                </a:lnTo>
                <a:lnTo>
                  <a:pt x="437486" y="1307"/>
                </a:lnTo>
                <a:lnTo>
                  <a:pt x="495502" y="1307"/>
                </a:lnTo>
                <a:lnTo>
                  <a:pt x="495502" y="14188"/>
                </a:lnTo>
                <a:lnTo>
                  <a:pt x="449749" y="14188"/>
                </a:lnTo>
                <a:lnTo>
                  <a:pt x="449749" y="44805"/>
                </a:lnTo>
                <a:cubicBezTo>
                  <a:pt x="451741" y="43312"/>
                  <a:pt x="454168" y="42004"/>
                  <a:pt x="457094" y="40885"/>
                </a:cubicBezTo>
                <a:cubicBezTo>
                  <a:pt x="459958" y="39702"/>
                  <a:pt x="463381" y="39080"/>
                  <a:pt x="467366" y="39080"/>
                </a:cubicBezTo>
                <a:cubicBezTo>
                  <a:pt x="473590" y="39080"/>
                  <a:pt x="479130" y="40386"/>
                  <a:pt x="484110" y="43000"/>
                </a:cubicBezTo>
                <a:cubicBezTo>
                  <a:pt x="489090" y="45489"/>
                  <a:pt x="493011" y="49285"/>
                  <a:pt x="495937" y="54326"/>
                </a:cubicBezTo>
                <a:cubicBezTo>
                  <a:pt x="498926" y="59304"/>
                  <a:pt x="500420" y="65527"/>
                  <a:pt x="500420" y="72995"/>
                </a:cubicBezTo>
                <a:cubicBezTo>
                  <a:pt x="500420" y="80399"/>
                  <a:pt x="498864" y="86871"/>
                  <a:pt x="495751" y="92410"/>
                </a:cubicBezTo>
                <a:cubicBezTo>
                  <a:pt x="492764" y="98010"/>
                  <a:pt x="488530" y="102304"/>
                  <a:pt x="482928" y="105415"/>
                </a:cubicBezTo>
                <a:cubicBezTo>
                  <a:pt x="477325" y="108402"/>
                  <a:pt x="470727" y="109896"/>
                  <a:pt x="463071" y="109896"/>
                </a:cubicBezTo>
                <a:close/>
                <a:moveTo>
                  <a:pt x="545177" y="109896"/>
                </a:moveTo>
                <a:cubicBezTo>
                  <a:pt x="533225" y="109896"/>
                  <a:pt x="523764" y="107344"/>
                  <a:pt x="516666" y="102304"/>
                </a:cubicBezTo>
                <a:lnTo>
                  <a:pt x="516666" y="87618"/>
                </a:lnTo>
                <a:cubicBezTo>
                  <a:pt x="520836" y="91040"/>
                  <a:pt x="525257" y="93592"/>
                  <a:pt x="529801" y="95272"/>
                </a:cubicBezTo>
                <a:cubicBezTo>
                  <a:pt x="534408" y="96828"/>
                  <a:pt x="539511" y="97637"/>
                  <a:pt x="545177" y="97637"/>
                </a:cubicBezTo>
                <a:cubicBezTo>
                  <a:pt x="552584" y="97637"/>
                  <a:pt x="558248" y="95397"/>
                  <a:pt x="562233" y="90916"/>
                </a:cubicBezTo>
                <a:cubicBezTo>
                  <a:pt x="566341" y="86435"/>
                  <a:pt x="568333" y="80586"/>
                  <a:pt x="568333" y="73305"/>
                </a:cubicBezTo>
                <a:cubicBezTo>
                  <a:pt x="568333" y="65527"/>
                  <a:pt x="566341" y="59864"/>
                  <a:pt x="562358" y="56255"/>
                </a:cubicBezTo>
                <a:cubicBezTo>
                  <a:pt x="558373" y="52708"/>
                  <a:pt x="553394" y="50903"/>
                  <a:pt x="547292" y="50903"/>
                </a:cubicBezTo>
                <a:cubicBezTo>
                  <a:pt x="542935" y="50903"/>
                  <a:pt x="539388" y="51650"/>
                  <a:pt x="536710" y="53143"/>
                </a:cubicBezTo>
                <a:cubicBezTo>
                  <a:pt x="533972" y="54512"/>
                  <a:pt x="531979" y="56006"/>
                  <a:pt x="530548" y="57624"/>
                </a:cubicBezTo>
                <a:lnTo>
                  <a:pt x="519654" y="57624"/>
                </a:lnTo>
                <a:lnTo>
                  <a:pt x="519654" y="1307"/>
                </a:lnTo>
                <a:lnTo>
                  <a:pt x="577608" y="1307"/>
                </a:lnTo>
                <a:lnTo>
                  <a:pt x="577608" y="14188"/>
                </a:lnTo>
                <a:lnTo>
                  <a:pt x="531917" y="14188"/>
                </a:lnTo>
                <a:lnTo>
                  <a:pt x="531917" y="44805"/>
                </a:lnTo>
                <a:cubicBezTo>
                  <a:pt x="533909" y="43312"/>
                  <a:pt x="536338" y="42004"/>
                  <a:pt x="539201" y="40885"/>
                </a:cubicBezTo>
                <a:cubicBezTo>
                  <a:pt x="542127" y="39702"/>
                  <a:pt x="545551" y="39080"/>
                  <a:pt x="549534" y="39080"/>
                </a:cubicBezTo>
                <a:cubicBezTo>
                  <a:pt x="555697" y="39080"/>
                  <a:pt x="561298" y="40386"/>
                  <a:pt x="566279" y="43000"/>
                </a:cubicBezTo>
                <a:cubicBezTo>
                  <a:pt x="571259" y="45489"/>
                  <a:pt x="575181" y="49285"/>
                  <a:pt x="578044" y="54326"/>
                </a:cubicBezTo>
                <a:cubicBezTo>
                  <a:pt x="581032" y="59304"/>
                  <a:pt x="582526" y="65527"/>
                  <a:pt x="582526" y="72995"/>
                </a:cubicBezTo>
                <a:cubicBezTo>
                  <a:pt x="582526" y="80399"/>
                  <a:pt x="581032" y="86871"/>
                  <a:pt x="577920" y="92410"/>
                </a:cubicBezTo>
                <a:cubicBezTo>
                  <a:pt x="574932" y="98010"/>
                  <a:pt x="570636" y="102304"/>
                  <a:pt x="565096" y="105415"/>
                </a:cubicBezTo>
                <a:cubicBezTo>
                  <a:pt x="559494" y="108402"/>
                  <a:pt x="552896" y="109896"/>
                  <a:pt x="545177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8" name="Полилиния 927">
            <a:extLst>
              <a:ext uri="{FF2B5EF4-FFF2-40B4-BE49-F238E27FC236}">
                <a16:creationId xmlns:a16="http://schemas.microsoft.com/office/drawing/2014/main" id="{8292D00B-CE24-1BCB-39D2-212465445A06}"/>
              </a:ext>
            </a:extLst>
          </p:cNvPr>
          <p:cNvSpPr/>
          <p:nvPr userDrawn="1"/>
        </p:nvSpPr>
        <p:spPr>
          <a:xfrm>
            <a:off x="6844904" y="4513847"/>
            <a:ext cx="2557159" cy="726227"/>
          </a:xfrm>
          <a:custGeom>
            <a:avLst/>
            <a:gdLst>
              <a:gd name="connsiteX0" fmla="*/ 2232 w 2191162"/>
              <a:gd name="connsiteY0" fmla="*/ 1122 h 622284"/>
              <a:gd name="connsiteX1" fmla="*/ 2193395 w 2191162"/>
              <a:gd name="connsiteY1" fmla="*/ 1122 h 622284"/>
              <a:gd name="connsiteX2" fmla="*/ 2193395 w 2191162"/>
              <a:gd name="connsiteY2" fmla="*/ 623406 h 622284"/>
              <a:gd name="connsiteX3" fmla="*/ 2232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122"/>
                </a:moveTo>
                <a:lnTo>
                  <a:pt x="2193395" y="1122"/>
                </a:lnTo>
                <a:lnTo>
                  <a:pt x="2193395" y="623406"/>
                </a:lnTo>
                <a:lnTo>
                  <a:pt x="2232" y="623406"/>
                </a:lnTo>
                <a:close/>
              </a:path>
            </a:pathLst>
          </a:custGeom>
          <a:solidFill>
            <a:srgbClr val="0F007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9" name="Полилиния 928">
            <a:extLst>
              <a:ext uri="{FF2B5EF4-FFF2-40B4-BE49-F238E27FC236}">
                <a16:creationId xmlns:a16="http://schemas.microsoft.com/office/drawing/2014/main" id="{59B02449-0832-49D6-8293-D88CDBD54FD5}"/>
              </a:ext>
            </a:extLst>
          </p:cNvPr>
          <p:cNvSpPr/>
          <p:nvPr userDrawn="1"/>
        </p:nvSpPr>
        <p:spPr>
          <a:xfrm>
            <a:off x="6968113" y="4815595"/>
            <a:ext cx="683022" cy="128468"/>
          </a:xfrm>
          <a:custGeom>
            <a:avLst/>
            <a:gdLst>
              <a:gd name="connsiteX0" fmla="*/ 22099 w 585264"/>
              <a:gd name="connsiteY0" fmla="*/ 108588 h 110081"/>
              <a:gd name="connsiteX1" fmla="*/ 10147 w 585264"/>
              <a:gd name="connsiteY1" fmla="*/ 108588 h 110081"/>
              <a:gd name="connsiteX2" fmla="*/ 16435 w 585264"/>
              <a:gd name="connsiteY2" fmla="*/ 77661 h 110081"/>
              <a:gd name="connsiteX3" fmla="*/ 0 w 585264"/>
              <a:gd name="connsiteY3" fmla="*/ 77661 h 110081"/>
              <a:gd name="connsiteX4" fmla="*/ 0 w 585264"/>
              <a:gd name="connsiteY4" fmla="*/ 67206 h 110081"/>
              <a:gd name="connsiteX5" fmla="*/ 18675 w 585264"/>
              <a:gd name="connsiteY5" fmla="*/ 67206 h 110081"/>
              <a:gd name="connsiteX6" fmla="*/ 24216 w 585264"/>
              <a:gd name="connsiteY6" fmla="*/ 40012 h 110081"/>
              <a:gd name="connsiteX7" fmla="*/ 4047 w 585264"/>
              <a:gd name="connsiteY7" fmla="*/ 40012 h 110081"/>
              <a:gd name="connsiteX8" fmla="*/ 4047 w 585264"/>
              <a:gd name="connsiteY8" fmla="*/ 29559 h 110081"/>
              <a:gd name="connsiteX9" fmla="*/ 26269 w 585264"/>
              <a:gd name="connsiteY9" fmla="*/ 29559 h 110081"/>
              <a:gd name="connsiteX10" fmla="*/ 32121 w 585264"/>
              <a:gd name="connsiteY10" fmla="*/ 1493 h 110081"/>
              <a:gd name="connsiteX11" fmla="*/ 44073 w 585264"/>
              <a:gd name="connsiteY11" fmla="*/ 1493 h 110081"/>
              <a:gd name="connsiteX12" fmla="*/ 38222 w 585264"/>
              <a:gd name="connsiteY12" fmla="*/ 29559 h 110081"/>
              <a:gd name="connsiteX13" fmla="*/ 60630 w 585264"/>
              <a:gd name="connsiteY13" fmla="*/ 29559 h 110081"/>
              <a:gd name="connsiteX14" fmla="*/ 66481 w 585264"/>
              <a:gd name="connsiteY14" fmla="*/ 1493 h 110081"/>
              <a:gd name="connsiteX15" fmla="*/ 78434 w 585264"/>
              <a:gd name="connsiteY15" fmla="*/ 1493 h 110081"/>
              <a:gd name="connsiteX16" fmla="*/ 72583 w 585264"/>
              <a:gd name="connsiteY16" fmla="*/ 29559 h 110081"/>
              <a:gd name="connsiteX17" fmla="*/ 89328 w 585264"/>
              <a:gd name="connsiteY17" fmla="*/ 29559 h 110081"/>
              <a:gd name="connsiteX18" fmla="*/ 89328 w 585264"/>
              <a:gd name="connsiteY18" fmla="*/ 40012 h 110081"/>
              <a:gd name="connsiteX19" fmla="*/ 70529 w 585264"/>
              <a:gd name="connsiteY19" fmla="*/ 40012 h 110081"/>
              <a:gd name="connsiteX20" fmla="*/ 64988 w 585264"/>
              <a:gd name="connsiteY20" fmla="*/ 67206 h 110081"/>
              <a:gd name="connsiteX21" fmla="*/ 85281 w 585264"/>
              <a:gd name="connsiteY21" fmla="*/ 67206 h 110081"/>
              <a:gd name="connsiteX22" fmla="*/ 85281 w 585264"/>
              <a:gd name="connsiteY22" fmla="*/ 77661 h 110081"/>
              <a:gd name="connsiteX23" fmla="*/ 62747 w 585264"/>
              <a:gd name="connsiteY23" fmla="*/ 77661 h 110081"/>
              <a:gd name="connsiteX24" fmla="*/ 56460 w 585264"/>
              <a:gd name="connsiteY24" fmla="*/ 108588 h 110081"/>
              <a:gd name="connsiteX25" fmla="*/ 44509 w 585264"/>
              <a:gd name="connsiteY25" fmla="*/ 108588 h 110081"/>
              <a:gd name="connsiteX26" fmla="*/ 50796 w 585264"/>
              <a:gd name="connsiteY26" fmla="*/ 77661 h 110081"/>
              <a:gd name="connsiteX27" fmla="*/ 28386 w 585264"/>
              <a:gd name="connsiteY27" fmla="*/ 77661 h 110081"/>
              <a:gd name="connsiteX28" fmla="*/ 22099 w 585264"/>
              <a:gd name="connsiteY28" fmla="*/ 108588 h 110081"/>
              <a:gd name="connsiteX29" fmla="*/ 30626 w 585264"/>
              <a:gd name="connsiteY29" fmla="*/ 67206 h 110081"/>
              <a:gd name="connsiteX30" fmla="*/ 53036 w 585264"/>
              <a:gd name="connsiteY30" fmla="*/ 67206 h 110081"/>
              <a:gd name="connsiteX31" fmla="*/ 58577 w 585264"/>
              <a:gd name="connsiteY31" fmla="*/ 40012 h 110081"/>
              <a:gd name="connsiteX32" fmla="*/ 36167 w 585264"/>
              <a:gd name="connsiteY32" fmla="*/ 40012 h 110081"/>
              <a:gd name="connsiteX33" fmla="*/ 30626 w 585264"/>
              <a:gd name="connsiteY33" fmla="*/ 67206 h 110081"/>
              <a:gd name="connsiteX34" fmla="*/ 136636 w 585264"/>
              <a:gd name="connsiteY34" fmla="*/ 110082 h 110081"/>
              <a:gd name="connsiteX35" fmla="*/ 118460 w 585264"/>
              <a:gd name="connsiteY35" fmla="*/ 104233 h 110081"/>
              <a:gd name="connsiteX36" fmla="*/ 105761 w 585264"/>
              <a:gd name="connsiteY36" fmla="*/ 86311 h 110081"/>
              <a:gd name="connsiteX37" fmla="*/ 101279 w 585264"/>
              <a:gd name="connsiteY37" fmla="*/ 54947 h 110081"/>
              <a:gd name="connsiteX38" fmla="*/ 105761 w 585264"/>
              <a:gd name="connsiteY38" fmla="*/ 23584 h 110081"/>
              <a:gd name="connsiteX39" fmla="*/ 118460 w 585264"/>
              <a:gd name="connsiteY39" fmla="*/ 5849 h 110081"/>
              <a:gd name="connsiteX40" fmla="*/ 136636 w 585264"/>
              <a:gd name="connsiteY40" fmla="*/ 186 h 110081"/>
              <a:gd name="connsiteX41" fmla="*/ 154752 w 585264"/>
              <a:gd name="connsiteY41" fmla="*/ 5849 h 110081"/>
              <a:gd name="connsiteX42" fmla="*/ 167139 w 585264"/>
              <a:gd name="connsiteY42" fmla="*/ 23584 h 110081"/>
              <a:gd name="connsiteX43" fmla="*/ 171621 w 585264"/>
              <a:gd name="connsiteY43" fmla="*/ 54698 h 110081"/>
              <a:gd name="connsiteX44" fmla="*/ 167139 w 585264"/>
              <a:gd name="connsiteY44" fmla="*/ 86062 h 110081"/>
              <a:gd name="connsiteX45" fmla="*/ 154752 w 585264"/>
              <a:gd name="connsiteY45" fmla="*/ 104233 h 110081"/>
              <a:gd name="connsiteX46" fmla="*/ 136636 w 585264"/>
              <a:gd name="connsiteY46" fmla="*/ 110082 h 110081"/>
              <a:gd name="connsiteX47" fmla="*/ 136512 w 585264"/>
              <a:gd name="connsiteY47" fmla="*/ 98258 h 110081"/>
              <a:gd name="connsiteX48" fmla="*/ 147841 w 585264"/>
              <a:gd name="connsiteY48" fmla="*/ 94275 h 110081"/>
              <a:gd name="connsiteX49" fmla="*/ 155063 w 585264"/>
              <a:gd name="connsiteY49" fmla="*/ 80648 h 110081"/>
              <a:gd name="connsiteX50" fmla="*/ 157552 w 585264"/>
              <a:gd name="connsiteY50" fmla="*/ 55134 h 110081"/>
              <a:gd name="connsiteX51" fmla="*/ 155186 w 585264"/>
              <a:gd name="connsiteY51" fmla="*/ 29745 h 110081"/>
              <a:gd name="connsiteX52" fmla="*/ 148028 w 585264"/>
              <a:gd name="connsiteY52" fmla="*/ 16117 h 110081"/>
              <a:gd name="connsiteX53" fmla="*/ 136636 w 585264"/>
              <a:gd name="connsiteY53" fmla="*/ 11947 h 110081"/>
              <a:gd name="connsiteX54" fmla="*/ 125183 w 585264"/>
              <a:gd name="connsiteY54" fmla="*/ 16117 h 110081"/>
              <a:gd name="connsiteX55" fmla="*/ 117837 w 585264"/>
              <a:gd name="connsiteY55" fmla="*/ 29745 h 110081"/>
              <a:gd name="connsiteX56" fmla="*/ 115285 w 585264"/>
              <a:gd name="connsiteY56" fmla="*/ 55134 h 110081"/>
              <a:gd name="connsiteX57" fmla="*/ 117714 w 585264"/>
              <a:gd name="connsiteY57" fmla="*/ 80648 h 110081"/>
              <a:gd name="connsiteX58" fmla="*/ 124996 w 585264"/>
              <a:gd name="connsiteY58" fmla="*/ 94275 h 110081"/>
              <a:gd name="connsiteX59" fmla="*/ 136512 w 585264"/>
              <a:gd name="connsiteY59" fmla="*/ 98258 h 110081"/>
              <a:gd name="connsiteX60" fmla="*/ 189984 w 585264"/>
              <a:gd name="connsiteY60" fmla="*/ 1493 h 110081"/>
              <a:gd name="connsiteX61" fmla="*/ 255408 w 585264"/>
              <a:gd name="connsiteY61" fmla="*/ 1493 h 110081"/>
              <a:gd name="connsiteX62" fmla="*/ 255408 w 585264"/>
              <a:gd name="connsiteY62" fmla="*/ 14374 h 110081"/>
              <a:gd name="connsiteX63" fmla="*/ 203990 w 585264"/>
              <a:gd name="connsiteY63" fmla="*/ 14374 h 110081"/>
              <a:gd name="connsiteX64" fmla="*/ 203990 w 585264"/>
              <a:gd name="connsiteY64" fmla="*/ 49907 h 110081"/>
              <a:gd name="connsiteX65" fmla="*/ 247627 w 585264"/>
              <a:gd name="connsiteY65" fmla="*/ 49907 h 110081"/>
              <a:gd name="connsiteX66" fmla="*/ 247627 w 585264"/>
              <a:gd name="connsiteY66" fmla="*/ 62601 h 110081"/>
              <a:gd name="connsiteX67" fmla="*/ 203990 w 585264"/>
              <a:gd name="connsiteY67" fmla="*/ 62601 h 110081"/>
              <a:gd name="connsiteX68" fmla="*/ 203990 w 585264"/>
              <a:gd name="connsiteY68" fmla="*/ 108588 h 110081"/>
              <a:gd name="connsiteX69" fmla="*/ 189984 w 585264"/>
              <a:gd name="connsiteY69" fmla="*/ 108588 h 110081"/>
              <a:gd name="connsiteX70" fmla="*/ 189984 w 585264"/>
              <a:gd name="connsiteY70" fmla="*/ 1493 h 110081"/>
              <a:gd name="connsiteX71" fmla="*/ 303713 w 585264"/>
              <a:gd name="connsiteY71" fmla="*/ 110082 h 110081"/>
              <a:gd name="connsiteX72" fmla="*/ 285474 w 585264"/>
              <a:gd name="connsiteY72" fmla="*/ 104233 h 110081"/>
              <a:gd name="connsiteX73" fmla="*/ 272775 w 585264"/>
              <a:gd name="connsiteY73" fmla="*/ 86311 h 110081"/>
              <a:gd name="connsiteX74" fmla="*/ 268294 w 585264"/>
              <a:gd name="connsiteY74" fmla="*/ 54947 h 110081"/>
              <a:gd name="connsiteX75" fmla="*/ 272775 w 585264"/>
              <a:gd name="connsiteY75" fmla="*/ 23584 h 110081"/>
              <a:gd name="connsiteX76" fmla="*/ 285474 w 585264"/>
              <a:gd name="connsiteY76" fmla="*/ 5849 h 110081"/>
              <a:gd name="connsiteX77" fmla="*/ 303713 w 585264"/>
              <a:gd name="connsiteY77" fmla="*/ 186 h 110081"/>
              <a:gd name="connsiteX78" fmla="*/ 321764 w 585264"/>
              <a:gd name="connsiteY78" fmla="*/ 5849 h 110081"/>
              <a:gd name="connsiteX79" fmla="*/ 334214 w 585264"/>
              <a:gd name="connsiteY79" fmla="*/ 23584 h 110081"/>
              <a:gd name="connsiteX80" fmla="*/ 338698 w 585264"/>
              <a:gd name="connsiteY80" fmla="*/ 54698 h 110081"/>
              <a:gd name="connsiteX81" fmla="*/ 334214 w 585264"/>
              <a:gd name="connsiteY81" fmla="*/ 86062 h 110081"/>
              <a:gd name="connsiteX82" fmla="*/ 321764 w 585264"/>
              <a:gd name="connsiteY82" fmla="*/ 104233 h 110081"/>
              <a:gd name="connsiteX83" fmla="*/ 303713 w 585264"/>
              <a:gd name="connsiteY83" fmla="*/ 110082 h 110081"/>
              <a:gd name="connsiteX84" fmla="*/ 303588 w 585264"/>
              <a:gd name="connsiteY84" fmla="*/ 98258 h 110081"/>
              <a:gd name="connsiteX85" fmla="*/ 314918 w 585264"/>
              <a:gd name="connsiteY85" fmla="*/ 94275 h 110081"/>
              <a:gd name="connsiteX86" fmla="*/ 322076 w 585264"/>
              <a:gd name="connsiteY86" fmla="*/ 80648 h 110081"/>
              <a:gd name="connsiteX87" fmla="*/ 324629 w 585264"/>
              <a:gd name="connsiteY87" fmla="*/ 55134 h 110081"/>
              <a:gd name="connsiteX88" fmla="*/ 322263 w 585264"/>
              <a:gd name="connsiteY88" fmla="*/ 29745 h 110081"/>
              <a:gd name="connsiteX89" fmla="*/ 315043 w 585264"/>
              <a:gd name="connsiteY89" fmla="*/ 16117 h 110081"/>
              <a:gd name="connsiteX90" fmla="*/ 303713 w 585264"/>
              <a:gd name="connsiteY90" fmla="*/ 11947 h 110081"/>
              <a:gd name="connsiteX91" fmla="*/ 292196 w 585264"/>
              <a:gd name="connsiteY91" fmla="*/ 16117 h 110081"/>
              <a:gd name="connsiteX92" fmla="*/ 284914 w 585264"/>
              <a:gd name="connsiteY92" fmla="*/ 29745 h 110081"/>
              <a:gd name="connsiteX93" fmla="*/ 282362 w 585264"/>
              <a:gd name="connsiteY93" fmla="*/ 55134 h 110081"/>
              <a:gd name="connsiteX94" fmla="*/ 284727 w 585264"/>
              <a:gd name="connsiteY94" fmla="*/ 80648 h 110081"/>
              <a:gd name="connsiteX95" fmla="*/ 292072 w 585264"/>
              <a:gd name="connsiteY95" fmla="*/ 94275 h 110081"/>
              <a:gd name="connsiteX96" fmla="*/ 303588 w 585264"/>
              <a:gd name="connsiteY96" fmla="*/ 98258 h 110081"/>
              <a:gd name="connsiteX97" fmla="*/ 385819 w 585264"/>
              <a:gd name="connsiteY97" fmla="*/ 110082 h 110081"/>
              <a:gd name="connsiteX98" fmla="*/ 367643 w 585264"/>
              <a:gd name="connsiteY98" fmla="*/ 104233 h 110081"/>
              <a:gd name="connsiteX99" fmla="*/ 354944 w 585264"/>
              <a:gd name="connsiteY99" fmla="*/ 86311 h 110081"/>
              <a:gd name="connsiteX100" fmla="*/ 350462 w 585264"/>
              <a:gd name="connsiteY100" fmla="*/ 54947 h 110081"/>
              <a:gd name="connsiteX101" fmla="*/ 354944 w 585264"/>
              <a:gd name="connsiteY101" fmla="*/ 23584 h 110081"/>
              <a:gd name="connsiteX102" fmla="*/ 367643 w 585264"/>
              <a:gd name="connsiteY102" fmla="*/ 5849 h 110081"/>
              <a:gd name="connsiteX103" fmla="*/ 385819 w 585264"/>
              <a:gd name="connsiteY103" fmla="*/ 186 h 110081"/>
              <a:gd name="connsiteX104" fmla="*/ 403934 w 585264"/>
              <a:gd name="connsiteY104" fmla="*/ 5849 h 110081"/>
              <a:gd name="connsiteX105" fmla="*/ 416322 w 585264"/>
              <a:gd name="connsiteY105" fmla="*/ 23584 h 110081"/>
              <a:gd name="connsiteX106" fmla="*/ 420804 w 585264"/>
              <a:gd name="connsiteY106" fmla="*/ 54698 h 110081"/>
              <a:gd name="connsiteX107" fmla="*/ 416322 w 585264"/>
              <a:gd name="connsiteY107" fmla="*/ 86062 h 110081"/>
              <a:gd name="connsiteX108" fmla="*/ 403934 w 585264"/>
              <a:gd name="connsiteY108" fmla="*/ 104233 h 110081"/>
              <a:gd name="connsiteX109" fmla="*/ 385819 w 585264"/>
              <a:gd name="connsiteY109" fmla="*/ 110082 h 110081"/>
              <a:gd name="connsiteX110" fmla="*/ 385694 w 585264"/>
              <a:gd name="connsiteY110" fmla="*/ 98258 h 110081"/>
              <a:gd name="connsiteX111" fmla="*/ 397024 w 585264"/>
              <a:gd name="connsiteY111" fmla="*/ 94275 h 110081"/>
              <a:gd name="connsiteX112" fmla="*/ 404244 w 585264"/>
              <a:gd name="connsiteY112" fmla="*/ 80648 h 110081"/>
              <a:gd name="connsiteX113" fmla="*/ 406735 w 585264"/>
              <a:gd name="connsiteY113" fmla="*/ 55134 h 110081"/>
              <a:gd name="connsiteX114" fmla="*/ 404369 w 585264"/>
              <a:gd name="connsiteY114" fmla="*/ 29745 h 110081"/>
              <a:gd name="connsiteX115" fmla="*/ 397211 w 585264"/>
              <a:gd name="connsiteY115" fmla="*/ 16117 h 110081"/>
              <a:gd name="connsiteX116" fmla="*/ 385819 w 585264"/>
              <a:gd name="connsiteY116" fmla="*/ 11947 h 110081"/>
              <a:gd name="connsiteX117" fmla="*/ 374366 w 585264"/>
              <a:gd name="connsiteY117" fmla="*/ 16117 h 110081"/>
              <a:gd name="connsiteX118" fmla="*/ 367020 w 585264"/>
              <a:gd name="connsiteY118" fmla="*/ 29745 h 110081"/>
              <a:gd name="connsiteX119" fmla="*/ 364468 w 585264"/>
              <a:gd name="connsiteY119" fmla="*/ 55134 h 110081"/>
              <a:gd name="connsiteX120" fmla="*/ 366895 w 585264"/>
              <a:gd name="connsiteY120" fmla="*/ 80648 h 110081"/>
              <a:gd name="connsiteX121" fmla="*/ 374179 w 585264"/>
              <a:gd name="connsiteY121" fmla="*/ 94275 h 110081"/>
              <a:gd name="connsiteX122" fmla="*/ 385694 w 585264"/>
              <a:gd name="connsiteY122" fmla="*/ 98258 h 110081"/>
              <a:gd name="connsiteX123" fmla="*/ 502224 w 585264"/>
              <a:gd name="connsiteY123" fmla="*/ 13628 h 110081"/>
              <a:gd name="connsiteX124" fmla="*/ 456784 w 585264"/>
              <a:gd name="connsiteY124" fmla="*/ 108588 h 110081"/>
              <a:gd name="connsiteX125" fmla="*/ 442154 w 585264"/>
              <a:gd name="connsiteY125" fmla="*/ 108588 h 110081"/>
              <a:gd name="connsiteX126" fmla="*/ 487846 w 585264"/>
              <a:gd name="connsiteY126" fmla="*/ 14374 h 110081"/>
              <a:gd name="connsiteX127" fmla="*/ 433316 w 585264"/>
              <a:gd name="connsiteY127" fmla="*/ 14374 h 110081"/>
              <a:gd name="connsiteX128" fmla="*/ 433316 w 585264"/>
              <a:gd name="connsiteY128" fmla="*/ 1493 h 110081"/>
              <a:gd name="connsiteX129" fmla="*/ 502224 w 585264"/>
              <a:gd name="connsiteY129" fmla="*/ 1493 h 110081"/>
              <a:gd name="connsiteX130" fmla="*/ 502224 w 585264"/>
              <a:gd name="connsiteY130" fmla="*/ 13628 h 110081"/>
              <a:gd name="connsiteX131" fmla="*/ 533536 w 585264"/>
              <a:gd name="connsiteY131" fmla="*/ 58992 h 110081"/>
              <a:gd name="connsiteX132" fmla="*/ 533536 w 585264"/>
              <a:gd name="connsiteY132" fmla="*/ 46298 h 110081"/>
              <a:gd name="connsiteX133" fmla="*/ 547915 w 585264"/>
              <a:gd name="connsiteY133" fmla="*/ 46298 h 110081"/>
              <a:gd name="connsiteX134" fmla="*/ 561485 w 585264"/>
              <a:gd name="connsiteY134" fmla="*/ 41817 h 110081"/>
              <a:gd name="connsiteX135" fmla="*/ 566839 w 585264"/>
              <a:gd name="connsiteY135" fmla="*/ 28812 h 110081"/>
              <a:gd name="connsiteX136" fmla="*/ 561921 w 585264"/>
              <a:gd name="connsiteY136" fmla="*/ 16864 h 110081"/>
              <a:gd name="connsiteX137" fmla="*/ 547728 w 585264"/>
              <a:gd name="connsiteY137" fmla="*/ 12383 h 110081"/>
              <a:gd name="connsiteX138" fmla="*/ 533101 w 585264"/>
              <a:gd name="connsiteY138" fmla="*/ 15246 h 110081"/>
              <a:gd name="connsiteX139" fmla="*/ 519033 w 585264"/>
              <a:gd name="connsiteY139" fmla="*/ 24331 h 110081"/>
              <a:gd name="connsiteX140" fmla="*/ 519033 w 585264"/>
              <a:gd name="connsiteY140" fmla="*/ 9707 h 110081"/>
              <a:gd name="connsiteX141" fmla="*/ 547915 w 585264"/>
              <a:gd name="connsiteY141" fmla="*/ 0 h 110081"/>
              <a:gd name="connsiteX142" fmla="*/ 571944 w 585264"/>
              <a:gd name="connsiteY142" fmla="*/ 7779 h 110081"/>
              <a:gd name="connsiteX143" fmla="*/ 580783 w 585264"/>
              <a:gd name="connsiteY143" fmla="*/ 28065 h 110081"/>
              <a:gd name="connsiteX144" fmla="*/ 575057 w 585264"/>
              <a:gd name="connsiteY144" fmla="*/ 44244 h 110081"/>
              <a:gd name="connsiteX145" fmla="*/ 561797 w 585264"/>
              <a:gd name="connsiteY145" fmla="*/ 52147 h 110081"/>
              <a:gd name="connsiteX146" fmla="*/ 573313 w 585264"/>
              <a:gd name="connsiteY146" fmla="*/ 56441 h 110081"/>
              <a:gd name="connsiteX147" fmla="*/ 581965 w 585264"/>
              <a:gd name="connsiteY147" fmla="*/ 65153 h 110081"/>
              <a:gd name="connsiteX148" fmla="*/ 585265 w 585264"/>
              <a:gd name="connsiteY148" fmla="*/ 77661 h 110081"/>
              <a:gd name="connsiteX149" fmla="*/ 580285 w 585264"/>
              <a:gd name="connsiteY149" fmla="*/ 94836 h 110081"/>
              <a:gd name="connsiteX150" fmla="*/ 566715 w 585264"/>
              <a:gd name="connsiteY150" fmla="*/ 106224 h 110081"/>
              <a:gd name="connsiteX151" fmla="*/ 546858 w 585264"/>
              <a:gd name="connsiteY151" fmla="*/ 110082 h 110081"/>
              <a:gd name="connsiteX152" fmla="*/ 516355 w 585264"/>
              <a:gd name="connsiteY152" fmla="*/ 100997 h 110081"/>
              <a:gd name="connsiteX153" fmla="*/ 516355 w 585264"/>
              <a:gd name="connsiteY153" fmla="*/ 86062 h 110081"/>
              <a:gd name="connsiteX154" fmla="*/ 530113 w 585264"/>
              <a:gd name="connsiteY154" fmla="*/ 94711 h 110081"/>
              <a:gd name="connsiteX155" fmla="*/ 546982 w 585264"/>
              <a:gd name="connsiteY155" fmla="*/ 97823 h 110081"/>
              <a:gd name="connsiteX156" fmla="*/ 564350 w 585264"/>
              <a:gd name="connsiteY156" fmla="*/ 92596 h 110081"/>
              <a:gd name="connsiteX157" fmla="*/ 570760 w 585264"/>
              <a:gd name="connsiteY157" fmla="*/ 77972 h 110081"/>
              <a:gd name="connsiteX158" fmla="*/ 564909 w 585264"/>
              <a:gd name="connsiteY158" fmla="*/ 64095 h 110081"/>
              <a:gd name="connsiteX159" fmla="*/ 547292 w 585264"/>
              <a:gd name="connsiteY159" fmla="*/ 58992 h 110081"/>
              <a:gd name="connsiteX160" fmla="*/ 533536 w 585264"/>
              <a:gd name="connsiteY160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585264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189984" y="1493"/>
                </a:moveTo>
                <a:lnTo>
                  <a:pt x="255408" y="1493"/>
                </a:lnTo>
                <a:lnTo>
                  <a:pt x="255408" y="14374"/>
                </a:lnTo>
                <a:lnTo>
                  <a:pt x="203990" y="14374"/>
                </a:lnTo>
                <a:lnTo>
                  <a:pt x="203990" y="49907"/>
                </a:lnTo>
                <a:lnTo>
                  <a:pt x="247627" y="49907"/>
                </a:lnTo>
                <a:lnTo>
                  <a:pt x="247627" y="62601"/>
                </a:lnTo>
                <a:lnTo>
                  <a:pt x="203990" y="62601"/>
                </a:lnTo>
                <a:lnTo>
                  <a:pt x="203990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3713" y="110082"/>
                </a:moveTo>
                <a:cubicBezTo>
                  <a:pt x="296927" y="110082"/>
                  <a:pt x="290889" y="108153"/>
                  <a:pt x="285474" y="104233"/>
                </a:cubicBezTo>
                <a:cubicBezTo>
                  <a:pt x="280120" y="100374"/>
                  <a:pt x="275888" y="94400"/>
                  <a:pt x="272775" y="86311"/>
                </a:cubicBezTo>
                <a:cubicBezTo>
                  <a:pt x="269788" y="78159"/>
                  <a:pt x="268294" y="67705"/>
                  <a:pt x="268294" y="54947"/>
                </a:cubicBezTo>
                <a:cubicBezTo>
                  <a:pt x="268294" y="42128"/>
                  <a:pt x="269788" y="31674"/>
                  <a:pt x="272775" y="23584"/>
                </a:cubicBezTo>
                <a:cubicBezTo>
                  <a:pt x="275888" y="15557"/>
                  <a:pt x="280120" y="9645"/>
                  <a:pt x="285474" y="5849"/>
                </a:cubicBezTo>
                <a:cubicBezTo>
                  <a:pt x="290889" y="2053"/>
                  <a:pt x="296927" y="186"/>
                  <a:pt x="303713" y="186"/>
                </a:cubicBezTo>
                <a:cubicBezTo>
                  <a:pt x="310499" y="186"/>
                  <a:pt x="316537" y="2053"/>
                  <a:pt x="321764" y="5849"/>
                </a:cubicBezTo>
                <a:cubicBezTo>
                  <a:pt x="327056" y="9645"/>
                  <a:pt x="331226" y="15557"/>
                  <a:pt x="334214" y="23584"/>
                </a:cubicBezTo>
                <a:cubicBezTo>
                  <a:pt x="337202" y="31549"/>
                  <a:pt x="338698" y="41942"/>
                  <a:pt x="338698" y="54698"/>
                </a:cubicBezTo>
                <a:cubicBezTo>
                  <a:pt x="338698" y="67331"/>
                  <a:pt x="337202" y="77786"/>
                  <a:pt x="334214" y="86062"/>
                </a:cubicBezTo>
                <a:cubicBezTo>
                  <a:pt x="331226" y="94213"/>
                  <a:pt x="327056" y="100250"/>
                  <a:pt x="321764" y="104233"/>
                </a:cubicBezTo>
                <a:cubicBezTo>
                  <a:pt x="316537" y="108153"/>
                  <a:pt x="310499" y="110082"/>
                  <a:pt x="303713" y="110082"/>
                </a:cubicBezTo>
                <a:close/>
                <a:moveTo>
                  <a:pt x="303588" y="98258"/>
                </a:moveTo>
                <a:cubicBezTo>
                  <a:pt x="308070" y="98258"/>
                  <a:pt x="311806" y="96952"/>
                  <a:pt x="314918" y="94275"/>
                </a:cubicBezTo>
                <a:cubicBezTo>
                  <a:pt x="318093" y="91475"/>
                  <a:pt x="320520" y="86933"/>
                  <a:pt x="322076" y="80648"/>
                </a:cubicBezTo>
                <a:cubicBezTo>
                  <a:pt x="323757" y="74300"/>
                  <a:pt x="324629" y="65775"/>
                  <a:pt x="324629" y="55134"/>
                </a:cubicBezTo>
                <a:cubicBezTo>
                  <a:pt x="324629" y="44493"/>
                  <a:pt x="323819" y="36030"/>
                  <a:pt x="322263" y="29745"/>
                </a:cubicBezTo>
                <a:cubicBezTo>
                  <a:pt x="320644" y="23336"/>
                  <a:pt x="318280" y="18855"/>
                  <a:pt x="315043" y="16117"/>
                </a:cubicBezTo>
                <a:cubicBezTo>
                  <a:pt x="311992" y="13379"/>
                  <a:pt x="308195" y="11947"/>
                  <a:pt x="303713" y="11947"/>
                </a:cubicBezTo>
                <a:cubicBezTo>
                  <a:pt x="299231" y="11947"/>
                  <a:pt x="295371" y="13379"/>
                  <a:pt x="292196" y="16117"/>
                </a:cubicBezTo>
                <a:cubicBezTo>
                  <a:pt x="289021" y="18855"/>
                  <a:pt x="286594" y="23336"/>
                  <a:pt x="284914" y="29745"/>
                </a:cubicBezTo>
                <a:cubicBezTo>
                  <a:pt x="283170" y="36030"/>
                  <a:pt x="282362" y="44493"/>
                  <a:pt x="282362" y="55134"/>
                </a:cubicBezTo>
                <a:cubicBezTo>
                  <a:pt x="282362" y="65775"/>
                  <a:pt x="283170" y="74300"/>
                  <a:pt x="284727" y="80648"/>
                </a:cubicBezTo>
                <a:cubicBezTo>
                  <a:pt x="286407" y="86933"/>
                  <a:pt x="288898" y="91475"/>
                  <a:pt x="292072" y="94275"/>
                </a:cubicBezTo>
                <a:cubicBezTo>
                  <a:pt x="295246" y="96952"/>
                  <a:pt x="299107" y="98258"/>
                  <a:pt x="303588" y="98258"/>
                </a:cubicBezTo>
                <a:close/>
                <a:moveTo>
                  <a:pt x="385819" y="110082"/>
                </a:moveTo>
                <a:cubicBezTo>
                  <a:pt x="379097" y="110082"/>
                  <a:pt x="372995" y="108153"/>
                  <a:pt x="367643" y="104233"/>
                </a:cubicBezTo>
                <a:cubicBezTo>
                  <a:pt x="362226" y="100374"/>
                  <a:pt x="357994" y="94400"/>
                  <a:pt x="354944" y="86311"/>
                </a:cubicBezTo>
                <a:cubicBezTo>
                  <a:pt x="351956" y="78159"/>
                  <a:pt x="350462" y="67705"/>
                  <a:pt x="350462" y="54947"/>
                </a:cubicBezTo>
                <a:cubicBezTo>
                  <a:pt x="350462" y="42128"/>
                  <a:pt x="351956" y="31674"/>
                  <a:pt x="354944" y="23584"/>
                </a:cubicBezTo>
                <a:cubicBezTo>
                  <a:pt x="357994" y="15557"/>
                  <a:pt x="362226" y="9645"/>
                  <a:pt x="367643" y="5849"/>
                </a:cubicBezTo>
                <a:cubicBezTo>
                  <a:pt x="372995" y="2053"/>
                  <a:pt x="379097" y="186"/>
                  <a:pt x="385819" y="186"/>
                </a:cubicBezTo>
                <a:cubicBezTo>
                  <a:pt x="392605" y="186"/>
                  <a:pt x="398643" y="2053"/>
                  <a:pt x="403934" y="5849"/>
                </a:cubicBezTo>
                <a:cubicBezTo>
                  <a:pt x="409225" y="9645"/>
                  <a:pt x="413334" y="15557"/>
                  <a:pt x="416322" y="23584"/>
                </a:cubicBezTo>
                <a:cubicBezTo>
                  <a:pt x="419310" y="31549"/>
                  <a:pt x="420804" y="41942"/>
                  <a:pt x="420804" y="54698"/>
                </a:cubicBezTo>
                <a:cubicBezTo>
                  <a:pt x="420804" y="67331"/>
                  <a:pt x="419310" y="77786"/>
                  <a:pt x="416322" y="86062"/>
                </a:cubicBezTo>
                <a:cubicBezTo>
                  <a:pt x="413334" y="94213"/>
                  <a:pt x="409225" y="100250"/>
                  <a:pt x="403934" y="104233"/>
                </a:cubicBezTo>
                <a:cubicBezTo>
                  <a:pt x="398643" y="108153"/>
                  <a:pt x="392605" y="110082"/>
                  <a:pt x="385819" y="110082"/>
                </a:cubicBezTo>
                <a:close/>
                <a:moveTo>
                  <a:pt x="385694" y="98258"/>
                </a:moveTo>
                <a:cubicBezTo>
                  <a:pt x="390176" y="98258"/>
                  <a:pt x="393974" y="96952"/>
                  <a:pt x="397024" y="94275"/>
                </a:cubicBezTo>
                <a:cubicBezTo>
                  <a:pt x="400261" y="91475"/>
                  <a:pt x="402626" y="86933"/>
                  <a:pt x="404244" y="80648"/>
                </a:cubicBezTo>
                <a:cubicBezTo>
                  <a:pt x="405925" y="74300"/>
                  <a:pt x="406735" y="65775"/>
                  <a:pt x="406735" y="55134"/>
                </a:cubicBezTo>
                <a:cubicBezTo>
                  <a:pt x="406735" y="44493"/>
                  <a:pt x="405987" y="36030"/>
                  <a:pt x="404369" y="29745"/>
                </a:cubicBezTo>
                <a:cubicBezTo>
                  <a:pt x="402750" y="23336"/>
                  <a:pt x="400386" y="18855"/>
                  <a:pt x="397211" y="16117"/>
                </a:cubicBezTo>
                <a:cubicBezTo>
                  <a:pt x="394098" y="13379"/>
                  <a:pt x="390301" y="11947"/>
                  <a:pt x="385819" y="11947"/>
                </a:cubicBezTo>
                <a:cubicBezTo>
                  <a:pt x="381337" y="11947"/>
                  <a:pt x="377541" y="13379"/>
                  <a:pt x="374366" y="16117"/>
                </a:cubicBezTo>
                <a:cubicBezTo>
                  <a:pt x="371129" y="18855"/>
                  <a:pt x="368700" y="23336"/>
                  <a:pt x="367020" y="29745"/>
                </a:cubicBezTo>
                <a:cubicBezTo>
                  <a:pt x="365339" y="36030"/>
                  <a:pt x="364468" y="44493"/>
                  <a:pt x="364468" y="55134"/>
                </a:cubicBezTo>
                <a:cubicBezTo>
                  <a:pt x="364468" y="65775"/>
                  <a:pt x="365276" y="74300"/>
                  <a:pt x="366895" y="80648"/>
                </a:cubicBezTo>
                <a:cubicBezTo>
                  <a:pt x="368576" y="86933"/>
                  <a:pt x="371004" y="91475"/>
                  <a:pt x="374179" y="94275"/>
                </a:cubicBezTo>
                <a:cubicBezTo>
                  <a:pt x="377354" y="96952"/>
                  <a:pt x="381213" y="98258"/>
                  <a:pt x="385694" y="98258"/>
                </a:cubicBezTo>
                <a:close/>
                <a:moveTo>
                  <a:pt x="502224" y="13628"/>
                </a:moveTo>
                <a:lnTo>
                  <a:pt x="456784" y="108588"/>
                </a:lnTo>
                <a:lnTo>
                  <a:pt x="442154" y="108588"/>
                </a:lnTo>
                <a:lnTo>
                  <a:pt x="487846" y="14374"/>
                </a:lnTo>
                <a:lnTo>
                  <a:pt x="433316" y="14374"/>
                </a:lnTo>
                <a:lnTo>
                  <a:pt x="433316" y="1493"/>
                </a:lnTo>
                <a:lnTo>
                  <a:pt x="502224" y="1493"/>
                </a:lnTo>
                <a:lnTo>
                  <a:pt x="502224" y="13628"/>
                </a:lnTo>
                <a:close/>
                <a:moveTo>
                  <a:pt x="533536" y="58992"/>
                </a:moveTo>
                <a:lnTo>
                  <a:pt x="533536" y="46298"/>
                </a:lnTo>
                <a:lnTo>
                  <a:pt x="547915" y="46298"/>
                </a:lnTo>
                <a:cubicBezTo>
                  <a:pt x="553456" y="46298"/>
                  <a:pt x="558000" y="44804"/>
                  <a:pt x="561485" y="41817"/>
                </a:cubicBezTo>
                <a:cubicBezTo>
                  <a:pt x="565096" y="38768"/>
                  <a:pt x="566839" y="34412"/>
                  <a:pt x="566839" y="28812"/>
                </a:cubicBezTo>
                <a:cubicBezTo>
                  <a:pt x="566839" y="23771"/>
                  <a:pt x="565221" y="19788"/>
                  <a:pt x="561921" y="16864"/>
                </a:cubicBezTo>
                <a:cubicBezTo>
                  <a:pt x="558622" y="13877"/>
                  <a:pt x="553891" y="12383"/>
                  <a:pt x="547728" y="12383"/>
                </a:cubicBezTo>
                <a:cubicBezTo>
                  <a:pt x="542563" y="12383"/>
                  <a:pt x="537707" y="13379"/>
                  <a:pt x="533101" y="15246"/>
                </a:cubicBezTo>
                <a:cubicBezTo>
                  <a:pt x="528618" y="17113"/>
                  <a:pt x="523949" y="20162"/>
                  <a:pt x="519033" y="24331"/>
                </a:cubicBezTo>
                <a:lnTo>
                  <a:pt x="519033" y="9707"/>
                </a:lnTo>
                <a:cubicBezTo>
                  <a:pt x="527001" y="3235"/>
                  <a:pt x="536648" y="0"/>
                  <a:pt x="547915" y="0"/>
                </a:cubicBezTo>
                <a:cubicBezTo>
                  <a:pt x="558125" y="0"/>
                  <a:pt x="566154" y="2613"/>
                  <a:pt x="571944" y="7779"/>
                </a:cubicBezTo>
                <a:cubicBezTo>
                  <a:pt x="577795" y="12943"/>
                  <a:pt x="580783" y="19726"/>
                  <a:pt x="580783" y="28065"/>
                </a:cubicBezTo>
                <a:cubicBezTo>
                  <a:pt x="580783" y="34848"/>
                  <a:pt x="578853" y="40262"/>
                  <a:pt x="575057" y="44244"/>
                </a:cubicBezTo>
                <a:cubicBezTo>
                  <a:pt x="571383" y="48227"/>
                  <a:pt x="566964" y="50840"/>
                  <a:pt x="561797" y="52147"/>
                </a:cubicBezTo>
                <a:cubicBezTo>
                  <a:pt x="565967" y="52707"/>
                  <a:pt x="569827" y="54201"/>
                  <a:pt x="573313" y="56441"/>
                </a:cubicBezTo>
                <a:cubicBezTo>
                  <a:pt x="576861" y="58681"/>
                  <a:pt x="579788" y="61543"/>
                  <a:pt x="581965" y="65153"/>
                </a:cubicBezTo>
                <a:cubicBezTo>
                  <a:pt x="584145" y="68700"/>
                  <a:pt x="585265" y="72869"/>
                  <a:pt x="585265" y="77661"/>
                </a:cubicBezTo>
                <a:cubicBezTo>
                  <a:pt x="585265" y="84257"/>
                  <a:pt x="583584" y="89982"/>
                  <a:pt x="580285" y="94836"/>
                </a:cubicBezTo>
                <a:cubicBezTo>
                  <a:pt x="577047" y="99752"/>
                  <a:pt x="572503" y="103486"/>
                  <a:pt x="566715" y="106224"/>
                </a:cubicBezTo>
                <a:cubicBezTo>
                  <a:pt x="561051" y="108775"/>
                  <a:pt x="554390" y="110082"/>
                  <a:pt x="546858" y="110082"/>
                </a:cubicBezTo>
                <a:cubicBezTo>
                  <a:pt x="533722" y="110082"/>
                  <a:pt x="523514" y="107033"/>
                  <a:pt x="516355" y="100997"/>
                </a:cubicBezTo>
                <a:lnTo>
                  <a:pt x="516355" y="86062"/>
                </a:lnTo>
                <a:cubicBezTo>
                  <a:pt x="520153" y="89733"/>
                  <a:pt x="524759" y="92596"/>
                  <a:pt x="530113" y="94711"/>
                </a:cubicBezTo>
                <a:cubicBezTo>
                  <a:pt x="535466" y="96765"/>
                  <a:pt x="541130" y="97823"/>
                  <a:pt x="546982" y="97823"/>
                </a:cubicBezTo>
                <a:cubicBezTo>
                  <a:pt x="554390" y="97823"/>
                  <a:pt x="560116" y="96080"/>
                  <a:pt x="564350" y="92596"/>
                </a:cubicBezTo>
                <a:cubicBezTo>
                  <a:pt x="568582" y="89048"/>
                  <a:pt x="570760" y="84132"/>
                  <a:pt x="570760" y="77972"/>
                </a:cubicBezTo>
                <a:cubicBezTo>
                  <a:pt x="570760" y="71998"/>
                  <a:pt x="568832" y="67393"/>
                  <a:pt x="564909" y="64095"/>
                </a:cubicBezTo>
                <a:cubicBezTo>
                  <a:pt x="561113" y="60673"/>
                  <a:pt x="555260" y="58992"/>
                  <a:pt x="547292" y="58992"/>
                </a:cubicBezTo>
                <a:lnTo>
                  <a:pt x="533536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0" name="Полилиния 929">
            <a:extLst>
              <a:ext uri="{FF2B5EF4-FFF2-40B4-BE49-F238E27FC236}">
                <a16:creationId xmlns:a16="http://schemas.microsoft.com/office/drawing/2014/main" id="{6A5D5B99-ECE6-C76F-6F5C-7E6977FBFD2F}"/>
              </a:ext>
            </a:extLst>
          </p:cNvPr>
          <p:cNvSpPr/>
          <p:nvPr userDrawn="1"/>
        </p:nvSpPr>
        <p:spPr>
          <a:xfrm>
            <a:off x="6844904" y="5240073"/>
            <a:ext cx="2557159" cy="726227"/>
          </a:xfrm>
          <a:custGeom>
            <a:avLst/>
            <a:gdLst>
              <a:gd name="connsiteX0" fmla="*/ 2232 w 2191162"/>
              <a:gd name="connsiteY0" fmla="*/ 1222 h 622284"/>
              <a:gd name="connsiteX1" fmla="*/ 2193395 w 2191162"/>
              <a:gd name="connsiteY1" fmla="*/ 1222 h 622284"/>
              <a:gd name="connsiteX2" fmla="*/ 2193395 w 2191162"/>
              <a:gd name="connsiteY2" fmla="*/ 623506 h 622284"/>
              <a:gd name="connsiteX3" fmla="*/ 2232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222"/>
                </a:moveTo>
                <a:lnTo>
                  <a:pt x="2193395" y="1222"/>
                </a:lnTo>
                <a:lnTo>
                  <a:pt x="2193395" y="623506"/>
                </a:lnTo>
                <a:lnTo>
                  <a:pt x="2232" y="623506"/>
                </a:lnTo>
                <a:close/>
              </a:path>
            </a:pathLst>
          </a:custGeom>
          <a:solidFill>
            <a:srgbClr val="1E00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1" name="Полилиния 930">
            <a:extLst>
              <a:ext uri="{FF2B5EF4-FFF2-40B4-BE49-F238E27FC236}">
                <a16:creationId xmlns:a16="http://schemas.microsoft.com/office/drawing/2014/main" id="{97476D91-0EE6-BB08-78A7-0A8D5AB92DF9}"/>
              </a:ext>
            </a:extLst>
          </p:cNvPr>
          <p:cNvSpPr/>
          <p:nvPr userDrawn="1"/>
        </p:nvSpPr>
        <p:spPr>
          <a:xfrm>
            <a:off x="6968113" y="5541820"/>
            <a:ext cx="689851" cy="128468"/>
          </a:xfrm>
          <a:custGeom>
            <a:avLst/>
            <a:gdLst>
              <a:gd name="connsiteX0" fmla="*/ 22099 w 591115"/>
              <a:gd name="connsiteY0" fmla="*/ 108588 h 110081"/>
              <a:gd name="connsiteX1" fmla="*/ 10147 w 591115"/>
              <a:gd name="connsiteY1" fmla="*/ 108588 h 110081"/>
              <a:gd name="connsiteX2" fmla="*/ 16435 w 591115"/>
              <a:gd name="connsiteY2" fmla="*/ 77661 h 110081"/>
              <a:gd name="connsiteX3" fmla="*/ 0 w 591115"/>
              <a:gd name="connsiteY3" fmla="*/ 77661 h 110081"/>
              <a:gd name="connsiteX4" fmla="*/ 0 w 591115"/>
              <a:gd name="connsiteY4" fmla="*/ 67206 h 110081"/>
              <a:gd name="connsiteX5" fmla="*/ 18675 w 591115"/>
              <a:gd name="connsiteY5" fmla="*/ 67206 h 110081"/>
              <a:gd name="connsiteX6" fmla="*/ 24216 w 591115"/>
              <a:gd name="connsiteY6" fmla="*/ 40012 h 110081"/>
              <a:gd name="connsiteX7" fmla="*/ 4047 w 591115"/>
              <a:gd name="connsiteY7" fmla="*/ 40012 h 110081"/>
              <a:gd name="connsiteX8" fmla="*/ 4047 w 591115"/>
              <a:gd name="connsiteY8" fmla="*/ 29559 h 110081"/>
              <a:gd name="connsiteX9" fmla="*/ 26269 w 591115"/>
              <a:gd name="connsiteY9" fmla="*/ 29559 h 110081"/>
              <a:gd name="connsiteX10" fmla="*/ 32121 w 591115"/>
              <a:gd name="connsiteY10" fmla="*/ 1493 h 110081"/>
              <a:gd name="connsiteX11" fmla="*/ 44073 w 591115"/>
              <a:gd name="connsiteY11" fmla="*/ 1493 h 110081"/>
              <a:gd name="connsiteX12" fmla="*/ 38222 w 591115"/>
              <a:gd name="connsiteY12" fmla="*/ 29559 h 110081"/>
              <a:gd name="connsiteX13" fmla="*/ 60630 w 591115"/>
              <a:gd name="connsiteY13" fmla="*/ 29559 h 110081"/>
              <a:gd name="connsiteX14" fmla="*/ 66481 w 591115"/>
              <a:gd name="connsiteY14" fmla="*/ 1493 h 110081"/>
              <a:gd name="connsiteX15" fmla="*/ 78434 w 591115"/>
              <a:gd name="connsiteY15" fmla="*/ 1493 h 110081"/>
              <a:gd name="connsiteX16" fmla="*/ 72583 w 591115"/>
              <a:gd name="connsiteY16" fmla="*/ 29559 h 110081"/>
              <a:gd name="connsiteX17" fmla="*/ 89328 w 591115"/>
              <a:gd name="connsiteY17" fmla="*/ 29559 h 110081"/>
              <a:gd name="connsiteX18" fmla="*/ 89328 w 591115"/>
              <a:gd name="connsiteY18" fmla="*/ 40012 h 110081"/>
              <a:gd name="connsiteX19" fmla="*/ 70529 w 591115"/>
              <a:gd name="connsiteY19" fmla="*/ 40012 h 110081"/>
              <a:gd name="connsiteX20" fmla="*/ 64988 w 591115"/>
              <a:gd name="connsiteY20" fmla="*/ 67206 h 110081"/>
              <a:gd name="connsiteX21" fmla="*/ 85281 w 591115"/>
              <a:gd name="connsiteY21" fmla="*/ 67206 h 110081"/>
              <a:gd name="connsiteX22" fmla="*/ 85281 w 591115"/>
              <a:gd name="connsiteY22" fmla="*/ 77661 h 110081"/>
              <a:gd name="connsiteX23" fmla="*/ 62747 w 591115"/>
              <a:gd name="connsiteY23" fmla="*/ 77661 h 110081"/>
              <a:gd name="connsiteX24" fmla="*/ 56460 w 591115"/>
              <a:gd name="connsiteY24" fmla="*/ 108588 h 110081"/>
              <a:gd name="connsiteX25" fmla="*/ 44509 w 591115"/>
              <a:gd name="connsiteY25" fmla="*/ 108588 h 110081"/>
              <a:gd name="connsiteX26" fmla="*/ 50796 w 591115"/>
              <a:gd name="connsiteY26" fmla="*/ 77661 h 110081"/>
              <a:gd name="connsiteX27" fmla="*/ 28386 w 591115"/>
              <a:gd name="connsiteY27" fmla="*/ 77661 h 110081"/>
              <a:gd name="connsiteX28" fmla="*/ 22099 w 591115"/>
              <a:gd name="connsiteY28" fmla="*/ 108588 h 110081"/>
              <a:gd name="connsiteX29" fmla="*/ 30626 w 591115"/>
              <a:gd name="connsiteY29" fmla="*/ 67206 h 110081"/>
              <a:gd name="connsiteX30" fmla="*/ 53036 w 591115"/>
              <a:gd name="connsiteY30" fmla="*/ 67206 h 110081"/>
              <a:gd name="connsiteX31" fmla="*/ 58577 w 591115"/>
              <a:gd name="connsiteY31" fmla="*/ 40012 h 110081"/>
              <a:gd name="connsiteX32" fmla="*/ 36167 w 591115"/>
              <a:gd name="connsiteY32" fmla="*/ 40012 h 110081"/>
              <a:gd name="connsiteX33" fmla="*/ 30626 w 591115"/>
              <a:gd name="connsiteY33" fmla="*/ 67206 h 110081"/>
              <a:gd name="connsiteX34" fmla="*/ 150829 w 591115"/>
              <a:gd name="connsiteY34" fmla="*/ 108588 h 110081"/>
              <a:gd name="connsiteX35" fmla="*/ 137259 w 591115"/>
              <a:gd name="connsiteY35" fmla="*/ 108588 h 110081"/>
              <a:gd name="connsiteX36" fmla="*/ 137259 w 591115"/>
              <a:gd name="connsiteY36" fmla="*/ 18357 h 110081"/>
              <a:gd name="connsiteX37" fmla="*/ 107691 w 591115"/>
              <a:gd name="connsiteY37" fmla="*/ 41071 h 110081"/>
              <a:gd name="connsiteX38" fmla="*/ 107691 w 591115"/>
              <a:gd name="connsiteY38" fmla="*/ 26011 h 110081"/>
              <a:gd name="connsiteX39" fmla="*/ 139501 w 591115"/>
              <a:gd name="connsiteY39" fmla="*/ 1493 h 110081"/>
              <a:gd name="connsiteX40" fmla="*/ 150829 w 591115"/>
              <a:gd name="connsiteY40" fmla="*/ 1493 h 110081"/>
              <a:gd name="connsiteX41" fmla="*/ 150829 w 591115"/>
              <a:gd name="connsiteY41" fmla="*/ 108588 h 110081"/>
              <a:gd name="connsiteX42" fmla="*/ 189984 w 591115"/>
              <a:gd name="connsiteY42" fmla="*/ 1493 h 110081"/>
              <a:gd name="connsiteX43" fmla="*/ 256278 w 591115"/>
              <a:gd name="connsiteY43" fmla="*/ 1493 h 110081"/>
              <a:gd name="connsiteX44" fmla="*/ 256278 w 591115"/>
              <a:gd name="connsiteY44" fmla="*/ 14374 h 110081"/>
              <a:gd name="connsiteX45" fmla="*/ 203990 w 591115"/>
              <a:gd name="connsiteY45" fmla="*/ 14374 h 110081"/>
              <a:gd name="connsiteX46" fmla="*/ 203990 w 591115"/>
              <a:gd name="connsiteY46" fmla="*/ 46734 h 110081"/>
              <a:gd name="connsiteX47" fmla="*/ 248374 w 591115"/>
              <a:gd name="connsiteY47" fmla="*/ 46734 h 110081"/>
              <a:gd name="connsiteX48" fmla="*/ 248374 w 591115"/>
              <a:gd name="connsiteY48" fmla="*/ 59428 h 110081"/>
              <a:gd name="connsiteX49" fmla="*/ 203990 w 591115"/>
              <a:gd name="connsiteY49" fmla="*/ 59428 h 110081"/>
              <a:gd name="connsiteX50" fmla="*/ 203990 w 591115"/>
              <a:gd name="connsiteY50" fmla="*/ 95893 h 110081"/>
              <a:gd name="connsiteX51" fmla="*/ 257026 w 591115"/>
              <a:gd name="connsiteY51" fmla="*/ 95893 h 110081"/>
              <a:gd name="connsiteX52" fmla="*/ 257026 w 591115"/>
              <a:gd name="connsiteY52" fmla="*/ 108588 h 110081"/>
              <a:gd name="connsiteX53" fmla="*/ 189984 w 591115"/>
              <a:gd name="connsiteY53" fmla="*/ 108588 h 110081"/>
              <a:gd name="connsiteX54" fmla="*/ 189984 w 591115"/>
              <a:gd name="connsiteY54" fmla="*/ 1493 h 110081"/>
              <a:gd name="connsiteX55" fmla="*/ 308070 w 591115"/>
              <a:gd name="connsiteY55" fmla="*/ 110082 h 110081"/>
              <a:gd name="connsiteX56" fmla="*/ 289831 w 591115"/>
              <a:gd name="connsiteY56" fmla="*/ 104233 h 110081"/>
              <a:gd name="connsiteX57" fmla="*/ 277132 w 591115"/>
              <a:gd name="connsiteY57" fmla="*/ 86311 h 110081"/>
              <a:gd name="connsiteX58" fmla="*/ 272651 w 591115"/>
              <a:gd name="connsiteY58" fmla="*/ 54947 h 110081"/>
              <a:gd name="connsiteX59" fmla="*/ 277132 w 591115"/>
              <a:gd name="connsiteY59" fmla="*/ 23584 h 110081"/>
              <a:gd name="connsiteX60" fmla="*/ 289831 w 591115"/>
              <a:gd name="connsiteY60" fmla="*/ 5849 h 110081"/>
              <a:gd name="connsiteX61" fmla="*/ 308070 w 591115"/>
              <a:gd name="connsiteY61" fmla="*/ 186 h 110081"/>
              <a:gd name="connsiteX62" fmla="*/ 326185 w 591115"/>
              <a:gd name="connsiteY62" fmla="*/ 5849 h 110081"/>
              <a:gd name="connsiteX63" fmla="*/ 338573 w 591115"/>
              <a:gd name="connsiteY63" fmla="*/ 23584 h 110081"/>
              <a:gd name="connsiteX64" fmla="*/ 343055 w 591115"/>
              <a:gd name="connsiteY64" fmla="*/ 54698 h 110081"/>
              <a:gd name="connsiteX65" fmla="*/ 338573 w 591115"/>
              <a:gd name="connsiteY65" fmla="*/ 86062 h 110081"/>
              <a:gd name="connsiteX66" fmla="*/ 326185 w 591115"/>
              <a:gd name="connsiteY66" fmla="*/ 104233 h 110081"/>
              <a:gd name="connsiteX67" fmla="*/ 308070 w 591115"/>
              <a:gd name="connsiteY67" fmla="*/ 110082 h 110081"/>
              <a:gd name="connsiteX68" fmla="*/ 307945 w 591115"/>
              <a:gd name="connsiteY68" fmla="*/ 98258 h 110081"/>
              <a:gd name="connsiteX69" fmla="*/ 319275 w 591115"/>
              <a:gd name="connsiteY69" fmla="*/ 94275 h 110081"/>
              <a:gd name="connsiteX70" fmla="*/ 326433 w 591115"/>
              <a:gd name="connsiteY70" fmla="*/ 80648 h 110081"/>
              <a:gd name="connsiteX71" fmla="*/ 328986 w 591115"/>
              <a:gd name="connsiteY71" fmla="*/ 55134 h 110081"/>
              <a:gd name="connsiteX72" fmla="*/ 326620 w 591115"/>
              <a:gd name="connsiteY72" fmla="*/ 29745 h 110081"/>
              <a:gd name="connsiteX73" fmla="*/ 319462 w 591115"/>
              <a:gd name="connsiteY73" fmla="*/ 16117 h 110081"/>
              <a:gd name="connsiteX74" fmla="*/ 308070 w 591115"/>
              <a:gd name="connsiteY74" fmla="*/ 11947 h 110081"/>
              <a:gd name="connsiteX75" fmla="*/ 296555 w 591115"/>
              <a:gd name="connsiteY75" fmla="*/ 16117 h 110081"/>
              <a:gd name="connsiteX76" fmla="*/ 289271 w 591115"/>
              <a:gd name="connsiteY76" fmla="*/ 29745 h 110081"/>
              <a:gd name="connsiteX77" fmla="*/ 286719 w 591115"/>
              <a:gd name="connsiteY77" fmla="*/ 55134 h 110081"/>
              <a:gd name="connsiteX78" fmla="*/ 289084 w 591115"/>
              <a:gd name="connsiteY78" fmla="*/ 80648 h 110081"/>
              <a:gd name="connsiteX79" fmla="*/ 296430 w 591115"/>
              <a:gd name="connsiteY79" fmla="*/ 94275 h 110081"/>
              <a:gd name="connsiteX80" fmla="*/ 307945 w 591115"/>
              <a:gd name="connsiteY80" fmla="*/ 98258 h 110081"/>
              <a:gd name="connsiteX81" fmla="*/ 390238 w 591115"/>
              <a:gd name="connsiteY81" fmla="*/ 110082 h 110081"/>
              <a:gd name="connsiteX82" fmla="*/ 372000 w 591115"/>
              <a:gd name="connsiteY82" fmla="*/ 104233 h 110081"/>
              <a:gd name="connsiteX83" fmla="*/ 359301 w 591115"/>
              <a:gd name="connsiteY83" fmla="*/ 86311 h 110081"/>
              <a:gd name="connsiteX84" fmla="*/ 354819 w 591115"/>
              <a:gd name="connsiteY84" fmla="*/ 54947 h 110081"/>
              <a:gd name="connsiteX85" fmla="*/ 359301 w 591115"/>
              <a:gd name="connsiteY85" fmla="*/ 23584 h 110081"/>
              <a:gd name="connsiteX86" fmla="*/ 372000 w 591115"/>
              <a:gd name="connsiteY86" fmla="*/ 5849 h 110081"/>
              <a:gd name="connsiteX87" fmla="*/ 390238 w 591115"/>
              <a:gd name="connsiteY87" fmla="*/ 186 h 110081"/>
              <a:gd name="connsiteX88" fmla="*/ 408291 w 591115"/>
              <a:gd name="connsiteY88" fmla="*/ 5849 h 110081"/>
              <a:gd name="connsiteX89" fmla="*/ 420679 w 591115"/>
              <a:gd name="connsiteY89" fmla="*/ 23584 h 110081"/>
              <a:gd name="connsiteX90" fmla="*/ 425161 w 591115"/>
              <a:gd name="connsiteY90" fmla="*/ 54698 h 110081"/>
              <a:gd name="connsiteX91" fmla="*/ 420679 w 591115"/>
              <a:gd name="connsiteY91" fmla="*/ 86062 h 110081"/>
              <a:gd name="connsiteX92" fmla="*/ 408291 w 591115"/>
              <a:gd name="connsiteY92" fmla="*/ 104233 h 110081"/>
              <a:gd name="connsiteX93" fmla="*/ 390238 w 591115"/>
              <a:gd name="connsiteY93" fmla="*/ 110082 h 110081"/>
              <a:gd name="connsiteX94" fmla="*/ 390053 w 591115"/>
              <a:gd name="connsiteY94" fmla="*/ 98258 h 110081"/>
              <a:gd name="connsiteX95" fmla="*/ 401443 w 591115"/>
              <a:gd name="connsiteY95" fmla="*/ 94275 h 110081"/>
              <a:gd name="connsiteX96" fmla="*/ 408603 w 591115"/>
              <a:gd name="connsiteY96" fmla="*/ 80648 h 110081"/>
              <a:gd name="connsiteX97" fmla="*/ 411155 w 591115"/>
              <a:gd name="connsiteY97" fmla="*/ 55134 h 110081"/>
              <a:gd name="connsiteX98" fmla="*/ 408728 w 591115"/>
              <a:gd name="connsiteY98" fmla="*/ 29745 h 110081"/>
              <a:gd name="connsiteX99" fmla="*/ 401568 w 591115"/>
              <a:gd name="connsiteY99" fmla="*/ 16117 h 110081"/>
              <a:gd name="connsiteX100" fmla="*/ 390238 w 591115"/>
              <a:gd name="connsiteY100" fmla="*/ 11947 h 110081"/>
              <a:gd name="connsiteX101" fmla="*/ 378723 w 591115"/>
              <a:gd name="connsiteY101" fmla="*/ 16117 h 110081"/>
              <a:gd name="connsiteX102" fmla="*/ 371378 w 591115"/>
              <a:gd name="connsiteY102" fmla="*/ 29745 h 110081"/>
              <a:gd name="connsiteX103" fmla="*/ 368887 w 591115"/>
              <a:gd name="connsiteY103" fmla="*/ 55134 h 110081"/>
              <a:gd name="connsiteX104" fmla="*/ 371254 w 591115"/>
              <a:gd name="connsiteY104" fmla="*/ 80648 h 110081"/>
              <a:gd name="connsiteX105" fmla="*/ 378599 w 591115"/>
              <a:gd name="connsiteY105" fmla="*/ 94275 h 110081"/>
              <a:gd name="connsiteX106" fmla="*/ 390053 w 591115"/>
              <a:gd name="connsiteY106" fmla="*/ 98258 h 110081"/>
              <a:gd name="connsiteX107" fmla="*/ 435930 w 591115"/>
              <a:gd name="connsiteY107" fmla="*/ 35844 h 110081"/>
              <a:gd name="connsiteX108" fmla="*/ 440536 w 591115"/>
              <a:gd name="connsiteY108" fmla="*/ 17051 h 110081"/>
              <a:gd name="connsiteX109" fmla="*/ 453422 w 591115"/>
              <a:gd name="connsiteY109" fmla="*/ 4480 h 110081"/>
              <a:gd name="connsiteX110" fmla="*/ 471473 w 591115"/>
              <a:gd name="connsiteY110" fmla="*/ 0 h 110081"/>
              <a:gd name="connsiteX111" fmla="*/ 493136 w 591115"/>
              <a:gd name="connsiteY111" fmla="*/ 5849 h 110081"/>
              <a:gd name="connsiteX112" fmla="*/ 505213 w 591115"/>
              <a:gd name="connsiteY112" fmla="*/ 21842 h 110081"/>
              <a:gd name="connsiteX113" fmla="*/ 508947 w 591115"/>
              <a:gd name="connsiteY113" fmla="*/ 45426 h 110081"/>
              <a:gd name="connsiteX114" fmla="*/ 504341 w 591115"/>
              <a:gd name="connsiteY114" fmla="*/ 80088 h 110081"/>
              <a:gd name="connsiteX115" fmla="*/ 490024 w 591115"/>
              <a:gd name="connsiteY115" fmla="*/ 102303 h 110081"/>
              <a:gd name="connsiteX116" fmla="*/ 465498 w 591115"/>
              <a:gd name="connsiteY116" fmla="*/ 110082 h 110081"/>
              <a:gd name="connsiteX117" fmla="*/ 442466 w 591115"/>
              <a:gd name="connsiteY117" fmla="*/ 104543 h 110081"/>
              <a:gd name="connsiteX118" fmla="*/ 442466 w 591115"/>
              <a:gd name="connsiteY118" fmla="*/ 91413 h 110081"/>
              <a:gd name="connsiteX119" fmla="*/ 465498 w 591115"/>
              <a:gd name="connsiteY119" fmla="*/ 98010 h 110081"/>
              <a:gd name="connsiteX120" fmla="*/ 481060 w 591115"/>
              <a:gd name="connsiteY120" fmla="*/ 92907 h 110081"/>
              <a:gd name="connsiteX121" fmla="*/ 490771 w 591115"/>
              <a:gd name="connsiteY121" fmla="*/ 79154 h 110081"/>
              <a:gd name="connsiteX122" fmla="*/ 495066 w 591115"/>
              <a:gd name="connsiteY122" fmla="*/ 59739 h 110081"/>
              <a:gd name="connsiteX123" fmla="*/ 484048 w 591115"/>
              <a:gd name="connsiteY123" fmla="*/ 68389 h 110081"/>
              <a:gd name="connsiteX124" fmla="*/ 470104 w 591115"/>
              <a:gd name="connsiteY124" fmla="*/ 71127 h 110081"/>
              <a:gd name="connsiteX125" fmla="*/ 452799 w 591115"/>
              <a:gd name="connsiteY125" fmla="*/ 67082 h 110081"/>
              <a:gd name="connsiteX126" fmla="*/ 440411 w 591115"/>
              <a:gd name="connsiteY126" fmla="*/ 55134 h 110081"/>
              <a:gd name="connsiteX127" fmla="*/ 435930 w 591115"/>
              <a:gd name="connsiteY127" fmla="*/ 35844 h 110081"/>
              <a:gd name="connsiteX128" fmla="*/ 471910 w 591115"/>
              <a:gd name="connsiteY128" fmla="*/ 12134 h 110081"/>
              <a:gd name="connsiteX129" fmla="*/ 461141 w 591115"/>
              <a:gd name="connsiteY129" fmla="*/ 14810 h 110081"/>
              <a:gd name="connsiteX130" fmla="*/ 453110 w 591115"/>
              <a:gd name="connsiteY130" fmla="*/ 22589 h 110081"/>
              <a:gd name="connsiteX131" fmla="*/ 450123 w 591115"/>
              <a:gd name="connsiteY131" fmla="*/ 35532 h 110081"/>
              <a:gd name="connsiteX132" fmla="*/ 453110 w 591115"/>
              <a:gd name="connsiteY132" fmla="*/ 48725 h 110081"/>
              <a:gd name="connsiteX133" fmla="*/ 460705 w 591115"/>
              <a:gd name="connsiteY133" fmla="*/ 56752 h 110081"/>
              <a:gd name="connsiteX134" fmla="*/ 470416 w 591115"/>
              <a:gd name="connsiteY134" fmla="*/ 59428 h 110081"/>
              <a:gd name="connsiteX135" fmla="*/ 486849 w 591115"/>
              <a:gd name="connsiteY135" fmla="*/ 53329 h 110081"/>
              <a:gd name="connsiteX136" fmla="*/ 493572 w 591115"/>
              <a:gd name="connsiteY136" fmla="*/ 35283 h 110081"/>
              <a:gd name="connsiteX137" fmla="*/ 487783 w 591115"/>
              <a:gd name="connsiteY137" fmla="*/ 18544 h 110081"/>
              <a:gd name="connsiteX138" fmla="*/ 471910 w 591115"/>
              <a:gd name="connsiteY138" fmla="*/ 12134 h 110081"/>
              <a:gd name="connsiteX139" fmla="*/ 591116 w 591115"/>
              <a:gd name="connsiteY139" fmla="*/ 73491 h 110081"/>
              <a:gd name="connsiteX140" fmla="*/ 586323 w 591115"/>
              <a:gd name="connsiteY140" fmla="*/ 92782 h 110081"/>
              <a:gd name="connsiteX141" fmla="*/ 573625 w 591115"/>
              <a:gd name="connsiteY141" fmla="*/ 105601 h 110081"/>
              <a:gd name="connsiteX142" fmla="*/ 555572 w 591115"/>
              <a:gd name="connsiteY142" fmla="*/ 110082 h 110081"/>
              <a:gd name="connsiteX143" fmla="*/ 533909 w 591115"/>
              <a:gd name="connsiteY143" fmla="*/ 104108 h 110081"/>
              <a:gd name="connsiteX144" fmla="*/ 521771 w 591115"/>
              <a:gd name="connsiteY144" fmla="*/ 87555 h 110081"/>
              <a:gd name="connsiteX145" fmla="*/ 518036 w 591115"/>
              <a:gd name="connsiteY145" fmla="*/ 63161 h 110081"/>
              <a:gd name="connsiteX146" fmla="*/ 522517 w 591115"/>
              <a:gd name="connsiteY146" fmla="*/ 30181 h 110081"/>
              <a:gd name="connsiteX147" fmla="*/ 536586 w 591115"/>
              <a:gd name="connsiteY147" fmla="*/ 8089 h 110081"/>
              <a:gd name="connsiteX148" fmla="*/ 561051 w 591115"/>
              <a:gd name="connsiteY148" fmla="*/ 0 h 110081"/>
              <a:gd name="connsiteX149" fmla="*/ 583646 w 591115"/>
              <a:gd name="connsiteY149" fmla="*/ 5538 h 110081"/>
              <a:gd name="connsiteX150" fmla="*/ 583646 w 591115"/>
              <a:gd name="connsiteY150" fmla="*/ 18855 h 110081"/>
              <a:gd name="connsiteX151" fmla="*/ 561051 w 591115"/>
              <a:gd name="connsiteY151" fmla="*/ 12259 h 110081"/>
              <a:gd name="connsiteX152" fmla="*/ 545551 w 591115"/>
              <a:gd name="connsiteY152" fmla="*/ 17361 h 110081"/>
              <a:gd name="connsiteX153" fmla="*/ 535653 w 591115"/>
              <a:gd name="connsiteY153" fmla="*/ 31238 h 110081"/>
              <a:gd name="connsiteX154" fmla="*/ 531482 w 591115"/>
              <a:gd name="connsiteY154" fmla="*/ 50778 h 110081"/>
              <a:gd name="connsiteX155" fmla="*/ 542873 w 591115"/>
              <a:gd name="connsiteY155" fmla="*/ 40759 h 110081"/>
              <a:gd name="connsiteX156" fmla="*/ 556879 w 591115"/>
              <a:gd name="connsiteY156" fmla="*/ 37523 h 110081"/>
              <a:gd name="connsiteX157" fmla="*/ 574247 w 591115"/>
              <a:gd name="connsiteY157" fmla="*/ 41693 h 110081"/>
              <a:gd name="connsiteX158" fmla="*/ 586447 w 591115"/>
              <a:gd name="connsiteY158" fmla="*/ 53952 h 110081"/>
              <a:gd name="connsiteX159" fmla="*/ 591116 w 591115"/>
              <a:gd name="connsiteY159" fmla="*/ 73491 h 110081"/>
              <a:gd name="connsiteX160" fmla="*/ 555073 w 591115"/>
              <a:gd name="connsiteY160" fmla="*/ 98134 h 110081"/>
              <a:gd name="connsiteX161" fmla="*/ 565844 w 591115"/>
              <a:gd name="connsiteY161" fmla="*/ 95458 h 110081"/>
              <a:gd name="connsiteX162" fmla="*/ 573748 w 591115"/>
              <a:gd name="connsiteY162" fmla="*/ 87244 h 110081"/>
              <a:gd name="connsiteX163" fmla="*/ 576923 w 591115"/>
              <a:gd name="connsiteY163" fmla="*/ 73803 h 110081"/>
              <a:gd name="connsiteX164" fmla="*/ 573935 w 591115"/>
              <a:gd name="connsiteY164" fmla="*/ 60174 h 110081"/>
              <a:gd name="connsiteX165" fmla="*/ 566279 w 591115"/>
              <a:gd name="connsiteY165" fmla="*/ 51961 h 110081"/>
              <a:gd name="connsiteX166" fmla="*/ 556569 w 591115"/>
              <a:gd name="connsiteY166" fmla="*/ 49160 h 110081"/>
              <a:gd name="connsiteX167" fmla="*/ 540010 w 591115"/>
              <a:gd name="connsiteY167" fmla="*/ 55570 h 110081"/>
              <a:gd name="connsiteX168" fmla="*/ 533411 w 591115"/>
              <a:gd name="connsiteY168" fmla="*/ 74114 h 110081"/>
              <a:gd name="connsiteX169" fmla="*/ 539263 w 591115"/>
              <a:gd name="connsiteY169" fmla="*/ 91538 h 110081"/>
              <a:gd name="connsiteX170" fmla="*/ 555073 w 591115"/>
              <a:gd name="connsiteY170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</a:cxnLst>
            <a:rect l="l" t="t" r="r" b="b"/>
            <a:pathLst>
              <a:path w="591115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0829" y="108588"/>
                </a:moveTo>
                <a:lnTo>
                  <a:pt x="137259" y="108588"/>
                </a:lnTo>
                <a:lnTo>
                  <a:pt x="137259" y="18357"/>
                </a:lnTo>
                <a:lnTo>
                  <a:pt x="107691" y="41071"/>
                </a:lnTo>
                <a:lnTo>
                  <a:pt x="107691" y="26011"/>
                </a:lnTo>
                <a:lnTo>
                  <a:pt x="139501" y="1493"/>
                </a:lnTo>
                <a:lnTo>
                  <a:pt x="150829" y="1493"/>
                </a:lnTo>
                <a:lnTo>
                  <a:pt x="150829" y="108588"/>
                </a:lnTo>
                <a:close/>
                <a:moveTo>
                  <a:pt x="189984" y="1493"/>
                </a:moveTo>
                <a:lnTo>
                  <a:pt x="256278" y="1493"/>
                </a:lnTo>
                <a:lnTo>
                  <a:pt x="256278" y="14374"/>
                </a:lnTo>
                <a:lnTo>
                  <a:pt x="203990" y="14374"/>
                </a:lnTo>
                <a:lnTo>
                  <a:pt x="203990" y="46734"/>
                </a:lnTo>
                <a:lnTo>
                  <a:pt x="248374" y="46734"/>
                </a:lnTo>
                <a:lnTo>
                  <a:pt x="248374" y="59428"/>
                </a:lnTo>
                <a:lnTo>
                  <a:pt x="203990" y="59428"/>
                </a:lnTo>
                <a:lnTo>
                  <a:pt x="203990" y="95893"/>
                </a:lnTo>
                <a:lnTo>
                  <a:pt x="257026" y="95893"/>
                </a:lnTo>
                <a:lnTo>
                  <a:pt x="257026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8070" y="110082"/>
                </a:moveTo>
                <a:cubicBezTo>
                  <a:pt x="301286" y="110082"/>
                  <a:pt x="295246" y="108153"/>
                  <a:pt x="289831" y="104233"/>
                </a:cubicBezTo>
                <a:cubicBezTo>
                  <a:pt x="284477" y="100374"/>
                  <a:pt x="280245" y="94400"/>
                  <a:pt x="277132" y="86311"/>
                </a:cubicBezTo>
                <a:cubicBezTo>
                  <a:pt x="274145" y="78159"/>
                  <a:pt x="272651" y="67705"/>
                  <a:pt x="272651" y="54947"/>
                </a:cubicBezTo>
                <a:cubicBezTo>
                  <a:pt x="272651" y="42128"/>
                  <a:pt x="274145" y="31674"/>
                  <a:pt x="277132" y="23584"/>
                </a:cubicBezTo>
                <a:cubicBezTo>
                  <a:pt x="280245" y="15557"/>
                  <a:pt x="284477" y="9645"/>
                  <a:pt x="289831" y="5849"/>
                </a:cubicBezTo>
                <a:cubicBezTo>
                  <a:pt x="295246" y="2053"/>
                  <a:pt x="301286" y="186"/>
                  <a:pt x="308070" y="186"/>
                </a:cubicBezTo>
                <a:cubicBezTo>
                  <a:pt x="314856" y="186"/>
                  <a:pt x="320894" y="2053"/>
                  <a:pt x="326185" y="5849"/>
                </a:cubicBezTo>
                <a:cubicBezTo>
                  <a:pt x="331413" y="9645"/>
                  <a:pt x="335585" y="15557"/>
                  <a:pt x="338573" y="23584"/>
                </a:cubicBezTo>
                <a:cubicBezTo>
                  <a:pt x="341561" y="31549"/>
                  <a:pt x="343055" y="41942"/>
                  <a:pt x="343055" y="54698"/>
                </a:cubicBezTo>
                <a:cubicBezTo>
                  <a:pt x="343055" y="67331"/>
                  <a:pt x="341561" y="77786"/>
                  <a:pt x="338573" y="86062"/>
                </a:cubicBezTo>
                <a:cubicBezTo>
                  <a:pt x="335585" y="94213"/>
                  <a:pt x="331413" y="100250"/>
                  <a:pt x="326185" y="104233"/>
                </a:cubicBezTo>
                <a:cubicBezTo>
                  <a:pt x="320894" y="108153"/>
                  <a:pt x="314856" y="110082"/>
                  <a:pt x="308070" y="110082"/>
                </a:cubicBezTo>
                <a:close/>
                <a:moveTo>
                  <a:pt x="307945" y="98258"/>
                </a:moveTo>
                <a:cubicBezTo>
                  <a:pt x="312427" y="98258"/>
                  <a:pt x="316225" y="96952"/>
                  <a:pt x="319275" y="94275"/>
                </a:cubicBezTo>
                <a:cubicBezTo>
                  <a:pt x="322450" y="91475"/>
                  <a:pt x="324877" y="86933"/>
                  <a:pt x="326433" y="80648"/>
                </a:cubicBezTo>
                <a:cubicBezTo>
                  <a:pt x="328176" y="74300"/>
                  <a:pt x="328986" y="65775"/>
                  <a:pt x="328986" y="55134"/>
                </a:cubicBezTo>
                <a:cubicBezTo>
                  <a:pt x="328986" y="44493"/>
                  <a:pt x="328176" y="36030"/>
                  <a:pt x="326620" y="29745"/>
                </a:cubicBezTo>
                <a:cubicBezTo>
                  <a:pt x="325002" y="23336"/>
                  <a:pt x="322637" y="18855"/>
                  <a:pt x="319462" y="16117"/>
                </a:cubicBezTo>
                <a:cubicBezTo>
                  <a:pt x="316350" y="13379"/>
                  <a:pt x="312552" y="11947"/>
                  <a:pt x="308070" y="11947"/>
                </a:cubicBezTo>
                <a:cubicBezTo>
                  <a:pt x="303588" y="11947"/>
                  <a:pt x="299792" y="13379"/>
                  <a:pt x="296555" y="16117"/>
                </a:cubicBezTo>
                <a:cubicBezTo>
                  <a:pt x="293380" y="18855"/>
                  <a:pt x="290952" y="23336"/>
                  <a:pt x="289271" y="29745"/>
                </a:cubicBezTo>
                <a:cubicBezTo>
                  <a:pt x="287590" y="36030"/>
                  <a:pt x="286719" y="44493"/>
                  <a:pt x="286719" y="55134"/>
                </a:cubicBezTo>
                <a:cubicBezTo>
                  <a:pt x="286719" y="65775"/>
                  <a:pt x="287528" y="74300"/>
                  <a:pt x="289084" y="80648"/>
                </a:cubicBezTo>
                <a:cubicBezTo>
                  <a:pt x="290827" y="86933"/>
                  <a:pt x="293255" y="91475"/>
                  <a:pt x="296430" y="94275"/>
                </a:cubicBezTo>
                <a:cubicBezTo>
                  <a:pt x="299605" y="96952"/>
                  <a:pt x="303464" y="98258"/>
                  <a:pt x="307945" y="98258"/>
                </a:cubicBezTo>
                <a:close/>
                <a:moveTo>
                  <a:pt x="390238" y="110082"/>
                </a:moveTo>
                <a:cubicBezTo>
                  <a:pt x="383454" y="110082"/>
                  <a:pt x="377354" y="108153"/>
                  <a:pt x="372000" y="104233"/>
                </a:cubicBezTo>
                <a:cubicBezTo>
                  <a:pt x="366647" y="100374"/>
                  <a:pt x="362413" y="94400"/>
                  <a:pt x="359301" y="86311"/>
                </a:cubicBezTo>
                <a:cubicBezTo>
                  <a:pt x="356313" y="78159"/>
                  <a:pt x="354819" y="67705"/>
                  <a:pt x="354819" y="54947"/>
                </a:cubicBezTo>
                <a:cubicBezTo>
                  <a:pt x="354819" y="42128"/>
                  <a:pt x="356313" y="31674"/>
                  <a:pt x="359301" y="23584"/>
                </a:cubicBezTo>
                <a:cubicBezTo>
                  <a:pt x="362413" y="15557"/>
                  <a:pt x="366647" y="9645"/>
                  <a:pt x="372000" y="5849"/>
                </a:cubicBezTo>
                <a:cubicBezTo>
                  <a:pt x="377354" y="2053"/>
                  <a:pt x="383454" y="186"/>
                  <a:pt x="390238" y="186"/>
                </a:cubicBezTo>
                <a:cubicBezTo>
                  <a:pt x="397024" y="186"/>
                  <a:pt x="403000" y="2053"/>
                  <a:pt x="408291" y="5849"/>
                </a:cubicBezTo>
                <a:cubicBezTo>
                  <a:pt x="413582" y="9645"/>
                  <a:pt x="417691" y="15557"/>
                  <a:pt x="420679" y="23584"/>
                </a:cubicBezTo>
                <a:cubicBezTo>
                  <a:pt x="423667" y="31549"/>
                  <a:pt x="425161" y="41942"/>
                  <a:pt x="425161" y="54698"/>
                </a:cubicBezTo>
                <a:cubicBezTo>
                  <a:pt x="425161" y="67331"/>
                  <a:pt x="423667" y="77786"/>
                  <a:pt x="420679" y="86062"/>
                </a:cubicBezTo>
                <a:cubicBezTo>
                  <a:pt x="417691" y="94213"/>
                  <a:pt x="413582" y="100250"/>
                  <a:pt x="408291" y="104233"/>
                </a:cubicBezTo>
                <a:cubicBezTo>
                  <a:pt x="403000" y="108153"/>
                  <a:pt x="397024" y="110082"/>
                  <a:pt x="390238" y="110082"/>
                </a:cubicBezTo>
                <a:close/>
                <a:moveTo>
                  <a:pt x="390053" y="98258"/>
                </a:moveTo>
                <a:cubicBezTo>
                  <a:pt x="394535" y="98258"/>
                  <a:pt x="398331" y="96952"/>
                  <a:pt x="401443" y="94275"/>
                </a:cubicBezTo>
                <a:cubicBezTo>
                  <a:pt x="404618" y="91475"/>
                  <a:pt x="406984" y="86933"/>
                  <a:pt x="408603" y="80648"/>
                </a:cubicBezTo>
                <a:cubicBezTo>
                  <a:pt x="410284" y="74300"/>
                  <a:pt x="411155" y="65775"/>
                  <a:pt x="411155" y="55134"/>
                </a:cubicBezTo>
                <a:cubicBezTo>
                  <a:pt x="411155" y="44493"/>
                  <a:pt x="410345" y="36030"/>
                  <a:pt x="408728" y="29745"/>
                </a:cubicBezTo>
                <a:cubicBezTo>
                  <a:pt x="407171" y="23336"/>
                  <a:pt x="404743" y="18855"/>
                  <a:pt x="401568" y="16117"/>
                </a:cubicBezTo>
                <a:cubicBezTo>
                  <a:pt x="398518" y="13379"/>
                  <a:pt x="394722" y="11947"/>
                  <a:pt x="390238" y="11947"/>
                </a:cubicBezTo>
                <a:cubicBezTo>
                  <a:pt x="385757" y="11947"/>
                  <a:pt x="381898" y="13379"/>
                  <a:pt x="378723" y="16117"/>
                </a:cubicBezTo>
                <a:cubicBezTo>
                  <a:pt x="375548" y="18855"/>
                  <a:pt x="373120" y="23336"/>
                  <a:pt x="371378" y="29745"/>
                </a:cubicBezTo>
                <a:cubicBezTo>
                  <a:pt x="369697" y="36030"/>
                  <a:pt x="368887" y="44493"/>
                  <a:pt x="368887" y="55134"/>
                </a:cubicBezTo>
                <a:cubicBezTo>
                  <a:pt x="368887" y="65775"/>
                  <a:pt x="369635" y="74300"/>
                  <a:pt x="371254" y="80648"/>
                </a:cubicBezTo>
                <a:cubicBezTo>
                  <a:pt x="372934" y="86933"/>
                  <a:pt x="375361" y="91475"/>
                  <a:pt x="378599" y="94275"/>
                </a:cubicBezTo>
                <a:cubicBezTo>
                  <a:pt x="381773" y="96952"/>
                  <a:pt x="385570" y="98258"/>
                  <a:pt x="390053" y="98258"/>
                </a:cubicBezTo>
                <a:close/>
                <a:moveTo>
                  <a:pt x="435930" y="35844"/>
                </a:moveTo>
                <a:cubicBezTo>
                  <a:pt x="435930" y="28687"/>
                  <a:pt x="437486" y="22402"/>
                  <a:pt x="440536" y="17051"/>
                </a:cubicBezTo>
                <a:cubicBezTo>
                  <a:pt x="443711" y="11637"/>
                  <a:pt x="448006" y="7467"/>
                  <a:pt x="453422" y="4480"/>
                </a:cubicBezTo>
                <a:cubicBezTo>
                  <a:pt x="458774" y="1493"/>
                  <a:pt x="464812" y="0"/>
                  <a:pt x="471473" y="0"/>
                </a:cubicBezTo>
                <a:cubicBezTo>
                  <a:pt x="480437" y="0"/>
                  <a:pt x="487659" y="1929"/>
                  <a:pt x="493136" y="5849"/>
                </a:cubicBezTo>
                <a:cubicBezTo>
                  <a:pt x="498739" y="9645"/>
                  <a:pt x="502723" y="14934"/>
                  <a:pt x="505213" y="21842"/>
                </a:cubicBezTo>
                <a:cubicBezTo>
                  <a:pt x="507703" y="28563"/>
                  <a:pt x="508947" y="36466"/>
                  <a:pt x="508947" y="45426"/>
                </a:cubicBezTo>
                <a:cubicBezTo>
                  <a:pt x="508947" y="58868"/>
                  <a:pt x="507454" y="70380"/>
                  <a:pt x="504341" y="80088"/>
                </a:cubicBezTo>
                <a:cubicBezTo>
                  <a:pt x="501229" y="89733"/>
                  <a:pt x="496498" y="97138"/>
                  <a:pt x="490024" y="102303"/>
                </a:cubicBezTo>
                <a:cubicBezTo>
                  <a:pt x="483612" y="107468"/>
                  <a:pt x="475458" y="110082"/>
                  <a:pt x="465498" y="110082"/>
                </a:cubicBezTo>
                <a:cubicBezTo>
                  <a:pt x="456534" y="110082"/>
                  <a:pt x="448878" y="108215"/>
                  <a:pt x="442466" y="104543"/>
                </a:cubicBezTo>
                <a:lnTo>
                  <a:pt x="442466" y="91413"/>
                </a:lnTo>
                <a:cubicBezTo>
                  <a:pt x="449250" y="95769"/>
                  <a:pt x="456908" y="98010"/>
                  <a:pt x="465498" y="98010"/>
                </a:cubicBezTo>
                <a:cubicBezTo>
                  <a:pt x="471660" y="98010"/>
                  <a:pt x="476828" y="96267"/>
                  <a:pt x="481060" y="92907"/>
                </a:cubicBezTo>
                <a:cubicBezTo>
                  <a:pt x="485230" y="89546"/>
                  <a:pt x="488467" y="84941"/>
                  <a:pt x="490771" y="79154"/>
                </a:cubicBezTo>
                <a:cubicBezTo>
                  <a:pt x="493136" y="73367"/>
                  <a:pt x="494568" y="66896"/>
                  <a:pt x="495066" y="59739"/>
                </a:cubicBezTo>
                <a:cubicBezTo>
                  <a:pt x="492016" y="63660"/>
                  <a:pt x="488280" y="66522"/>
                  <a:pt x="484048" y="68389"/>
                </a:cubicBezTo>
                <a:cubicBezTo>
                  <a:pt x="479753" y="70193"/>
                  <a:pt x="475084" y="71127"/>
                  <a:pt x="470104" y="71127"/>
                </a:cubicBezTo>
                <a:cubicBezTo>
                  <a:pt x="463755" y="71127"/>
                  <a:pt x="457966" y="69758"/>
                  <a:pt x="452799" y="67082"/>
                </a:cubicBezTo>
                <a:cubicBezTo>
                  <a:pt x="447633" y="64406"/>
                  <a:pt x="443461" y="60424"/>
                  <a:pt x="440411" y="55134"/>
                </a:cubicBezTo>
                <a:cubicBezTo>
                  <a:pt x="437423" y="49845"/>
                  <a:pt x="435930" y="43435"/>
                  <a:pt x="435930" y="35844"/>
                </a:cubicBezTo>
                <a:close/>
                <a:moveTo>
                  <a:pt x="471910" y="12134"/>
                </a:moveTo>
                <a:cubicBezTo>
                  <a:pt x="468112" y="12134"/>
                  <a:pt x="464565" y="13006"/>
                  <a:pt x="461141" y="14810"/>
                </a:cubicBezTo>
                <a:cubicBezTo>
                  <a:pt x="457904" y="16490"/>
                  <a:pt x="455165" y="19104"/>
                  <a:pt x="453110" y="22589"/>
                </a:cubicBezTo>
                <a:cubicBezTo>
                  <a:pt x="451118" y="25949"/>
                  <a:pt x="450123" y="30305"/>
                  <a:pt x="450123" y="35532"/>
                </a:cubicBezTo>
                <a:cubicBezTo>
                  <a:pt x="450123" y="40759"/>
                  <a:pt x="451118" y="45116"/>
                  <a:pt x="453110" y="48725"/>
                </a:cubicBezTo>
                <a:cubicBezTo>
                  <a:pt x="455103" y="52271"/>
                  <a:pt x="457654" y="54947"/>
                  <a:pt x="460705" y="56752"/>
                </a:cubicBezTo>
                <a:cubicBezTo>
                  <a:pt x="463817" y="58556"/>
                  <a:pt x="467054" y="59428"/>
                  <a:pt x="470416" y="59428"/>
                </a:cubicBezTo>
                <a:cubicBezTo>
                  <a:pt x="477014" y="59428"/>
                  <a:pt x="482492" y="57437"/>
                  <a:pt x="486849" y="53329"/>
                </a:cubicBezTo>
                <a:cubicBezTo>
                  <a:pt x="491331" y="49160"/>
                  <a:pt x="493572" y="43124"/>
                  <a:pt x="493572" y="35283"/>
                </a:cubicBezTo>
                <a:cubicBezTo>
                  <a:pt x="493572" y="28313"/>
                  <a:pt x="491642" y="22713"/>
                  <a:pt x="487783" y="18544"/>
                </a:cubicBezTo>
                <a:cubicBezTo>
                  <a:pt x="483861" y="14250"/>
                  <a:pt x="478571" y="12134"/>
                  <a:pt x="471910" y="12134"/>
                </a:cubicBezTo>
                <a:close/>
                <a:moveTo>
                  <a:pt x="591116" y="73491"/>
                </a:moveTo>
                <a:cubicBezTo>
                  <a:pt x="591116" y="80772"/>
                  <a:pt x="589497" y="87182"/>
                  <a:pt x="586323" y="92782"/>
                </a:cubicBezTo>
                <a:cubicBezTo>
                  <a:pt x="583210" y="98258"/>
                  <a:pt x="578978" y="102490"/>
                  <a:pt x="573625" y="105601"/>
                </a:cubicBezTo>
                <a:cubicBezTo>
                  <a:pt x="568271" y="108588"/>
                  <a:pt x="562233" y="110082"/>
                  <a:pt x="555572" y="110082"/>
                </a:cubicBezTo>
                <a:cubicBezTo>
                  <a:pt x="546608" y="110082"/>
                  <a:pt x="539388" y="108091"/>
                  <a:pt x="533909" y="104108"/>
                </a:cubicBezTo>
                <a:cubicBezTo>
                  <a:pt x="528432" y="100125"/>
                  <a:pt x="524385" y="94587"/>
                  <a:pt x="521771" y="87555"/>
                </a:cubicBezTo>
                <a:cubicBezTo>
                  <a:pt x="519280" y="80461"/>
                  <a:pt x="518036" y="72372"/>
                  <a:pt x="518036" y="63161"/>
                </a:cubicBezTo>
                <a:cubicBezTo>
                  <a:pt x="518036" y="50653"/>
                  <a:pt x="519529" y="39639"/>
                  <a:pt x="522517" y="30181"/>
                </a:cubicBezTo>
                <a:cubicBezTo>
                  <a:pt x="525630" y="20722"/>
                  <a:pt x="530298" y="13379"/>
                  <a:pt x="536586" y="8089"/>
                </a:cubicBezTo>
                <a:cubicBezTo>
                  <a:pt x="542935" y="2675"/>
                  <a:pt x="551090" y="0"/>
                  <a:pt x="561051" y="0"/>
                </a:cubicBezTo>
                <a:cubicBezTo>
                  <a:pt x="569640" y="0"/>
                  <a:pt x="577172" y="1866"/>
                  <a:pt x="583646" y="5538"/>
                </a:cubicBezTo>
                <a:lnTo>
                  <a:pt x="583646" y="18855"/>
                </a:lnTo>
                <a:cubicBezTo>
                  <a:pt x="577172" y="14437"/>
                  <a:pt x="569640" y="12259"/>
                  <a:pt x="561051" y="12259"/>
                </a:cubicBezTo>
                <a:cubicBezTo>
                  <a:pt x="554888" y="12259"/>
                  <a:pt x="549721" y="13939"/>
                  <a:pt x="545551" y="17361"/>
                </a:cubicBezTo>
                <a:cubicBezTo>
                  <a:pt x="541379" y="20722"/>
                  <a:pt x="538080" y="25327"/>
                  <a:pt x="535653" y="31238"/>
                </a:cubicBezTo>
                <a:cubicBezTo>
                  <a:pt x="533411" y="37026"/>
                  <a:pt x="531979" y="43498"/>
                  <a:pt x="531482" y="50778"/>
                </a:cubicBezTo>
                <a:cubicBezTo>
                  <a:pt x="534782" y="46298"/>
                  <a:pt x="538578" y="42999"/>
                  <a:pt x="542873" y="40759"/>
                </a:cubicBezTo>
                <a:cubicBezTo>
                  <a:pt x="547107" y="38581"/>
                  <a:pt x="551838" y="37523"/>
                  <a:pt x="556879" y="37523"/>
                </a:cubicBezTo>
                <a:cubicBezTo>
                  <a:pt x="563353" y="37523"/>
                  <a:pt x="569142" y="38893"/>
                  <a:pt x="574247" y="41693"/>
                </a:cubicBezTo>
                <a:cubicBezTo>
                  <a:pt x="579414" y="44493"/>
                  <a:pt x="583459" y="48538"/>
                  <a:pt x="586447" y="53952"/>
                </a:cubicBezTo>
                <a:cubicBezTo>
                  <a:pt x="589560" y="59179"/>
                  <a:pt x="591116" y="65713"/>
                  <a:pt x="591116" y="73491"/>
                </a:cubicBezTo>
                <a:close/>
                <a:moveTo>
                  <a:pt x="555073" y="98134"/>
                </a:moveTo>
                <a:cubicBezTo>
                  <a:pt x="558996" y="98134"/>
                  <a:pt x="562545" y="97263"/>
                  <a:pt x="565844" y="95458"/>
                </a:cubicBezTo>
                <a:cubicBezTo>
                  <a:pt x="569142" y="93529"/>
                  <a:pt x="571757" y="90791"/>
                  <a:pt x="573748" y="87244"/>
                </a:cubicBezTo>
                <a:cubicBezTo>
                  <a:pt x="575865" y="83635"/>
                  <a:pt x="576923" y="79154"/>
                  <a:pt x="576923" y="73803"/>
                </a:cubicBezTo>
                <a:cubicBezTo>
                  <a:pt x="576923" y="68389"/>
                  <a:pt x="575927" y="63908"/>
                  <a:pt x="573935" y="60174"/>
                </a:cubicBezTo>
                <a:cubicBezTo>
                  <a:pt x="571944" y="56503"/>
                  <a:pt x="569391" y="53765"/>
                  <a:pt x="566279" y="51961"/>
                </a:cubicBezTo>
                <a:cubicBezTo>
                  <a:pt x="563228" y="50093"/>
                  <a:pt x="559991" y="49160"/>
                  <a:pt x="556569" y="49160"/>
                </a:cubicBezTo>
                <a:cubicBezTo>
                  <a:pt x="550032" y="49160"/>
                  <a:pt x="544491" y="51276"/>
                  <a:pt x="540010" y="55570"/>
                </a:cubicBezTo>
                <a:cubicBezTo>
                  <a:pt x="535653" y="59739"/>
                  <a:pt x="533411" y="65900"/>
                  <a:pt x="533411" y="74114"/>
                </a:cubicBezTo>
                <a:cubicBezTo>
                  <a:pt x="533411" y="81270"/>
                  <a:pt x="535403" y="87058"/>
                  <a:pt x="539263" y="91538"/>
                </a:cubicBezTo>
                <a:cubicBezTo>
                  <a:pt x="543122" y="95956"/>
                  <a:pt x="548414" y="98134"/>
                  <a:pt x="555073" y="98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2" name="Полилиния 931">
            <a:extLst>
              <a:ext uri="{FF2B5EF4-FFF2-40B4-BE49-F238E27FC236}">
                <a16:creationId xmlns:a16="http://schemas.microsoft.com/office/drawing/2014/main" id="{9DA4E592-52BE-A786-03AF-428203B556BC}"/>
              </a:ext>
            </a:extLst>
          </p:cNvPr>
          <p:cNvSpPr/>
          <p:nvPr userDrawn="1"/>
        </p:nvSpPr>
        <p:spPr>
          <a:xfrm>
            <a:off x="6844904" y="5966300"/>
            <a:ext cx="2557159" cy="726227"/>
          </a:xfrm>
          <a:custGeom>
            <a:avLst/>
            <a:gdLst>
              <a:gd name="connsiteX0" fmla="*/ 2232 w 2191162"/>
              <a:gd name="connsiteY0" fmla="*/ 1322 h 622284"/>
              <a:gd name="connsiteX1" fmla="*/ 2193395 w 2191162"/>
              <a:gd name="connsiteY1" fmla="*/ 1322 h 622284"/>
              <a:gd name="connsiteX2" fmla="*/ 2193395 w 2191162"/>
              <a:gd name="connsiteY2" fmla="*/ 623606 h 622284"/>
              <a:gd name="connsiteX3" fmla="*/ 2232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322"/>
                </a:moveTo>
                <a:lnTo>
                  <a:pt x="2193395" y="1322"/>
                </a:lnTo>
                <a:lnTo>
                  <a:pt x="2193395" y="623606"/>
                </a:lnTo>
                <a:lnTo>
                  <a:pt x="2232" y="623606"/>
                </a:lnTo>
                <a:close/>
              </a:path>
            </a:pathLst>
          </a:custGeom>
          <a:solidFill>
            <a:srgbClr val="2D00B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3" name="Полилиния 932">
            <a:extLst>
              <a:ext uri="{FF2B5EF4-FFF2-40B4-BE49-F238E27FC236}">
                <a16:creationId xmlns:a16="http://schemas.microsoft.com/office/drawing/2014/main" id="{FCB5CC98-2649-52CD-FCF6-B0F6FC2D2B65}"/>
              </a:ext>
            </a:extLst>
          </p:cNvPr>
          <p:cNvSpPr/>
          <p:nvPr userDrawn="1"/>
        </p:nvSpPr>
        <p:spPr>
          <a:xfrm>
            <a:off x="6968113" y="6268047"/>
            <a:ext cx="727193" cy="128468"/>
          </a:xfrm>
          <a:custGeom>
            <a:avLst/>
            <a:gdLst>
              <a:gd name="connsiteX0" fmla="*/ 50796 w 623112"/>
              <a:gd name="connsiteY0" fmla="*/ 77661 h 110081"/>
              <a:gd name="connsiteX1" fmla="*/ 28386 w 623112"/>
              <a:gd name="connsiteY1" fmla="*/ 77661 h 110081"/>
              <a:gd name="connsiteX2" fmla="*/ 22099 w 623112"/>
              <a:gd name="connsiteY2" fmla="*/ 108588 h 110081"/>
              <a:gd name="connsiteX3" fmla="*/ 10147 w 623112"/>
              <a:gd name="connsiteY3" fmla="*/ 108588 h 110081"/>
              <a:gd name="connsiteX4" fmla="*/ 16435 w 623112"/>
              <a:gd name="connsiteY4" fmla="*/ 77661 h 110081"/>
              <a:gd name="connsiteX5" fmla="*/ 0 w 623112"/>
              <a:gd name="connsiteY5" fmla="*/ 77661 h 110081"/>
              <a:gd name="connsiteX6" fmla="*/ 0 w 623112"/>
              <a:gd name="connsiteY6" fmla="*/ 67206 h 110081"/>
              <a:gd name="connsiteX7" fmla="*/ 18675 w 623112"/>
              <a:gd name="connsiteY7" fmla="*/ 67206 h 110081"/>
              <a:gd name="connsiteX8" fmla="*/ 24216 w 623112"/>
              <a:gd name="connsiteY8" fmla="*/ 40012 h 110081"/>
              <a:gd name="connsiteX9" fmla="*/ 4047 w 623112"/>
              <a:gd name="connsiteY9" fmla="*/ 40012 h 110081"/>
              <a:gd name="connsiteX10" fmla="*/ 4047 w 623112"/>
              <a:gd name="connsiteY10" fmla="*/ 29559 h 110081"/>
              <a:gd name="connsiteX11" fmla="*/ 26269 w 623112"/>
              <a:gd name="connsiteY11" fmla="*/ 29559 h 110081"/>
              <a:gd name="connsiteX12" fmla="*/ 32121 w 623112"/>
              <a:gd name="connsiteY12" fmla="*/ 1493 h 110081"/>
              <a:gd name="connsiteX13" fmla="*/ 44073 w 623112"/>
              <a:gd name="connsiteY13" fmla="*/ 1493 h 110081"/>
              <a:gd name="connsiteX14" fmla="*/ 38222 w 623112"/>
              <a:gd name="connsiteY14" fmla="*/ 29559 h 110081"/>
              <a:gd name="connsiteX15" fmla="*/ 60630 w 623112"/>
              <a:gd name="connsiteY15" fmla="*/ 29559 h 110081"/>
              <a:gd name="connsiteX16" fmla="*/ 66481 w 623112"/>
              <a:gd name="connsiteY16" fmla="*/ 1493 h 110081"/>
              <a:gd name="connsiteX17" fmla="*/ 78434 w 623112"/>
              <a:gd name="connsiteY17" fmla="*/ 1493 h 110081"/>
              <a:gd name="connsiteX18" fmla="*/ 72583 w 623112"/>
              <a:gd name="connsiteY18" fmla="*/ 29559 h 110081"/>
              <a:gd name="connsiteX19" fmla="*/ 89328 w 623112"/>
              <a:gd name="connsiteY19" fmla="*/ 29559 h 110081"/>
              <a:gd name="connsiteX20" fmla="*/ 89328 w 623112"/>
              <a:gd name="connsiteY20" fmla="*/ 40012 h 110081"/>
              <a:gd name="connsiteX21" fmla="*/ 70529 w 623112"/>
              <a:gd name="connsiteY21" fmla="*/ 40012 h 110081"/>
              <a:gd name="connsiteX22" fmla="*/ 64988 w 623112"/>
              <a:gd name="connsiteY22" fmla="*/ 67206 h 110081"/>
              <a:gd name="connsiteX23" fmla="*/ 85281 w 623112"/>
              <a:gd name="connsiteY23" fmla="*/ 67206 h 110081"/>
              <a:gd name="connsiteX24" fmla="*/ 85281 w 623112"/>
              <a:gd name="connsiteY24" fmla="*/ 77661 h 110081"/>
              <a:gd name="connsiteX25" fmla="*/ 62747 w 623112"/>
              <a:gd name="connsiteY25" fmla="*/ 77661 h 110081"/>
              <a:gd name="connsiteX26" fmla="*/ 56460 w 623112"/>
              <a:gd name="connsiteY26" fmla="*/ 108588 h 110081"/>
              <a:gd name="connsiteX27" fmla="*/ 44509 w 623112"/>
              <a:gd name="connsiteY27" fmla="*/ 108588 h 110081"/>
              <a:gd name="connsiteX28" fmla="*/ 50796 w 623112"/>
              <a:gd name="connsiteY28" fmla="*/ 77661 h 110081"/>
              <a:gd name="connsiteX29" fmla="*/ 53036 w 623112"/>
              <a:gd name="connsiteY29" fmla="*/ 67206 h 110081"/>
              <a:gd name="connsiteX30" fmla="*/ 58577 w 623112"/>
              <a:gd name="connsiteY30" fmla="*/ 40012 h 110081"/>
              <a:gd name="connsiteX31" fmla="*/ 36167 w 623112"/>
              <a:gd name="connsiteY31" fmla="*/ 40012 h 110081"/>
              <a:gd name="connsiteX32" fmla="*/ 30626 w 623112"/>
              <a:gd name="connsiteY32" fmla="*/ 67206 h 110081"/>
              <a:gd name="connsiteX33" fmla="*/ 53036 w 623112"/>
              <a:gd name="connsiteY33" fmla="*/ 67206 h 110081"/>
              <a:gd name="connsiteX34" fmla="*/ 170873 w 623112"/>
              <a:gd name="connsiteY34" fmla="*/ 108588 h 110081"/>
              <a:gd name="connsiteX35" fmla="*/ 102586 w 623112"/>
              <a:gd name="connsiteY35" fmla="*/ 108588 h 110081"/>
              <a:gd name="connsiteX36" fmla="*/ 102586 w 623112"/>
              <a:gd name="connsiteY36" fmla="*/ 94400 h 110081"/>
              <a:gd name="connsiteX37" fmla="*/ 126054 w 623112"/>
              <a:gd name="connsiteY37" fmla="*/ 74985 h 110081"/>
              <a:gd name="connsiteX38" fmla="*/ 142489 w 623112"/>
              <a:gd name="connsiteY38" fmla="*/ 59303 h 110081"/>
              <a:gd name="connsiteX39" fmla="*/ 152074 w 623112"/>
              <a:gd name="connsiteY39" fmla="*/ 45738 h 110081"/>
              <a:gd name="connsiteX40" fmla="*/ 155186 w 623112"/>
              <a:gd name="connsiteY40" fmla="*/ 32109 h 110081"/>
              <a:gd name="connsiteX41" fmla="*/ 149834 w 623112"/>
              <a:gd name="connsiteY41" fmla="*/ 17922 h 110081"/>
              <a:gd name="connsiteX42" fmla="*/ 134396 w 623112"/>
              <a:gd name="connsiteY42" fmla="*/ 12383 h 110081"/>
              <a:gd name="connsiteX43" fmla="*/ 118585 w 623112"/>
              <a:gd name="connsiteY43" fmla="*/ 16615 h 110081"/>
              <a:gd name="connsiteX44" fmla="*/ 105449 w 623112"/>
              <a:gd name="connsiteY44" fmla="*/ 27194 h 110081"/>
              <a:gd name="connsiteX45" fmla="*/ 105449 w 623112"/>
              <a:gd name="connsiteY45" fmla="*/ 12134 h 110081"/>
              <a:gd name="connsiteX46" fmla="*/ 118273 w 623112"/>
              <a:gd name="connsiteY46" fmla="*/ 3298 h 110081"/>
              <a:gd name="connsiteX47" fmla="*/ 134893 w 623112"/>
              <a:gd name="connsiteY47" fmla="*/ 0 h 110081"/>
              <a:gd name="connsiteX48" fmla="*/ 149647 w 623112"/>
              <a:gd name="connsiteY48" fmla="*/ 2240 h 110081"/>
              <a:gd name="connsiteX49" fmla="*/ 160540 w 623112"/>
              <a:gd name="connsiteY49" fmla="*/ 8525 h 110081"/>
              <a:gd name="connsiteX50" fmla="*/ 167264 w 623112"/>
              <a:gd name="connsiteY50" fmla="*/ 18233 h 110081"/>
              <a:gd name="connsiteX51" fmla="*/ 169691 w 623112"/>
              <a:gd name="connsiteY51" fmla="*/ 30803 h 110081"/>
              <a:gd name="connsiteX52" fmla="*/ 166267 w 623112"/>
              <a:gd name="connsiteY52" fmla="*/ 47044 h 110081"/>
              <a:gd name="connsiteX53" fmla="*/ 156370 w 623112"/>
              <a:gd name="connsiteY53" fmla="*/ 62291 h 110081"/>
              <a:gd name="connsiteX54" fmla="*/ 140122 w 623112"/>
              <a:gd name="connsiteY54" fmla="*/ 78096 h 110081"/>
              <a:gd name="connsiteX55" fmla="*/ 118148 w 623112"/>
              <a:gd name="connsiteY55" fmla="*/ 95769 h 110081"/>
              <a:gd name="connsiteX56" fmla="*/ 170873 w 623112"/>
              <a:gd name="connsiteY56" fmla="*/ 95769 h 110081"/>
              <a:gd name="connsiteX57" fmla="*/ 170873 w 623112"/>
              <a:gd name="connsiteY57" fmla="*/ 108588 h 110081"/>
              <a:gd name="connsiteX58" fmla="*/ 189984 w 623112"/>
              <a:gd name="connsiteY58" fmla="*/ 1493 h 110081"/>
              <a:gd name="connsiteX59" fmla="*/ 225964 w 623112"/>
              <a:gd name="connsiteY59" fmla="*/ 1493 h 110081"/>
              <a:gd name="connsiteX60" fmla="*/ 246008 w 623112"/>
              <a:gd name="connsiteY60" fmla="*/ 4044 h 110081"/>
              <a:gd name="connsiteX61" fmla="*/ 262131 w 623112"/>
              <a:gd name="connsiteY61" fmla="*/ 12383 h 110081"/>
              <a:gd name="connsiteX62" fmla="*/ 272900 w 623112"/>
              <a:gd name="connsiteY62" fmla="*/ 27816 h 110081"/>
              <a:gd name="connsiteX63" fmla="*/ 276759 w 623112"/>
              <a:gd name="connsiteY63" fmla="*/ 51401 h 110081"/>
              <a:gd name="connsiteX64" fmla="*/ 272713 w 623112"/>
              <a:gd name="connsiteY64" fmla="*/ 76354 h 110081"/>
              <a:gd name="connsiteX65" fmla="*/ 261819 w 623112"/>
              <a:gd name="connsiteY65" fmla="*/ 94089 h 110081"/>
              <a:gd name="connsiteX66" fmla="*/ 245262 w 623112"/>
              <a:gd name="connsiteY66" fmla="*/ 104979 h 110081"/>
              <a:gd name="connsiteX67" fmla="*/ 224345 w 623112"/>
              <a:gd name="connsiteY67" fmla="*/ 108588 h 110081"/>
              <a:gd name="connsiteX68" fmla="*/ 189984 w 623112"/>
              <a:gd name="connsiteY68" fmla="*/ 108588 h 110081"/>
              <a:gd name="connsiteX69" fmla="*/ 189984 w 623112"/>
              <a:gd name="connsiteY69" fmla="*/ 1493 h 110081"/>
              <a:gd name="connsiteX70" fmla="*/ 203990 w 623112"/>
              <a:gd name="connsiteY70" fmla="*/ 14374 h 110081"/>
              <a:gd name="connsiteX71" fmla="*/ 203990 w 623112"/>
              <a:gd name="connsiteY71" fmla="*/ 95893 h 110081"/>
              <a:gd name="connsiteX72" fmla="*/ 224345 w 623112"/>
              <a:gd name="connsiteY72" fmla="*/ 95893 h 110081"/>
              <a:gd name="connsiteX73" fmla="*/ 239409 w 623112"/>
              <a:gd name="connsiteY73" fmla="*/ 93343 h 110081"/>
              <a:gd name="connsiteX74" fmla="*/ 251237 w 623112"/>
              <a:gd name="connsiteY74" fmla="*/ 85564 h 110081"/>
              <a:gd name="connsiteX75" fmla="*/ 258832 w 623112"/>
              <a:gd name="connsiteY75" fmla="*/ 71998 h 110081"/>
              <a:gd name="connsiteX76" fmla="*/ 261508 w 623112"/>
              <a:gd name="connsiteY76" fmla="*/ 52458 h 110081"/>
              <a:gd name="connsiteX77" fmla="*/ 258832 w 623112"/>
              <a:gd name="connsiteY77" fmla="*/ 33914 h 110081"/>
              <a:gd name="connsiteX78" fmla="*/ 251362 w 623112"/>
              <a:gd name="connsiteY78" fmla="*/ 22091 h 110081"/>
              <a:gd name="connsiteX79" fmla="*/ 240157 w 623112"/>
              <a:gd name="connsiteY79" fmla="*/ 16117 h 110081"/>
              <a:gd name="connsiteX80" fmla="*/ 225964 w 623112"/>
              <a:gd name="connsiteY80" fmla="*/ 14374 h 110081"/>
              <a:gd name="connsiteX81" fmla="*/ 203990 w 623112"/>
              <a:gd name="connsiteY81" fmla="*/ 14374 h 110081"/>
              <a:gd name="connsiteX82" fmla="*/ 324255 w 623112"/>
              <a:gd name="connsiteY82" fmla="*/ 110082 h 110081"/>
              <a:gd name="connsiteX83" fmla="*/ 310062 w 623112"/>
              <a:gd name="connsiteY83" fmla="*/ 106970 h 110081"/>
              <a:gd name="connsiteX84" fmla="*/ 298857 w 623112"/>
              <a:gd name="connsiteY84" fmla="*/ 96952 h 110081"/>
              <a:gd name="connsiteX85" fmla="*/ 291575 w 623112"/>
              <a:gd name="connsiteY85" fmla="*/ 79777 h 110081"/>
              <a:gd name="connsiteX86" fmla="*/ 288898 w 623112"/>
              <a:gd name="connsiteY86" fmla="*/ 54947 h 110081"/>
              <a:gd name="connsiteX87" fmla="*/ 291575 w 623112"/>
              <a:gd name="connsiteY87" fmla="*/ 30305 h 110081"/>
              <a:gd name="connsiteX88" fmla="*/ 298857 w 623112"/>
              <a:gd name="connsiteY88" fmla="*/ 13130 h 110081"/>
              <a:gd name="connsiteX89" fmla="*/ 310062 w 623112"/>
              <a:gd name="connsiteY89" fmla="*/ 3298 h 110081"/>
              <a:gd name="connsiteX90" fmla="*/ 324255 w 623112"/>
              <a:gd name="connsiteY90" fmla="*/ 186 h 110081"/>
              <a:gd name="connsiteX91" fmla="*/ 338324 w 623112"/>
              <a:gd name="connsiteY91" fmla="*/ 3298 h 110081"/>
              <a:gd name="connsiteX92" fmla="*/ 349404 w 623112"/>
              <a:gd name="connsiteY92" fmla="*/ 13130 h 110081"/>
              <a:gd name="connsiteX93" fmla="*/ 356562 w 623112"/>
              <a:gd name="connsiteY93" fmla="*/ 30056 h 110081"/>
              <a:gd name="connsiteX94" fmla="*/ 359238 w 623112"/>
              <a:gd name="connsiteY94" fmla="*/ 54698 h 110081"/>
              <a:gd name="connsiteX95" fmla="*/ 356562 w 623112"/>
              <a:gd name="connsiteY95" fmla="*/ 79465 h 110081"/>
              <a:gd name="connsiteX96" fmla="*/ 349404 w 623112"/>
              <a:gd name="connsiteY96" fmla="*/ 96640 h 110081"/>
              <a:gd name="connsiteX97" fmla="*/ 338324 w 623112"/>
              <a:gd name="connsiteY97" fmla="*/ 106783 h 110081"/>
              <a:gd name="connsiteX98" fmla="*/ 324255 w 623112"/>
              <a:gd name="connsiteY98" fmla="*/ 110082 h 110081"/>
              <a:gd name="connsiteX99" fmla="*/ 324131 w 623112"/>
              <a:gd name="connsiteY99" fmla="*/ 98258 h 110081"/>
              <a:gd name="connsiteX100" fmla="*/ 333094 w 623112"/>
              <a:gd name="connsiteY100" fmla="*/ 96018 h 110081"/>
              <a:gd name="connsiteX101" fmla="*/ 339693 w 623112"/>
              <a:gd name="connsiteY101" fmla="*/ 88738 h 110081"/>
              <a:gd name="connsiteX102" fmla="*/ 343676 w 623112"/>
              <a:gd name="connsiteY102" fmla="*/ 75421 h 110081"/>
              <a:gd name="connsiteX103" fmla="*/ 345170 w 623112"/>
              <a:gd name="connsiteY103" fmla="*/ 55134 h 110081"/>
              <a:gd name="connsiteX104" fmla="*/ 343863 w 623112"/>
              <a:gd name="connsiteY104" fmla="*/ 34972 h 110081"/>
              <a:gd name="connsiteX105" fmla="*/ 339818 w 623112"/>
              <a:gd name="connsiteY105" fmla="*/ 21531 h 110081"/>
              <a:gd name="connsiteX106" fmla="*/ 333219 w 623112"/>
              <a:gd name="connsiteY106" fmla="*/ 14188 h 110081"/>
              <a:gd name="connsiteX107" fmla="*/ 324255 w 623112"/>
              <a:gd name="connsiteY107" fmla="*/ 11947 h 110081"/>
              <a:gd name="connsiteX108" fmla="*/ 315167 w 623112"/>
              <a:gd name="connsiteY108" fmla="*/ 14188 h 110081"/>
              <a:gd name="connsiteX109" fmla="*/ 308444 w 623112"/>
              <a:gd name="connsiteY109" fmla="*/ 21531 h 110081"/>
              <a:gd name="connsiteX110" fmla="*/ 304274 w 623112"/>
              <a:gd name="connsiteY110" fmla="*/ 34972 h 110081"/>
              <a:gd name="connsiteX111" fmla="*/ 302904 w 623112"/>
              <a:gd name="connsiteY111" fmla="*/ 55134 h 110081"/>
              <a:gd name="connsiteX112" fmla="*/ 304274 w 623112"/>
              <a:gd name="connsiteY112" fmla="*/ 75421 h 110081"/>
              <a:gd name="connsiteX113" fmla="*/ 308444 w 623112"/>
              <a:gd name="connsiteY113" fmla="*/ 88738 h 110081"/>
              <a:gd name="connsiteX114" fmla="*/ 315043 w 623112"/>
              <a:gd name="connsiteY114" fmla="*/ 96018 h 110081"/>
              <a:gd name="connsiteX115" fmla="*/ 324131 w 623112"/>
              <a:gd name="connsiteY115" fmla="*/ 98258 h 110081"/>
              <a:gd name="connsiteX116" fmla="*/ 406424 w 623112"/>
              <a:gd name="connsiteY116" fmla="*/ 110082 h 110081"/>
              <a:gd name="connsiteX117" fmla="*/ 392231 w 623112"/>
              <a:gd name="connsiteY117" fmla="*/ 106970 h 110081"/>
              <a:gd name="connsiteX118" fmla="*/ 381026 w 623112"/>
              <a:gd name="connsiteY118" fmla="*/ 96952 h 110081"/>
              <a:gd name="connsiteX119" fmla="*/ 373681 w 623112"/>
              <a:gd name="connsiteY119" fmla="*/ 79777 h 110081"/>
              <a:gd name="connsiteX120" fmla="*/ 371004 w 623112"/>
              <a:gd name="connsiteY120" fmla="*/ 54947 h 110081"/>
              <a:gd name="connsiteX121" fmla="*/ 373681 w 623112"/>
              <a:gd name="connsiteY121" fmla="*/ 30305 h 110081"/>
              <a:gd name="connsiteX122" fmla="*/ 381026 w 623112"/>
              <a:gd name="connsiteY122" fmla="*/ 13130 h 110081"/>
              <a:gd name="connsiteX123" fmla="*/ 392231 w 623112"/>
              <a:gd name="connsiteY123" fmla="*/ 3298 h 110081"/>
              <a:gd name="connsiteX124" fmla="*/ 406424 w 623112"/>
              <a:gd name="connsiteY124" fmla="*/ 186 h 110081"/>
              <a:gd name="connsiteX125" fmla="*/ 420492 w 623112"/>
              <a:gd name="connsiteY125" fmla="*/ 3298 h 110081"/>
              <a:gd name="connsiteX126" fmla="*/ 431510 w 623112"/>
              <a:gd name="connsiteY126" fmla="*/ 13130 h 110081"/>
              <a:gd name="connsiteX127" fmla="*/ 438668 w 623112"/>
              <a:gd name="connsiteY127" fmla="*/ 30056 h 110081"/>
              <a:gd name="connsiteX128" fmla="*/ 441408 w 623112"/>
              <a:gd name="connsiteY128" fmla="*/ 54698 h 110081"/>
              <a:gd name="connsiteX129" fmla="*/ 438668 w 623112"/>
              <a:gd name="connsiteY129" fmla="*/ 79465 h 110081"/>
              <a:gd name="connsiteX130" fmla="*/ 431510 w 623112"/>
              <a:gd name="connsiteY130" fmla="*/ 96640 h 110081"/>
              <a:gd name="connsiteX131" fmla="*/ 420492 w 623112"/>
              <a:gd name="connsiteY131" fmla="*/ 106783 h 110081"/>
              <a:gd name="connsiteX132" fmla="*/ 406424 w 623112"/>
              <a:gd name="connsiteY132" fmla="*/ 110082 h 110081"/>
              <a:gd name="connsiteX133" fmla="*/ 406299 w 623112"/>
              <a:gd name="connsiteY133" fmla="*/ 98258 h 110081"/>
              <a:gd name="connsiteX134" fmla="*/ 415263 w 623112"/>
              <a:gd name="connsiteY134" fmla="*/ 96018 h 110081"/>
              <a:gd name="connsiteX135" fmla="*/ 421799 w 623112"/>
              <a:gd name="connsiteY135" fmla="*/ 88738 h 110081"/>
              <a:gd name="connsiteX136" fmla="*/ 425846 w 623112"/>
              <a:gd name="connsiteY136" fmla="*/ 75421 h 110081"/>
              <a:gd name="connsiteX137" fmla="*/ 427340 w 623112"/>
              <a:gd name="connsiteY137" fmla="*/ 55134 h 110081"/>
              <a:gd name="connsiteX138" fmla="*/ 425969 w 623112"/>
              <a:gd name="connsiteY138" fmla="*/ 34972 h 110081"/>
              <a:gd name="connsiteX139" fmla="*/ 421986 w 623112"/>
              <a:gd name="connsiteY139" fmla="*/ 21531 h 110081"/>
              <a:gd name="connsiteX140" fmla="*/ 415387 w 623112"/>
              <a:gd name="connsiteY140" fmla="*/ 14188 h 110081"/>
              <a:gd name="connsiteX141" fmla="*/ 406424 w 623112"/>
              <a:gd name="connsiteY141" fmla="*/ 11947 h 110081"/>
              <a:gd name="connsiteX142" fmla="*/ 397336 w 623112"/>
              <a:gd name="connsiteY142" fmla="*/ 14188 h 110081"/>
              <a:gd name="connsiteX143" fmla="*/ 390612 w 623112"/>
              <a:gd name="connsiteY143" fmla="*/ 21531 h 110081"/>
              <a:gd name="connsiteX144" fmla="*/ 386380 w 623112"/>
              <a:gd name="connsiteY144" fmla="*/ 34972 h 110081"/>
              <a:gd name="connsiteX145" fmla="*/ 385073 w 623112"/>
              <a:gd name="connsiteY145" fmla="*/ 55134 h 110081"/>
              <a:gd name="connsiteX146" fmla="*/ 386380 w 623112"/>
              <a:gd name="connsiteY146" fmla="*/ 75421 h 110081"/>
              <a:gd name="connsiteX147" fmla="*/ 390612 w 623112"/>
              <a:gd name="connsiteY147" fmla="*/ 88738 h 110081"/>
              <a:gd name="connsiteX148" fmla="*/ 397149 w 623112"/>
              <a:gd name="connsiteY148" fmla="*/ 96018 h 110081"/>
              <a:gd name="connsiteX149" fmla="*/ 406299 w 623112"/>
              <a:gd name="connsiteY149" fmla="*/ 98258 h 110081"/>
              <a:gd name="connsiteX150" fmla="*/ 459709 w 623112"/>
              <a:gd name="connsiteY150" fmla="*/ 1493 h 110081"/>
              <a:gd name="connsiteX151" fmla="*/ 495999 w 623112"/>
              <a:gd name="connsiteY151" fmla="*/ 1493 h 110081"/>
              <a:gd name="connsiteX152" fmla="*/ 522767 w 623112"/>
              <a:gd name="connsiteY152" fmla="*/ 7467 h 110081"/>
              <a:gd name="connsiteX153" fmla="*/ 532042 w 623112"/>
              <a:gd name="connsiteY153" fmla="*/ 27629 h 110081"/>
              <a:gd name="connsiteX154" fmla="*/ 530361 w 623112"/>
              <a:gd name="connsiteY154" fmla="*/ 37772 h 110081"/>
              <a:gd name="connsiteX155" fmla="*/ 526066 w 623112"/>
              <a:gd name="connsiteY155" fmla="*/ 45116 h 110081"/>
              <a:gd name="connsiteX156" fmla="*/ 519343 w 623112"/>
              <a:gd name="connsiteY156" fmla="*/ 50031 h 110081"/>
              <a:gd name="connsiteX157" fmla="*/ 510691 w 623112"/>
              <a:gd name="connsiteY157" fmla="*/ 53018 h 110081"/>
              <a:gd name="connsiteX158" fmla="*/ 529490 w 623112"/>
              <a:gd name="connsiteY158" fmla="*/ 60361 h 110081"/>
              <a:gd name="connsiteX159" fmla="*/ 535902 w 623112"/>
              <a:gd name="connsiteY159" fmla="*/ 77661 h 110081"/>
              <a:gd name="connsiteX160" fmla="*/ 532789 w 623112"/>
              <a:gd name="connsiteY160" fmla="*/ 92035 h 110081"/>
              <a:gd name="connsiteX161" fmla="*/ 524385 w 623112"/>
              <a:gd name="connsiteY161" fmla="*/ 101556 h 110081"/>
              <a:gd name="connsiteX162" fmla="*/ 511686 w 623112"/>
              <a:gd name="connsiteY162" fmla="*/ 106970 h 110081"/>
              <a:gd name="connsiteX163" fmla="*/ 495751 w 623112"/>
              <a:gd name="connsiteY163" fmla="*/ 108588 h 110081"/>
              <a:gd name="connsiteX164" fmla="*/ 459709 w 623112"/>
              <a:gd name="connsiteY164" fmla="*/ 108588 h 110081"/>
              <a:gd name="connsiteX165" fmla="*/ 459709 w 623112"/>
              <a:gd name="connsiteY165" fmla="*/ 1493 h 110081"/>
              <a:gd name="connsiteX166" fmla="*/ 473777 w 623112"/>
              <a:gd name="connsiteY166" fmla="*/ 14374 h 110081"/>
              <a:gd name="connsiteX167" fmla="*/ 473777 w 623112"/>
              <a:gd name="connsiteY167" fmla="*/ 47231 h 110081"/>
              <a:gd name="connsiteX168" fmla="*/ 495004 w 623112"/>
              <a:gd name="connsiteY168" fmla="*/ 47231 h 110081"/>
              <a:gd name="connsiteX169" fmla="*/ 504216 w 623112"/>
              <a:gd name="connsiteY169" fmla="*/ 46173 h 110081"/>
              <a:gd name="connsiteX170" fmla="*/ 511438 w 623112"/>
              <a:gd name="connsiteY170" fmla="*/ 42751 h 110081"/>
              <a:gd name="connsiteX171" fmla="*/ 516045 w 623112"/>
              <a:gd name="connsiteY171" fmla="*/ 36901 h 110081"/>
              <a:gd name="connsiteX172" fmla="*/ 517849 w 623112"/>
              <a:gd name="connsiteY172" fmla="*/ 28376 h 110081"/>
              <a:gd name="connsiteX173" fmla="*/ 512185 w 623112"/>
              <a:gd name="connsiteY173" fmla="*/ 17361 h 110081"/>
              <a:gd name="connsiteX174" fmla="*/ 495999 w 623112"/>
              <a:gd name="connsiteY174" fmla="*/ 14374 h 110081"/>
              <a:gd name="connsiteX175" fmla="*/ 473777 w 623112"/>
              <a:gd name="connsiteY175" fmla="*/ 14374 h 110081"/>
              <a:gd name="connsiteX176" fmla="*/ 473777 w 623112"/>
              <a:gd name="connsiteY176" fmla="*/ 59926 h 110081"/>
              <a:gd name="connsiteX177" fmla="*/ 473777 w 623112"/>
              <a:gd name="connsiteY177" fmla="*/ 95893 h 110081"/>
              <a:gd name="connsiteX178" fmla="*/ 495751 w 623112"/>
              <a:gd name="connsiteY178" fmla="*/ 95893 h 110081"/>
              <a:gd name="connsiteX179" fmla="*/ 506022 w 623112"/>
              <a:gd name="connsiteY179" fmla="*/ 95022 h 110081"/>
              <a:gd name="connsiteX180" fmla="*/ 513928 w 623112"/>
              <a:gd name="connsiteY180" fmla="*/ 92035 h 110081"/>
              <a:gd name="connsiteX181" fmla="*/ 519157 w 623112"/>
              <a:gd name="connsiteY181" fmla="*/ 86497 h 110081"/>
              <a:gd name="connsiteX182" fmla="*/ 521148 w 623112"/>
              <a:gd name="connsiteY182" fmla="*/ 77972 h 110081"/>
              <a:gd name="connsiteX183" fmla="*/ 514551 w 623112"/>
              <a:gd name="connsiteY183" fmla="*/ 63908 h 110081"/>
              <a:gd name="connsiteX184" fmla="*/ 494071 w 623112"/>
              <a:gd name="connsiteY184" fmla="*/ 59926 h 110081"/>
              <a:gd name="connsiteX185" fmla="*/ 473777 w 623112"/>
              <a:gd name="connsiteY185" fmla="*/ 59926 h 110081"/>
              <a:gd name="connsiteX186" fmla="*/ 556008 w 623112"/>
              <a:gd name="connsiteY186" fmla="*/ 1493 h 110081"/>
              <a:gd name="connsiteX187" fmla="*/ 622365 w 623112"/>
              <a:gd name="connsiteY187" fmla="*/ 1493 h 110081"/>
              <a:gd name="connsiteX188" fmla="*/ 622365 w 623112"/>
              <a:gd name="connsiteY188" fmla="*/ 14374 h 110081"/>
              <a:gd name="connsiteX189" fmla="*/ 570076 w 623112"/>
              <a:gd name="connsiteY189" fmla="*/ 14374 h 110081"/>
              <a:gd name="connsiteX190" fmla="*/ 570076 w 623112"/>
              <a:gd name="connsiteY190" fmla="*/ 46734 h 110081"/>
              <a:gd name="connsiteX191" fmla="*/ 614459 w 623112"/>
              <a:gd name="connsiteY191" fmla="*/ 46734 h 110081"/>
              <a:gd name="connsiteX192" fmla="*/ 614459 w 623112"/>
              <a:gd name="connsiteY192" fmla="*/ 59428 h 110081"/>
              <a:gd name="connsiteX193" fmla="*/ 570076 w 623112"/>
              <a:gd name="connsiteY193" fmla="*/ 59428 h 110081"/>
              <a:gd name="connsiteX194" fmla="*/ 570076 w 623112"/>
              <a:gd name="connsiteY194" fmla="*/ 95893 h 110081"/>
              <a:gd name="connsiteX195" fmla="*/ 623113 w 623112"/>
              <a:gd name="connsiteY195" fmla="*/ 95893 h 110081"/>
              <a:gd name="connsiteX196" fmla="*/ 623113 w 623112"/>
              <a:gd name="connsiteY196" fmla="*/ 108588 h 110081"/>
              <a:gd name="connsiteX197" fmla="*/ 556008 w 623112"/>
              <a:gd name="connsiteY197" fmla="*/ 108588 h 110081"/>
              <a:gd name="connsiteX198" fmla="*/ 556008 w 623112"/>
              <a:gd name="connsiteY198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623112" h="110081">
                <a:moveTo>
                  <a:pt x="50796" y="77661"/>
                </a:moveTo>
                <a:lnTo>
                  <a:pt x="28386" y="77661"/>
                </a:lnTo>
                <a:lnTo>
                  <a:pt x="22099" y="108588"/>
                </a:ln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close/>
                <a:moveTo>
                  <a:pt x="53036" y="67206"/>
                </a:move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lnTo>
                  <a:pt x="53036" y="67206"/>
                </a:lnTo>
                <a:close/>
                <a:moveTo>
                  <a:pt x="170873" y="108588"/>
                </a:moveTo>
                <a:lnTo>
                  <a:pt x="102586" y="108588"/>
                </a:lnTo>
                <a:lnTo>
                  <a:pt x="102586" y="94400"/>
                </a:lnTo>
                <a:cubicBezTo>
                  <a:pt x="111674" y="87120"/>
                  <a:pt x="119455" y="80648"/>
                  <a:pt x="126054" y="74985"/>
                </a:cubicBezTo>
                <a:cubicBezTo>
                  <a:pt x="132715" y="69322"/>
                  <a:pt x="138192" y="64095"/>
                  <a:pt x="142489" y="59303"/>
                </a:cubicBezTo>
                <a:cubicBezTo>
                  <a:pt x="146784" y="54512"/>
                  <a:pt x="149958" y="49969"/>
                  <a:pt x="152074" y="45738"/>
                </a:cubicBezTo>
                <a:cubicBezTo>
                  <a:pt x="154128" y="41319"/>
                  <a:pt x="155186" y="36776"/>
                  <a:pt x="155186" y="32109"/>
                </a:cubicBezTo>
                <a:cubicBezTo>
                  <a:pt x="155186" y="26260"/>
                  <a:pt x="153382" y="21531"/>
                  <a:pt x="149834" y="17922"/>
                </a:cubicBezTo>
                <a:cubicBezTo>
                  <a:pt x="146347" y="14250"/>
                  <a:pt x="141180" y="12383"/>
                  <a:pt x="134396" y="12383"/>
                </a:cubicBezTo>
                <a:cubicBezTo>
                  <a:pt x="128730" y="12383"/>
                  <a:pt x="123440" y="13815"/>
                  <a:pt x="118585" y="16615"/>
                </a:cubicBezTo>
                <a:cubicBezTo>
                  <a:pt x="113729" y="19353"/>
                  <a:pt x="109310" y="22900"/>
                  <a:pt x="105449" y="27194"/>
                </a:cubicBezTo>
                <a:lnTo>
                  <a:pt x="105449" y="12134"/>
                </a:lnTo>
                <a:cubicBezTo>
                  <a:pt x="109247" y="8401"/>
                  <a:pt x="113480" y="5476"/>
                  <a:pt x="118273" y="3298"/>
                </a:cubicBezTo>
                <a:cubicBezTo>
                  <a:pt x="123066" y="1120"/>
                  <a:pt x="128607" y="0"/>
                  <a:pt x="134893" y="0"/>
                </a:cubicBezTo>
                <a:cubicBezTo>
                  <a:pt x="140434" y="0"/>
                  <a:pt x="145352" y="747"/>
                  <a:pt x="149647" y="2240"/>
                </a:cubicBezTo>
                <a:cubicBezTo>
                  <a:pt x="154066" y="3734"/>
                  <a:pt x="157677" y="5849"/>
                  <a:pt x="160540" y="8525"/>
                </a:cubicBezTo>
                <a:cubicBezTo>
                  <a:pt x="163528" y="11201"/>
                  <a:pt x="165770" y="14437"/>
                  <a:pt x="167264" y="18233"/>
                </a:cubicBezTo>
                <a:cubicBezTo>
                  <a:pt x="168882" y="22028"/>
                  <a:pt x="169691" y="26198"/>
                  <a:pt x="169691" y="30803"/>
                </a:cubicBezTo>
                <a:cubicBezTo>
                  <a:pt x="169691" y="36528"/>
                  <a:pt x="168508" y="42004"/>
                  <a:pt x="166267" y="47044"/>
                </a:cubicBezTo>
                <a:cubicBezTo>
                  <a:pt x="164027" y="52147"/>
                  <a:pt x="160790" y="57188"/>
                  <a:pt x="156370" y="62291"/>
                </a:cubicBezTo>
                <a:cubicBezTo>
                  <a:pt x="152011" y="67393"/>
                  <a:pt x="146597" y="72620"/>
                  <a:pt x="140122" y="78096"/>
                </a:cubicBezTo>
                <a:cubicBezTo>
                  <a:pt x="133711" y="83510"/>
                  <a:pt x="126428" y="89360"/>
                  <a:pt x="118148" y="95769"/>
                </a:cubicBezTo>
                <a:lnTo>
                  <a:pt x="170873" y="95769"/>
                </a:lnTo>
                <a:lnTo>
                  <a:pt x="170873" y="108588"/>
                </a:lnTo>
                <a:close/>
                <a:moveTo>
                  <a:pt x="189984" y="1493"/>
                </a:moveTo>
                <a:lnTo>
                  <a:pt x="225964" y="1493"/>
                </a:lnTo>
                <a:cubicBezTo>
                  <a:pt x="233122" y="1493"/>
                  <a:pt x="239783" y="2365"/>
                  <a:pt x="246008" y="4044"/>
                </a:cubicBezTo>
                <a:cubicBezTo>
                  <a:pt x="252171" y="5725"/>
                  <a:pt x="257525" y="8525"/>
                  <a:pt x="262131" y="12383"/>
                </a:cubicBezTo>
                <a:cubicBezTo>
                  <a:pt x="266675" y="16304"/>
                  <a:pt x="270284" y="21406"/>
                  <a:pt x="272900" y="27816"/>
                </a:cubicBezTo>
                <a:cubicBezTo>
                  <a:pt x="275452" y="34163"/>
                  <a:pt x="276759" y="42004"/>
                  <a:pt x="276759" y="51401"/>
                </a:cubicBezTo>
                <a:cubicBezTo>
                  <a:pt x="276759" y="60859"/>
                  <a:pt x="275389" y="69136"/>
                  <a:pt x="272713" y="76354"/>
                </a:cubicBezTo>
                <a:cubicBezTo>
                  <a:pt x="270161" y="83385"/>
                  <a:pt x="266488" y="89298"/>
                  <a:pt x="261819" y="94089"/>
                </a:cubicBezTo>
                <a:cubicBezTo>
                  <a:pt x="257213" y="98880"/>
                  <a:pt x="251734" y="102490"/>
                  <a:pt x="245262" y="104979"/>
                </a:cubicBezTo>
                <a:cubicBezTo>
                  <a:pt x="238850" y="107406"/>
                  <a:pt x="231877" y="108588"/>
                  <a:pt x="224345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03990" y="14374"/>
                </a:moveTo>
                <a:lnTo>
                  <a:pt x="203990" y="95893"/>
                </a:lnTo>
                <a:lnTo>
                  <a:pt x="224345" y="95893"/>
                </a:lnTo>
                <a:cubicBezTo>
                  <a:pt x="229823" y="95893"/>
                  <a:pt x="234803" y="95022"/>
                  <a:pt x="239409" y="93343"/>
                </a:cubicBezTo>
                <a:cubicBezTo>
                  <a:pt x="244016" y="91662"/>
                  <a:pt x="247938" y="89048"/>
                  <a:pt x="251237" y="85564"/>
                </a:cubicBezTo>
                <a:cubicBezTo>
                  <a:pt x="254474" y="82017"/>
                  <a:pt x="257026" y="77474"/>
                  <a:pt x="258832" y="71998"/>
                </a:cubicBezTo>
                <a:cubicBezTo>
                  <a:pt x="260637" y="66522"/>
                  <a:pt x="261508" y="59988"/>
                  <a:pt x="261508" y="52458"/>
                </a:cubicBezTo>
                <a:cubicBezTo>
                  <a:pt x="261508" y="44991"/>
                  <a:pt x="260637" y="38768"/>
                  <a:pt x="258832" y="33914"/>
                </a:cubicBezTo>
                <a:cubicBezTo>
                  <a:pt x="257026" y="28936"/>
                  <a:pt x="254537" y="25015"/>
                  <a:pt x="251362" y="22091"/>
                </a:cubicBezTo>
                <a:cubicBezTo>
                  <a:pt x="248250" y="19228"/>
                  <a:pt x="244514" y="17237"/>
                  <a:pt x="240157" y="16117"/>
                </a:cubicBezTo>
                <a:cubicBezTo>
                  <a:pt x="235800" y="14934"/>
                  <a:pt x="231069" y="14374"/>
                  <a:pt x="225964" y="14374"/>
                </a:cubicBezTo>
                <a:lnTo>
                  <a:pt x="203990" y="14374"/>
                </a:lnTo>
                <a:close/>
                <a:moveTo>
                  <a:pt x="324255" y="110082"/>
                </a:moveTo>
                <a:cubicBezTo>
                  <a:pt x="319213" y="110082"/>
                  <a:pt x="314482" y="109024"/>
                  <a:pt x="310062" y="106970"/>
                </a:cubicBezTo>
                <a:cubicBezTo>
                  <a:pt x="305830" y="104730"/>
                  <a:pt x="302094" y="101432"/>
                  <a:pt x="298857" y="96952"/>
                </a:cubicBezTo>
                <a:cubicBezTo>
                  <a:pt x="295807" y="92347"/>
                  <a:pt x="293380" y="86621"/>
                  <a:pt x="291575" y="79777"/>
                </a:cubicBezTo>
                <a:cubicBezTo>
                  <a:pt x="289769" y="72807"/>
                  <a:pt x="288898" y="64531"/>
                  <a:pt x="288898" y="54947"/>
                </a:cubicBezTo>
                <a:cubicBezTo>
                  <a:pt x="288898" y="45426"/>
                  <a:pt x="289769" y="37212"/>
                  <a:pt x="291575" y="30305"/>
                </a:cubicBezTo>
                <a:cubicBezTo>
                  <a:pt x="293380" y="23336"/>
                  <a:pt x="295807" y="17610"/>
                  <a:pt x="298857" y="13130"/>
                </a:cubicBezTo>
                <a:cubicBezTo>
                  <a:pt x="302094" y="8649"/>
                  <a:pt x="305830" y="5414"/>
                  <a:pt x="310062" y="3298"/>
                </a:cubicBezTo>
                <a:cubicBezTo>
                  <a:pt x="314482" y="1182"/>
                  <a:pt x="319213" y="186"/>
                  <a:pt x="324255" y="186"/>
                </a:cubicBezTo>
                <a:cubicBezTo>
                  <a:pt x="329360" y="186"/>
                  <a:pt x="334029" y="1182"/>
                  <a:pt x="338324" y="3298"/>
                </a:cubicBezTo>
                <a:cubicBezTo>
                  <a:pt x="342618" y="5414"/>
                  <a:pt x="346292" y="8649"/>
                  <a:pt x="349404" y="13130"/>
                </a:cubicBezTo>
                <a:cubicBezTo>
                  <a:pt x="352454" y="17548"/>
                  <a:pt x="354881" y="23149"/>
                  <a:pt x="356562" y="30056"/>
                </a:cubicBezTo>
                <a:cubicBezTo>
                  <a:pt x="358368" y="36901"/>
                  <a:pt x="359238" y="45116"/>
                  <a:pt x="359238" y="54698"/>
                </a:cubicBezTo>
                <a:cubicBezTo>
                  <a:pt x="359238" y="64219"/>
                  <a:pt x="358368" y="72496"/>
                  <a:pt x="356562" y="79465"/>
                </a:cubicBezTo>
                <a:cubicBezTo>
                  <a:pt x="354881" y="86311"/>
                  <a:pt x="352454" y="92035"/>
                  <a:pt x="349404" y="96640"/>
                </a:cubicBezTo>
                <a:cubicBezTo>
                  <a:pt x="346292" y="101245"/>
                  <a:pt x="342618" y="104606"/>
                  <a:pt x="338324" y="106783"/>
                </a:cubicBezTo>
                <a:cubicBezTo>
                  <a:pt x="334029" y="108962"/>
                  <a:pt x="329360" y="110082"/>
                  <a:pt x="324255" y="110082"/>
                </a:cubicBezTo>
                <a:close/>
                <a:moveTo>
                  <a:pt x="324131" y="98258"/>
                </a:moveTo>
                <a:cubicBezTo>
                  <a:pt x="327492" y="98258"/>
                  <a:pt x="330480" y="97511"/>
                  <a:pt x="333094" y="96018"/>
                </a:cubicBezTo>
                <a:cubicBezTo>
                  <a:pt x="335708" y="94525"/>
                  <a:pt x="337887" y="92098"/>
                  <a:pt x="339693" y="88738"/>
                </a:cubicBezTo>
                <a:cubicBezTo>
                  <a:pt x="341436" y="85315"/>
                  <a:pt x="342805" y="80897"/>
                  <a:pt x="343676" y="75421"/>
                </a:cubicBezTo>
                <a:cubicBezTo>
                  <a:pt x="344673" y="69882"/>
                  <a:pt x="345170" y="63099"/>
                  <a:pt x="345170" y="55134"/>
                </a:cubicBezTo>
                <a:cubicBezTo>
                  <a:pt x="345170" y="47169"/>
                  <a:pt x="344735" y="40448"/>
                  <a:pt x="343863" y="34972"/>
                </a:cubicBezTo>
                <a:cubicBezTo>
                  <a:pt x="342930" y="29372"/>
                  <a:pt x="341623" y="24891"/>
                  <a:pt x="339818" y="21531"/>
                </a:cubicBezTo>
                <a:cubicBezTo>
                  <a:pt x="338012" y="18108"/>
                  <a:pt x="335833" y="15681"/>
                  <a:pt x="333219" y="14188"/>
                </a:cubicBezTo>
                <a:cubicBezTo>
                  <a:pt x="330667" y="12694"/>
                  <a:pt x="327679" y="11947"/>
                  <a:pt x="324255" y="11947"/>
                </a:cubicBezTo>
                <a:cubicBezTo>
                  <a:pt x="320894" y="11947"/>
                  <a:pt x="317844" y="12694"/>
                  <a:pt x="315167" y="14188"/>
                </a:cubicBezTo>
                <a:cubicBezTo>
                  <a:pt x="312552" y="15681"/>
                  <a:pt x="310312" y="18108"/>
                  <a:pt x="308444" y="21531"/>
                </a:cubicBezTo>
                <a:cubicBezTo>
                  <a:pt x="306638" y="24891"/>
                  <a:pt x="305269" y="29372"/>
                  <a:pt x="304274" y="34972"/>
                </a:cubicBezTo>
                <a:cubicBezTo>
                  <a:pt x="303339" y="40448"/>
                  <a:pt x="302904" y="47169"/>
                  <a:pt x="302904" y="55134"/>
                </a:cubicBezTo>
                <a:cubicBezTo>
                  <a:pt x="302904" y="63099"/>
                  <a:pt x="303339" y="69882"/>
                  <a:pt x="304274" y="75421"/>
                </a:cubicBezTo>
                <a:cubicBezTo>
                  <a:pt x="305269" y="80897"/>
                  <a:pt x="306638" y="85315"/>
                  <a:pt x="308444" y="88738"/>
                </a:cubicBezTo>
                <a:cubicBezTo>
                  <a:pt x="310249" y="92098"/>
                  <a:pt x="312427" y="94525"/>
                  <a:pt x="315043" y="96018"/>
                </a:cubicBezTo>
                <a:cubicBezTo>
                  <a:pt x="317719" y="97511"/>
                  <a:pt x="320769" y="98258"/>
                  <a:pt x="324131" y="98258"/>
                </a:cubicBezTo>
                <a:close/>
                <a:moveTo>
                  <a:pt x="406424" y="110082"/>
                </a:moveTo>
                <a:cubicBezTo>
                  <a:pt x="401319" y="110082"/>
                  <a:pt x="396588" y="109024"/>
                  <a:pt x="392231" y="106970"/>
                </a:cubicBezTo>
                <a:cubicBezTo>
                  <a:pt x="387936" y="104730"/>
                  <a:pt x="384200" y="101432"/>
                  <a:pt x="381026" y="96952"/>
                </a:cubicBezTo>
                <a:cubicBezTo>
                  <a:pt x="377913" y="92347"/>
                  <a:pt x="375486" y="86621"/>
                  <a:pt x="373681" y="79777"/>
                </a:cubicBezTo>
                <a:cubicBezTo>
                  <a:pt x="371937" y="72807"/>
                  <a:pt x="371004" y="64531"/>
                  <a:pt x="371004" y="54947"/>
                </a:cubicBezTo>
                <a:cubicBezTo>
                  <a:pt x="371004" y="45426"/>
                  <a:pt x="371937" y="37212"/>
                  <a:pt x="373681" y="30305"/>
                </a:cubicBezTo>
                <a:cubicBezTo>
                  <a:pt x="375486" y="23336"/>
                  <a:pt x="377913" y="17610"/>
                  <a:pt x="381026" y="13130"/>
                </a:cubicBezTo>
                <a:cubicBezTo>
                  <a:pt x="384200" y="8649"/>
                  <a:pt x="387936" y="5414"/>
                  <a:pt x="392231" y="3298"/>
                </a:cubicBezTo>
                <a:cubicBezTo>
                  <a:pt x="396588" y="1182"/>
                  <a:pt x="401319" y="186"/>
                  <a:pt x="406424" y="186"/>
                </a:cubicBezTo>
                <a:cubicBezTo>
                  <a:pt x="411528" y="186"/>
                  <a:pt x="416197" y="1182"/>
                  <a:pt x="420492" y="3298"/>
                </a:cubicBezTo>
                <a:cubicBezTo>
                  <a:pt x="424724" y="5414"/>
                  <a:pt x="428460" y="8649"/>
                  <a:pt x="431510" y="13130"/>
                </a:cubicBezTo>
                <a:cubicBezTo>
                  <a:pt x="434623" y="17548"/>
                  <a:pt x="436987" y="23149"/>
                  <a:pt x="438668" y="30056"/>
                </a:cubicBezTo>
                <a:cubicBezTo>
                  <a:pt x="440474" y="36901"/>
                  <a:pt x="441408" y="45116"/>
                  <a:pt x="441408" y="54698"/>
                </a:cubicBezTo>
                <a:cubicBezTo>
                  <a:pt x="441408" y="64219"/>
                  <a:pt x="440474" y="72496"/>
                  <a:pt x="438668" y="79465"/>
                </a:cubicBezTo>
                <a:cubicBezTo>
                  <a:pt x="436987" y="86311"/>
                  <a:pt x="434623" y="92035"/>
                  <a:pt x="431510" y="96640"/>
                </a:cubicBezTo>
                <a:cubicBezTo>
                  <a:pt x="428460" y="101245"/>
                  <a:pt x="424724" y="104606"/>
                  <a:pt x="420492" y="106783"/>
                </a:cubicBezTo>
                <a:cubicBezTo>
                  <a:pt x="416197" y="108962"/>
                  <a:pt x="411528" y="110082"/>
                  <a:pt x="406424" y="110082"/>
                </a:cubicBezTo>
                <a:close/>
                <a:moveTo>
                  <a:pt x="406299" y="98258"/>
                </a:moveTo>
                <a:cubicBezTo>
                  <a:pt x="409661" y="98258"/>
                  <a:pt x="412649" y="97511"/>
                  <a:pt x="415263" y="96018"/>
                </a:cubicBezTo>
                <a:cubicBezTo>
                  <a:pt x="417816" y="94525"/>
                  <a:pt x="419993" y="92098"/>
                  <a:pt x="421799" y="88738"/>
                </a:cubicBezTo>
                <a:cubicBezTo>
                  <a:pt x="423604" y="85315"/>
                  <a:pt x="424974" y="80897"/>
                  <a:pt x="425846" y="75421"/>
                </a:cubicBezTo>
                <a:cubicBezTo>
                  <a:pt x="426841" y="69882"/>
                  <a:pt x="427340" y="63099"/>
                  <a:pt x="427340" y="55134"/>
                </a:cubicBezTo>
                <a:cubicBezTo>
                  <a:pt x="427340" y="47169"/>
                  <a:pt x="426904" y="40448"/>
                  <a:pt x="425969" y="34972"/>
                </a:cubicBezTo>
                <a:cubicBezTo>
                  <a:pt x="425098" y="29372"/>
                  <a:pt x="423729" y="24891"/>
                  <a:pt x="421986" y="21531"/>
                </a:cubicBezTo>
                <a:cubicBezTo>
                  <a:pt x="420180" y="18108"/>
                  <a:pt x="418003" y="15681"/>
                  <a:pt x="415387" y="14188"/>
                </a:cubicBezTo>
                <a:cubicBezTo>
                  <a:pt x="412773" y="12694"/>
                  <a:pt x="409785" y="11947"/>
                  <a:pt x="406424" y="11947"/>
                </a:cubicBezTo>
                <a:cubicBezTo>
                  <a:pt x="403062" y="11947"/>
                  <a:pt x="400012" y="12694"/>
                  <a:pt x="397336" y="14188"/>
                </a:cubicBezTo>
                <a:cubicBezTo>
                  <a:pt x="394722" y="15681"/>
                  <a:pt x="392480" y="18108"/>
                  <a:pt x="390612" y="21531"/>
                </a:cubicBezTo>
                <a:cubicBezTo>
                  <a:pt x="388807" y="24891"/>
                  <a:pt x="387375" y="29372"/>
                  <a:pt x="386380" y="34972"/>
                </a:cubicBezTo>
                <a:cubicBezTo>
                  <a:pt x="385507" y="40448"/>
                  <a:pt x="385073" y="47169"/>
                  <a:pt x="385073" y="55134"/>
                </a:cubicBezTo>
                <a:cubicBezTo>
                  <a:pt x="385073" y="63099"/>
                  <a:pt x="385507" y="69882"/>
                  <a:pt x="386380" y="75421"/>
                </a:cubicBezTo>
                <a:cubicBezTo>
                  <a:pt x="387375" y="80897"/>
                  <a:pt x="388807" y="85315"/>
                  <a:pt x="390612" y="88738"/>
                </a:cubicBezTo>
                <a:cubicBezTo>
                  <a:pt x="392355" y="92098"/>
                  <a:pt x="394597" y="94525"/>
                  <a:pt x="397149" y="96018"/>
                </a:cubicBezTo>
                <a:cubicBezTo>
                  <a:pt x="399825" y="97511"/>
                  <a:pt x="402875" y="98258"/>
                  <a:pt x="406299" y="98258"/>
                </a:cubicBezTo>
                <a:close/>
                <a:moveTo>
                  <a:pt x="459709" y="1493"/>
                </a:moveTo>
                <a:lnTo>
                  <a:pt x="495999" y="1493"/>
                </a:lnTo>
                <a:cubicBezTo>
                  <a:pt x="507765" y="1493"/>
                  <a:pt x="516666" y="3484"/>
                  <a:pt x="522767" y="7467"/>
                </a:cubicBezTo>
                <a:cubicBezTo>
                  <a:pt x="528929" y="11450"/>
                  <a:pt x="532042" y="18170"/>
                  <a:pt x="532042" y="27629"/>
                </a:cubicBezTo>
                <a:cubicBezTo>
                  <a:pt x="532042" y="31549"/>
                  <a:pt x="531482" y="34910"/>
                  <a:pt x="530361" y="37772"/>
                </a:cubicBezTo>
                <a:cubicBezTo>
                  <a:pt x="529365" y="40572"/>
                  <a:pt x="527934" y="42999"/>
                  <a:pt x="526066" y="45116"/>
                </a:cubicBezTo>
                <a:cubicBezTo>
                  <a:pt x="524260" y="47107"/>
                  <a:pt x="522020" y="48725"/>
                  <a:pt x="519343" y="50031"/>
                </a:cubicBezTo>
                <a:cubicBezTo>
                  <a:pt x="516729" y="51338"/>
                  <a:pt x="513865" y="52334"/>
                  <a:pt x="510691" y="53018"/>
                </a:cubicBezTo>
                <a:cubicBezTo>
                  <a:pt x="519033" y="54014"/>
                  <a:pt x="525320" y="56441"/>
                  <a:pt x="529490" y="60361"/>
                </a:cubicBezTo>
                <a:cubicBezTo>
                  <a:pt x="533785" y="64157"/>
                  <a:pt x="535902" y="69882"/>
                  <a:pt x="535902" y="77661"/>
                </a:cubicBezTo>
                <a:cubicBezTo>
                  <a:pt x="535902" y="83262"/>
                  <a:pt x="534843" y="88053"/>
                  <a:pt x="532789" y="92035"/>
                </a:cubicBezTo>
                <a:cubicBezTo>
                  <a:pt x="530797" y="95893"/>
                  <a:pt x="527996" y="99067"/>
                  <a:pt x="524385" y="101556"/>
                </a:cubicBezTo>
                <a:cubicBezTo>
                  <a:pt x="520836" y="103983"/>
                  <a:pt x="516604" y="105726"/>
                  <a:pt x="511686" y="106970"/>
                </a:cubicBezTo>
                <a:cubicBezTo>
                  <a:pt x="506830" y="108028"/>
                  <a:pt x="501478" y="108588"/>
                  <a:pt x="495751" y="108588"/>
                </a:cubicBezTo>
                <a:lnTo>
                  <a:pt x="459709" y="108588"/>
                </a:lnTo>
                <a:lnTo>
                  <a:pt x="459709" y="1493"/>
                </a:lnTo>
                <a:close/>
                <a:moveTo>
                  <a:pt x="473777" y="14374"/>
                </a:moveTo>
                <a:lnTo>
                  <a:pt x="473777" y="47231"/>
                </a:lnTo>
                <a:lnTo>
                  <a:pt x="495004" y="47231"/>
                </a:lnTo>
                <a:cubicBezTo>
                  <a:pt x="498365" y="47231"/>
                  <a:pt x="501478" y="46857"/>
                  <a:pt x="504216" y="46173"/>
                </a:cubicBezTo>
                <a:cubicBezTo>
                  <a:pt x="507017" y="45364"/>
                  <a:pt x="509446" y="44244"/>
                  <a:pt x="511438" y="42751"/>
                </a:cubicBezTo>
                <a:cubicBezTo>
                  <a:pt x="513429" y="41133"/>
                  <a:pt x="514923" y="39203"/>
                  <a:pt x="516045" y="36901"/>
                </a:cubicBezTo>
                <a:cubicBezTo>
                  <a:pt x="517227" y="34536"/>
                  <a:pt x="517849" y="31674"/>
                  <a:pt x="517849" y="28376"/>
                </a:cubicBezTo>
                <a:cubicBezTo>
                  <a:pt x="517849" y="22900"/>
                  <a:pt x="515920" y="19228"/>
                  <a:pt x="512185" y="17361"/>
                </a:cubicBezTo>
                <a:cubicBezTo>
                  <a:pt x="508387" y="15370"/>
                  <a:pt x="502972" y="14374"/>
                  <a:pt x="495999" y="14374"/>
                </a:cubicBezTo>
                <a:lnTo>
                  <a:pt x="473777" y="14374"/>
                </a:lnTo>
                <a:close/>
                <a:moveTo>
                  <a:pt x="473777" y="59926"/>
                </a:moveTo>
                <a:lnTo>
                  <a:pt x="473777" y="95893"/>
                </a:lnTo>
                <a:lnTo>
                  <a:pt x="495751" y="95893"/>
                </a:lnTo>
                <a:cubicBezTo>
                  <a:pt x="499486" y="95893"/>
                  <a:pt x="502972" y="95583"/>
                  <a:pt x="506022" y="95022"/>
                </a:cubicBezTo>
                <a:cubicBezTo>
                  <a:pt x="509134" y="94400"/>
                  <a:pt x="511748" y="93405"/>
                  <a:pt x="513928" y="92035"/>
                </a:cubicBezTo>
                <a:cubicBezTo>
                  <a:pt x="516230" y="90604"/>
                  <a:pt x="517973" y="88799"/>
                  <a:pt x="519157" y="86497"/>
                </a:cubicBezTo>
                <a:cubicBezTo>
                  <a:pt x="520464" y="84194"/>
                  <a:pt x="521148" y="81332"/>
                  <a:pt x="521148" y="77972"/>
                </a:cubicBezTo>
                <a:cubicBezTo>
                  <a:pt x="521148" y="71189"/>
                  <a:pt x="518908" y="66522"/>
                  <a:pt x="514551" y="63908"/>
                </a:cubicBezTo>
                <a:cubicBezTo>
                  <a:pt x="510254" y="61233"/>
                  <a:pt x="503470" y="59926"/>
                  <a:pt x="494071" y="59926"/>
                </a:cubicBezTo>
                <a:lnTo>
                  <a:pt x="473777" y="59926"/>
                </a:lnTo>
                <a:close/>
                <a:moveTo>
                  <a:pt x="556008" y="1493"/>
                </a:moveTo>
                <a:lnTo>
                  <a:pt x="622365" y="1493"/>
                </a:lnTo>
                <a:lnTo>
                  <a:pt x="622365" y="14374"/>
                </a:lnTo>
                <a:lnTo>
                  <a:pt x="570076" y="14374"/>
                </a:lnTo>
                <a:lnTo>
                  <a:pt x="570076" y="46734"/>
                </a:lnTo>
                <a:lnTo>
                  <a:pt x="614459" y="46734"/>
                </a:lnTo>
                <a:lnTo>
                  <a:pt x="614459" y="59428"/>
                </a:lnTo>
                <a:lnTo>
                  <a:pt x="570076" y="59428"/>
                </a:lnTo>
                <a:lnTo>
                  <a:pt x="570076" y="95893"/>
                </a:lnTo>
                <a:lnTo>
                  <a:pt x="623113" y="95893"/>
                </a:lnTo>
                <a:lnTo>
                  <a:pt x="623113" y="108588"/>
                </a:lnTo>
                <a:lnTo>
                  <a:pt x="556008" y="108588"/>
                </a:lnTo>
                <a:lnTo>
                  <a:pt x="556008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4" name="Полилиния 933">
            <a:extLst>
              <a:ext uri="{FF2B5EF4-FFF2-40B4-BE49-F238E27FC236}">
                <a16:creationId xmlns:a16="http://schemas.microsoft.com/office/drawing/2014/main" id="{B25BB66F-7670-B41C-A069-8F57A7359674}"/>
              </a:ext>
            </a:extLst>
          </p:cNvPr>
          <p:cNvSpPr/>
          <p:nvPr userDrawn="1"/>
        </p:nvSpPr>
        <p:spPr>
          <a:xfrm>
            <a:off x="6844904" y="6692525"/>
            <a:ext cx="2557159" cy="726227"/>
          </a:xfrm>
          <a:custGeom>
            <a:avLst/>
            <a:gdLst>
              <a:gd name="connsiteX0" fmla="*/ 2232 w 2191162"/>
              <a:gd name="connsiteY0" fmla="*/ 1422 h 622284"/>
              <a:gd name="connsiteX1" fmla="*/ 2193395 w 2191162"/>
              <a:gd name="connsiteY1" fmla="*/ 1422 h 622284"/>
              <a:gd name="connsiteX2" fmla="*/ 2193395 w 2191162"/>
              <a:gd name="connsiteY2" fmla="*/ 623706 h 622284"/>
              <a:gd name="connsiteX3" fmla="*/ 2232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422"/>
                </a:moveTo>
                <a:lnTo>
                  <a:pt x="2193395" y="1422"/>
                </a:lnTo>
                <a:lnTo>
                  <a:pt x="2193395" y="623706"/>
                </a:lnTo>
                <a:lnTo>
                  <a:pt x="2232" y="623706"/>
                </a:lnTo>
                <a:close/>
              </a:path>
            </a:pathLst>
          </a:custGeom>
          <a:solidFill>
            <a:srgbClr val="3700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5" name="Полилиния 934">
            <a:extLst>
              <a:ext uri="{FF2B5EF4-FFF2-40B4-BE49-F238E27FC236}">
                <a16:creationId xmlns:a16="http://schemas.microsoft.com/office/drawing/2014/main" id="{65503C1A-4000-9822-1113-57C65D94C04B}"/>
              </a:ext>
            </a:extLst>
          </p:cNvPr>
          <p:cNvSpPr/>
          <p:nvPr userDrawn="1"/>
        </p:nvSpPr>
        <p:spPr>
          <a:xfrm>
            <a:off x="6968113" y="6994273"/>
            <a:ext cx="682804" cy="128468"/>
          </a:xfrm>
          <a:custGeom>
            <a:avLst/>
            <a:gdLst>
              <a:gd name="connsiteX0" fmla="*/ 22099 w 585077"/>
              <a:gd name="connsiteY0" fmla="*/ 108588 h 110081"/>
              <a:gd name="connsiteX1" fmla="*/ 10147 w 585077"/>
              <a:gd name="connsiteY1" fmla="*/ 108588 h 110081"/>
              <a:gd name="connsiteX2" fmla="*/ 16435 w 585077"/>
              <a:gd name="connsiteY2" fmla="*/ 77661 h 110081"/>
              <a:gd name="connsiteX3" fmla="*/ 0 w 585077"/>
              <a:gd name="connsiteY3" fmla="*/ 77661 h 110081"/>
              <a:gd name="connsiteX4" fmla="*/ 0 w 585077"/>
              <a:gd name="connsiteY4" fmla="*/ 67206 h 110081"/>
              <a:gd name="connsiteX5" fmla="*/ 18675 w 585077"/>
              <a:gd name="connsiteY5" fmla="*/ 67206 h 110081"/>
              <a:gd name="connsiteX6" fmla="*/ 24216 w 585077"/>
              <a:gd name="connsiteY6" fmla="*/ 40012 h 110081"/>
              <a:gd name="connsiteX7" fmla="*/ 4047 w 585077"/>
              <a:gd name="connsiteY7" fmla="*/ 40012 h 110081"/>
              <a:gd name="connsiteX8" fmla="*/ 4047 w 585077"/>
              <a:gd name="connsiteY8" fmla="*/ 29559 h 110081"/>
              <a:gd name="connsiteX9" fmla="*/ 26269 w 585077"/>
              <a:gd name="connsiteY9" fmla="*/ 29559 h 110081"/>
              <a:gd name="connsiteX10" fmla="*/ 32121 w 585077"/>
              <a:gd name="connsiteY10" fmla="*/ 1493 h 110081"/>
              <a:gd name="connsiteX11" fmla="*/ 44073 w 585077"/>
              <a:gd name="connsiteY11" fmla="*/ 1493 h 110081"/>
              <a:gd name="connsiteX12" fmla="*/ 38222 w 585077"/>
              <a:gd name="connsiteY12" fmla="*/ 29559 h 110081"/>
              <a:gd name="connsiteX13" fmla="*/ 60630 w 585077"/>
              <a:gd name="connsiteY13" fmla="*/ 29559 h 110081"/>
              <a:gd name="connsiteX14" fmla="*/ 66481 w 585077"/>
              <a:gd name="connsiteY14" fmla="*/ 1493 h 110081"/>
              <a:gd name="connsiteX15" fmla="*/ 78434 w 585077"/>
              <a:gd name="connsiteY15" fmla="*/ 1493 h 110081"/>
              <a:gd name="connsiteX16" fmla="*/ 72583 w 585077"/>
              <a:gd name="connsiteY16" fmla="*/ 29559 h 110081"/>
              <a:gd name="connsiteX17" fmla="*/ 89328 w 585077"/>
              <a:gd name="connsiteY17" fmla="*/ 29559 h 110081"/>
              <a:gd name="connsiteX18" fmla="*/ 89328 w 585077"/>
              <a:gd name="connsiteY18" fmla="*/ 40012 h 110081"/>
              <a:gd name="connsiteX19" fmla="*/ 70529 w 585077"/>
              <a:gd name="connsiteY19" fmla="*/ 40012 h 110081"/>
              <a:gd name="connsiteX20" fmla="*/ 64988 w 585077"/>
              <a:gd name="connsiteY20" fmla="*/ 67206 h 110081"/>
              <a:gd name="connsiteX21" fmla="*/ 85281 w 585077"/>
              <a:gd name="connsiteY21" fmla="*/ 67206 h 110081"/>
              <a:gd name="connsiteX22" fmla="*/ 85281 w 585077"/>
              <a:gd name="connsiteY22" fmla="*/ 77661 h 110081"/>
              <a:gd name="connsiteX23" fmla="*/ 62747 w 585077"/>
              <a:gd name="connsiteY23" fmla="*/ 77661 h 110081"/>
              <a:gd name="connsiteX24" fmla="*/ 56460 w 585077"/>
              <a:gd name="connsiteY24" fmla="*/ 108588 h 110081"/>
              <a:gd name="connsiteX25" fmla="*/ 44509 w 585077"/>
              <a:gd name="connsiteY25" fmla="*/ 108588 h 110081"/>
              <a:gd name="connsiteX26" fmla="*/ 50796 w 585077"/>
              <a:gd name="connsiteY26" fmla="*/ 77661 h 110081"/>
              <a:gd name="connsiteX27" fmla="*/ 28386 w 585077"/>
              <a:gd name="connsiteY27" fmla="*/ 77661 h 110081"/>
              <a:gd name="connsiteX28" fmla="*/ 22099 w 585077"/>
              <a:gd name="connsiteY28" fmla="*/ 108588 h 110081"/>
              <a:gd name="connsiteX29" fmla="*/ 30626 w 585077"/>
              <a:gd name="connsiteY29" fmla="*/ 67206 h 110081"/>
              <a:gd name="connsiteX30" fmla="*/ 53036 w 585077"/>
              <a:gd name="connsiteY30" fmla="*/ 67206 h 110081"/>
              <a:gd name="connsiteX31" fmla="*/ 58577 w 585077"/>
              <a:gd name="connsiteY31" fmla="*/ 40012 h 110081"/>
              <a:gd name="connsiteX32" fmla="*/ 36167 w 585077"/>
              <a:gd name="connsiteY32" fmla="*/ 40012 h 110081"/>
              <a:gd name="connsiteX33" fmla="*/ 30626 w 585077"/>
              <a:gd name="connsiteY33" fmla="*/ 67206 h 110081"/>
              <a:gd name="connsiteX34" fmla="*/ 120078 w 585077"/>
              <a:gd name="connsiteY34" fmla="*/ 58992 h 110081"/>
              <a:gd name="connsiteX35" fmla="*/ 120078 w 585077"/>
              <a:gd name="connsiteY35" fmla="*/ 46298 h 110081"/>
              <a:gd name="connsiteX36" fmla="*/ 134396 w 585077"/>
              <a:gd name="connsiteY36" fmla="*/ 46298 h 110081"/>
              <a:gd name="connsiteX37" fmla="*/ 148028 w 585077"/>
              <a:gd name="connsiteY37" fmla="*/ 41817 h 110081"/>
              <a:gd name="connsiteX38" fmla="*/ 153382 w 585077"/>
              <a:gd name="connsiteY38" fmla="*/ 28812 h 110081"/>
              <a:gd name="connsiteX39" fmla="*/ 148464 w 585077"/>
              <a:gd name="connsiteY39" fmla="*/ 16864 h 110081"/>
              <a:gd name="connsiteX40" fmla="*/ 134271 w 585077"/>
              <a:gd name="connsiteY40" fmla="*/ 12383 h 110081"/>
              <a:gd name="connsiteX41" fmla="*/ 119642 w 585077"/>
              <a:gd name="connsiteY41" fmla="*/ 15246 h 110081"/>
              <a:gd name="connsiteX42" fmla="*/ 105574 w 585077"/>
              <a:gd name="connsiteY42" fmla="*/ 24331 h 110081"/>
              <a:gd name="connsiteX43" fmla="*/ 105574 w 585077"/>
              <a:gd name="connsiteY43" fmla="*/ 9707 h 110081"/>
              <a:gd name="connsiteX44" fmla="*/ 134396 w 585077"/>
              <a:gd name="connsiteY44" fmla="*/ 0 h 110081"/>
              <a:gd name="connsiteX45" fmla="*/ 158486 w 585077"/>
              <a:gd name="connsiteY45" fmla="*/ 7779 h 110081"/>
              <a:gd name="connsiteX46" fmla="*/ 167264 w 585077"/>
              <a:gd name="connsiteY46" fmla="*/ 28065 h 110081"/>
              <a:gd name="connsiteX47" fmla="*/ 161598 w 585077"/>
              <a:gd name="connsiteY47" fmla="*/ 44244 h 110081"/>
              <a:gd name="connsiteX48" fmla="*/ 148340 w 585077"/>
              <a:gd name="connsiteY48" fmla="*/ 52147 h 110081"/>
              <a:gd name="connsiteX49" fmla="*/ 159793 w 585077"/>
              <a:gd name="connsiteY49" fmla="*/ 56441 h 110081"/>
              <a:gd name="connsiteX50" fmla="*/ 168508 w 585077"/>
              <a:gd name="connsiteY50" fmla="*/ 65153 h 110081"/>
              <a:gd name="connsiteX51" fmla="*/ 171745 w 585077"/>
              <a:gd name="connsiteY51" fmla="*/ 77661 h 110081"/>
              <a:gd name="connsiteX52" fmla="*/ 166827 w 585077"/>
              <a:gd name="connsiteY52" fmla="*/ 94836 h 110081"/>
              <a:gd name="connsiteX53" fmla="*/ 153258 w 585077"/>
              <a:gd name="connsiteY53" fmla="*/ 106224 h 110081"/>
              <a:gd name="connsiteX54" fmla="*/ 133399 w 585077"/>
              <a:gd name="connsiteY54" fmla="*/ 110082 h 110081"/>
              <a:gd name="connsiteX55" fmla="*/ 102898 w 585077"/>
              <a:gd name="connsiteY55" fmla="*/ 100997 h 110081"/>
              <a:gd name="connsiteX56" fmla="*/ 102898 w 585077"/>
              <a:gd name="connsiteY56" fmla="*/ 86062 h 110081"/>
              <a:gd name="connsiteX57" fmla="*/ 116654 w 585077"/>
              <a:gd name="connsiteY57" fmla="*/ 94711 h 110081"/>
              <a:gd name="connsiteX58" fmla="*/ 133524 w 585077"/>
              <a:gd name="connsiteY58" fmla="*/ 97823 h 110081"/>
              <a:gd name="connsiteX59" fmla="*/ 150829 w 585077"/>
              <a:gd name="connsiteY59" fmla="*/ 92596 h 110081"/>
              <a:gd name="connsiteX60" fmla="*/ 157303 w 585077"/>
              <a:gd name="connsiteY60" fmla="*/ 77972 h 110081"/>
              <a:gd name="connsiteX61" fmla="*/ 151452 w 585077"/>
              <a:gd name="connsiteY61" fmla="*/ 64095 h 110081"/>
              <a:gd name="connsiteX62" fmla="*/ 133835 w 585077"/>
              <a:gd name="connsiteY62" fmla="*/ 58992 h 110081"/>
              <a:gd name="connsiteX63" fmla="*/ 120078 w 585077"/>
              <a:gd name="connsiteY63" fmla="*/ 58992 h 110081"/>
              <a:gd name="connsiteX64" fmla="*/ 252981 w 585077"/>
              <a:gd name="connsiteY64" fmla="*/ 13628 h 110081"/>
              <a:gd name="connsiteX65" fmla="*/ 207601 w 585077"/>
              <a:gd name="connsiteY65" fmla="*/ 108588 h 110081"/>
              <a:gd name="connsiteX66" fmla="*/ 192972 w 585077"/>
              <a:gd name="connsiteY66" fmla="*/ 108588 h 110081"/>
              <a:gd name="connsiteX67" fmla="*/ 238663 w 585077"/>
              <a:gd name="connsiteY67" fmla="*/ 14374 h 110081"/>
              <a:gd name="connsiteX68" fmla="*/ 184133 w 585077"/>
              <a:gd name="connsiteY68" fmla="*/ 14374 h 110081"/>
              <a:gd name="connsiteX69" fmla="*/ 184133 w 585077"/>
              <a:gd name="connsiteY69" fmla="*/ 1493 h 110081"/>
              <a:gd name="connsiteX70" fmla="*/ 252981 w 585077"/>
              <a:gd name="connsiteY70" fmla="*/ 1493 h 110081"/>
              <a:gd name="connsiteX71" fmla="*/ 252981 w 585077"/>
              <a:gd name="connsiteY71" fmla="*/ 13628 h 110081"/>
              <a:gd name="connsiteX72" fmla="*/ 300912 w 585077"/>
              <a:gd name="connsiteY72" fmla="*/ 110082 h 110081"/>
              <a:gd name="connsiteX73" fmla="*/ 282734 w 585077"/>
              <a:gd name="connsiteY73" fmla="*/ 104233 h 110081"/>
              <a:gd name="connsiteX74" fmla="*/ 270037 w 585077"/>
              <a:gd name="connsiteY74" fmla="*/ 86311 h 110081"/>
              <a:gd name="connsiteX75" fmla="*/ 265555 w 585077"/>
              <a:gd name="connsiteY75" fmla="*/ 54947 h 110081"/>
              <a:gd name="connsiteX76" fmla="*/ 270037 w 585077"/>
              <a:gd name="connsiteY76" fmla="*/ 23584 h 110081"/>
              <a:gd name="connsiteX77" fmla="*/ 282734 w 585077"/>
              <a:gd name="connsiteY77" fmla="*/ 5849 h 110081"/>
              <a:gd name="connsiteX78" fmla="*/ 300912 w 585077"/>
              <a:gd name="connsiteY78" fmla="*/ 186 h 110081"/>
              <a:gd name="connsiteX79" fmla="*/ 319026 w 585077"/>
              <a:gd name="connsiteY79" fmla="*/ 5849 h 110081"/>
              <a:gd name="connsiteX80" fmla="*/ 331413 w 585077"/>
              <a:gd name="connsiteY80" fmla="*/ 23584 h 110081"/>
              <a:gd name="connsiteX81" fmla="*/ 335895 w 585077"/>
              <a:gd name="connsiteY81" fmla="*/ 54698 h 110081"/>
              <a:gd name="connsiteX82" fmla="*/ 331413 w 585077"/>
              <a:gd name="connsiteY82" fmla="*/ 86062 h 110081"/>
              <a:gd name="connsiteX83" fmla="*/ 319026 w 585077"/>
              <a:gd name="connsiteY83" fmla="*/ 104233 h 110081"/>
              <a:gd name="connsiteX84" fmla="*/ 300912 w 585077"/>
              <a:gd name="connsiteY84" fmla="*/ 110082 h 110081"/>
              <a:gd name="connsiteX85" fmla="*/ 300787 w 585077"/>
              <a:gd name="connsiteY85" fmla="*/ 98258 h 110081"/>
              <a:gd name="connsiteX86" fmla="*/ 312117 w 585077"/>
              <a:gd name="connsiteY86" fmla="*/ 94275 h 110081"/>
              <a:gd name="connsiteX87" fmla="*/ 319337 w 585077"/>
              <a:gd name="connsiteY87" fmla="*/ 80648 h 110081"/>
              <a:gd name="connsiteX88" fmla="*/ 321827 w 585077"/>
              <a:gd name="connsiteY88" fmla="*/ 55134 h 110081"/>
              <a:gd name="connsiteX89" fmla="*/ 319462 w 585077"/>
              <a:gd name="connsiteY89" fmla="*/ 29745 h 110081"/>
              <a:gd name="connsiteX90" fmla="*/ 312303 w 585077"/>
              <a:gd name="connsiteY90" fmla="*/ 16117 h 110081"/>
              <a:gd name="connsiteX91" fmla="*/ 300912 w 585077"/>
              <a:gd name="connsiteY91" fmla="*/ 11947 h 110081"/>
              <a:gd name="connsiteX92" fmla="*/ 289458 w 585077"/>
              <a:gd name="connsiteY92" fmla="*/ 16117 h 110081"/>
              <a:gd name="connsiteX93" fmla="*/ 282113 w 585077"/>
              <a:gd name="connsiteY93" fmla="*/ 29745 h 110081"/>
              <a:gd name="connsiteX94" fmla="*/ 279561 w 585077"/>
              <a:gd name="connsiteY94" fmla="*/ 55134 h 110081"/>
              <a:gd name="connsiteX95" fmla="*/ 281988 w 585077"/>
              <a:gd name="connsiteY95" fmla="*/ 80648 h 110081"/>
              <a:gd name="connsiteX96" fmla="*/ 289271 w 585077"/>
              <a:gd name="connsiteY96" fmla="*/ 94275 h 110081"/>
              <a:gd name="connsiteX97" fmla="*/ 300787 w 585077"/>
              <a:gd name="connsiteY97" fmla="*/ 98258 h 110081"/>
              <a:gd name="connsiteX98" fmla="*/ 383080 w 585077"/>
              <a:gd name="connsiteY98" fmla="*/ 110082 h 110081"/>
              <a:gd name="connsiteX99" fmla="*/ 364842 w 585077"/>
              <a:gd name="connsiteY99" fmla="*/ 104233 h 110081"/>
              <a:gd name="connsiteX100" fmla="*/ 352143 w 585077"/>
              <a:gd name="connsiteY100" fmla="*/ 86311 h 110081"/>
              <a:gd name="connsiteX101" fmla="*/ 347661 w 585077"/>
              <a:gd name="connsiteY101" fmla="*/ 54947 h 110081"/>
              <a:gd name="connsiteX102" fmla="*/ 352143 w 585077"/>
              <a:gd name="connsiteY102" fmla="*/ 23584 h 110081"/>
              <a:gd name="connsiteX103" fmla="*/ 364842 w 585077"/>
              <a:gd name="connsiteY103" fmla="*/ 5849 h 110081"/>
              <a:gd name="connsiteX104" fmla="*/ 383080 w 585077"/>
              <a:gd name="connsiteY104" fmla="*/ 186 h 110081"/>
              <a:gd name="connsiteX105" fmla="*/ 401132 w 585077"/>
              <a:gd name="connsiteY105" fmla="*/ 5849 h 110081"/>
              <a:gd name="connsiteX106" fmla="*/ 413582 w 585077"/>
              <a:gd name="connsiteY106" fmla="*/ 23584 h 110081"/>
              <a:gd name="connsiteX107" fmla="*/ 418065 w 585077"/>
              <a:gd name="connsiteY107" fmla="*/ 54698 h 110081"/>
              <a:gd name="connsiteX108" fmla="*/ 413582 w 585077"/>
              <a:gd name="connsiteY108" fmla="*/ 86062 h 110081"/>
              <a:gd name="connsiteX109" fmla="*/ 401132 w 585077"/>
              <a:gd name="connsiteY109" fmla="*/ 104233 h 110081"/>
              <a:gd name="connsiteX110" fmla="*/ 383080 w 585077"/>
              <a:gd name="connsiteY110" fmla="*/ 110082 h 110081"/>
              <a:gd name="connsiteX111" fmla="*/ 382956 w 585077"/>
              <a:gd name="connsiteY111" fmla="*/ 98258 h 110081"/>
              <a:gd name="connsiteX112" fmla="*/ 394285 w 585077"/>
              <a:gd name="connsiteY112" fmla="*/ 94275 h 110081"/>
              <a:gd name="connsiteX113" fmla="*/ 401443 w 585077"/>
              <a:gd name="connsiteY113" fmla="*/ 80648 h 110081"/>
              <a:gd name="connsiteX114" fmla="*/ 403997 w 585077"/>
              <a:gd name="connsiteY114" fmla="*/ 55134 h 110081"/>
              <a:gd name="connsiteX115" fmla="*/ 401630 w 585077"/>
              <a:gd name="connsiteY115" fmla="*/ 29745 h 110081"/>
              <a:gd name="connsiteX116" fmla="*/ 394410 w 585077"/>
              <a:gd name="connsiteY116" fmla="*/ 16117 h 110081"/>
              <a:gd name="connsiteX117" fmla="*/ 383080 w 585077"/>
              <a:gd name="connsiteY117" fmla="*/ 11947 h 110081"/>
              <a:gd name="connsiteX118" fmla="*/ 371564 w 585077"/>
              <a:gd name="connsiteY118" fmla="*/ 16117 h 110081"/>
              <a:gd name="connsiteX119" fmla="*/ 364281 w 585077"/>
              <a:gd name="connsiteY119" fmla="*/ 29745 h 110081"/>
              <a:gd name="connsiteX120" fmla="*/ 361729 w 585077"/>
              <a:gd name="connsiteY120" fmla="*/ 55134 h 110081"/>
              <a:gd name="connsiteX121" fmla="*/ 364094 w 585077"/>
              <a:gd name="connsiteY121" fmla="*/ 80648 h 110081"/>
              <a:gd name="connsiteX122" fmla="*/ 371439 w 585077"/>
              <a:gd name="connsiteY122" fmla="*/ 94275 h 110081"/>
              <a:gd name="connsiteX123" fmla="*/ 382956 w 585077"/>
              <a:gd name="connsiteY123" fmla="*/ 98258 h 110081"/>
              <a:gd name="connsiteX124" fmla="*/ 436366 w 585077"/>
              <a:gd name="connsiteY124" fmla="*/ 1493 h 110081"/>
              <a:gd name="connsiteX125" fmla="*/ 501789 w 585077"/>
              <a:gd name="connsiteY125" fmla="*/ 1493 h 110081"/>
              <a:gd name="connsiteX126" fmla="*/ 501789 w 585077"/>
              <a:gd name="connsiteY126" fmla="*/ 14374 h 110081"/>
              <a:gd name="connsiteX127" fmla="*/ 450434 w 585077"/>
              <a:gd name="connsiteY127" fmla="*/ 14374 h 110081"/>
              <a:gd name="connsiteX128" fmla="*/ 450434 w 585077"/>
              <a:gd name="connsiteY128" fmla="*/ 49907 h 110081"/>
              <a:gd name="connsiteX129" fmla="*/ 494071 w 585077"/>
              <a:gd name="connsiteY129" fmla="*/ 49907 h 110081"/>
              <a:gd name="connsiteX130" fmla="*/ 494071 w 585077"/>
              <a:gd name="connsiteY130" fmla="*/ 62601 h 110081"/>
              <a:gd name="connsiteX131" fmla="*/ 450434 w 585077"/>
              <a:gd name="connsiteY131" fmla="*/ 62601 h 110081"/>
              <a:gd name="connsiteX132" fmla="*/ 450434 w 585077"/>
              <a:gd name="connsiteY132" fmla="*/ 108588 h 110081"/>
              <a:gd name="connsiteX133" fmla="*/ 436366 w 585077"/>
              <a:gd name="connsiteY133" fmla="*/ 108588 h 110081"/>
              <a:gd name="connsiteX134" fmla="*/ 436366 w 585077"/>
              <a:gd name="connsiteY134" fmla="*/ 1493 h 110081"/>
              <a:gd name="connsiteX135" fmla="*/ 550157 w 585077"/>
              <a:gd name="connsiteY135" fmla="*/ 110082 h 110081"/>
              <a:gd name="connsiteX136" fmla="*/ 531917 w 585077"/>
              <a:gd name="connsiteY136" fmla="*/ 104233 h 110081"/>
              <a:gd name="connsiteX137" fmla="*/ 519219 w 585077"/>
              <a:gd name="connsiteY137" fmla="*/ 86311 h 110081"/>
              <a:gd name="connsiteX138" fmla="*/ 514736 w 585077"/>
              <a:gd name="connsiteY138" fmla="*/ 54947 h 110081"/>
              <a:gd name="connsiteX139" fmla="*/ 519219 w 585077"/>
              <a:gd name="connsiteY139" fmla="*/ 23584 h 110081"/>
              <a:gd name="connsiteX140" fmla="*/ 531917 w 585077"/>
              <a:gd name="connsiteY140" fmla="*/ 5849 h 110081"/>
              <a:gd name="connsiteX141" fmla="*/ 550157 w 585077"/>
              <a:gd name="connsiteY141" fmla="*/ 186 h 110081"/>
              <a:gd name="connsiteX142" fmla="*/ 568209 w 585077"/>
              <a:gd name="connsiteY142" fmla="*/ 5849 h 110081"/>
              <a:gd name="connsiteX143" fmla="*/ 580596 w 585077"/>
              <a:gd name="connsiteY143" fmla="*/ 23584 h 110081"/>
              <a:gd name="connsiteX144" fmla="*/ 585078 w 585077"/>
              <a:gd name="connsiteY144" fmla="*/ 54698 h 110081"/>
              <a:gd name="connsiteX145" fmla="*/ 580596 w 585077"/>
              <a:gd name="connsiteY145" fmla="*/ 86062 h 110081"/>
              <a:gd name="connsiteX146" fmla="*/ 568209 w 585077"/>
              <a:gd name="connsiteY146" fmla="*/ 104233 h 110081"/>
              <a:gd name="connsiteX147" fmla="*/ 550157 w 585077"/>
              <a:gd name="connsiteY147" fmla="*/ 110082 h 110081"/>
              <a:gd name="connsiteX148" fmla="*/ 549970 w 585077"/>
              <a:gd name="connsiteY148" fmla="*/ 98258 h 110081"/>
              <a:gd name="connsiteX149" fmla="*/ 561361 w 585077"/>
              <a:gd name="connsiteY149" fmla="*/ 94275 h 110081"/>
              <a:gd name="connsiteX150" fmla="*/ 568520 w 585077"/>
              <a:gd name="connsiteY150" fmla="*/ 80648 h 110081"/>
              <a:gd name="connsiteX151" fmla="*/ 571072 w 585077"/>
              <a:gd name="connsiteY151" fmla="*/ 55134 h 110081"/>
              <a:gd name="connsiteX152" fmla="*/ 568645 w 585077"/>
              <a:gd name="connsiteY152" fmla="*/ 29745 h 110081"/>
              <a:gd name="connsiteX153" fmla="*/ 561485 w 585077"/>
              <a:gd name="connsiteY153" fmla="*/ 16117 h 110081"/>
              <a:gd name="connsiteX154" fmla="*/ 550157 w 585077"/>
              <a:gd name="connsiteY154" fmla="*/ 11947 h 110081"/>
              <a:gd name="connsiteX155" fmla="*/ 538640 w 585077"/>
              <a:gd name="connsiteY155" fmla="*/ 16117 h 110081"/>
              <a:gd name="connsiteX156" fmla="*/ 531295 w 585077"/>
              <a:gd name="connsiteY156" fmla="*/ 29745 h 110081"/>
              <a:gd name="connsiteX157" fmla="*/ 528742 w 585077"/>
              <a:gd name="connsiteY157" fmla="*/ 55134 h 110081"/>
              <a:gd name="connsiteX158" fmla="*/ 531171 w 585077"/>
              <a:gd name="connsiteY158" fmla="*/ 80648 h 110081"/>
              <a:gd name="connsiteX159" fmla="*/ 538453 w 585077"/>
              <a:gd name="connsiteY159" fmla="*/ 94275 h 110081"/>
              <a:gd name="connsiteX160" fmla="*/ 549970 w 585077"/>
              <a:gd name="connsiteY16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58507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2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4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6" y="13379"/>
                  <a:pt x="119642" y="15246"/>
                </a:cubicBezTo>
                <a:cubicBezTo>
                  <a:pt x="115161" y="17113"/>
                  <a:pt x="110492" y="20162"/>
                  <a:pt x="105574" y="24331"/>
                </a:cubicBezTo>
                <a:lnTo>
                  <a:pt x="105574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8" y="12943"/>
                  <a:pt x="167264" y="19726"/>
                  <a:pt x="167264" y="28065"/>
                </a:cubicBezTo>
                <a:cubicBezTo>
                  <a:pt x="167264" y="34848"/>
                  <a:pt x="165396" y="40262"/>
                  <a:pt x="161598" y="44244"/>
                </a:cubicBezTo>
                <a:cubicBezTo>
                  <a:pt x="157926" y="48227"/>
                  <a:pt x="153507" y="50840"/>
                  <a:pt x="148340" y="52147"/>
                </a:cubicBezTo>
                <a:cubicBezTo>
                  <a:pt x="152510" y="52707"/>
                  <a:pt x="156308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6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8" y="106224"/>
                </a:cubicBezTo>
                <a:cubicBezTo>
                  <a:pt x="147592" y="108775"/>
                  <a:pt x="140932" y="110082"/>
                  <a:pt x="133399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6" y="89733"/>
                  <a:pt x="111240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70" y="97823"/>
                  <a:pt x="146659" y="96080"/>
                  <a:pt x="150829" y="92596"/>
                </a:cubicBezTo>
                <a:cubicBezTo>
                  <a:pt x="155124" y="89048"/>
                  <a:pt x="157303" y="84132"/>
                  <a:pt x="157303" y="77972"/>
                </a:cubicBezTo>
                <a:cubicBezTo>
                  <a:pt x="157303" y="71998"/>
                  <a:pt x="155311" y="67393"/>
                  <a:pt x="151452" y="64095"/>
                </a:cubicBezTo>
                <a:cubicBezTo>
                  <a:pt x="147654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1" y="13628"/>
                </a:moveTo>
                <a:lnTo>
                  <a:pt x="207601" y="108588"/>
                </a:lnTo>
                <a:lnTo>
                  <a:pt x="192972" y="108588"/>
                </a:lnTo>
                <a:lnTo>
                  <a:pt x="238663" y="14374"/>
                </a:lnTo>
                <a:lnTo>
                  <a:pt x="184133" y="14374"/>
                </a:lnTo>
                <a:lnTo>
                  <a:pt x="184133" y="1493"/>
                </a:lnTo>
                <a:lnTo>
                  <a:pt x="252981" y="1493"/>
                </a:lnTo>
                <a:lnTo>
                  <a:pt x="252981" y="13628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4" y="104233"/>
                </a:cubicBezTo>
                <a:cubicBezTo>
                  <a:pt x="277319" y="100374"/>
                  <a:pt x="273087" y="94400"/>
                  <a:pt x="270037" y="86311"/>
                </a:cubicBezTo>
                <a:cubicBezTo>
                  <a:pt x="267049" y="78159"/>
                  <a:pt x="265555" y="67705"/>
                  <a:pt x="265555" y="54947"/>
                </a:cubicBezTo>
                <a:cubicBezTo>
                  <a:pt x="265555" y="42128"/>
                  <a:pt x="267049" y="31674"/>
                  <a:pt x="270037" y="23584"/>
                </a:cubicBezTo>
                <a:cubicBezTo>
                  <a:pt x="273087" y="15557"/>
                  <a:pt x="277319" y="9645"/>
                  <a:pt x="282734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6" y="186"/>
                  <a:pt x="313736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6" y="108153"/>
                  <a:pt x="307696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7" y="96952"/>
                  <a:pt x="312117" y="94275"/>
                </a:cubicBezTo>
                <a:cubicBezTo>
                  <a:pt x="315354" y="91475"/>
                  <a:pt x="317719" y="86933"/>
                  <a:pt x="319337" y="80648"/>
                </a:cubicBezTo>
                <a:cubicBezTo>
                  <a:pt x="321018" y="74300"/>
                  <a:pt x="321827" y="65775"/>
                  <a:pt x="321827" y="55134"/>
                </a:cubicBezTo>
                <a:cubicBezTo>
                  <a:pt x="321827" y="44493"/>
                  <a:pt x="321081" y="36030"/>
                  <a:pt x="319462" y="29745"/>
                </a:cubicBezTo>
                <a:cubicBezTo>
                  <a:pt x="317844" y="23336"/>
                  <a:pt x="315477" y="18855"/>
                  <a:pt x="312303" y="16117"/>
                </a:cubicBezTo>
                <a:cubicBezTo>
                  <a:pt x="309190" y="13379"/>
                  <a:pt x="305394" y="11947"/>
                  <a:pt x="300912" y="11947"/>
                </a:cubicBezTo>
                <a:cubicBezTo>
                  <a:pt x="296430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1" y="44493"/>
                  <a:pt x="279561" y="55134"/>
                </a:cubicBezTo>
                <a:cubicBezTo>
                  <a:pt x="279561" y="65775"/>
                  <a:pt x="280370" y="74300"/>
                  <a:pt x="281988" y="80648"/>
                </a:cubicBezTo>
                <a:cubicBezTo>
                  <a:pt x="283669" y="86933"/>
                  <a:pt x="286096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2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2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6" y="186"/>
                  <a:pt x="395904" y="2053"/>
                  <a:pt x="401132" y="5849"/>
                </a:cubicBezTo>
                <a:cubicBezTo>
                  <a:pt x="406424" y="9645"/>
                  <a:pt x="410594" y="15557"/>
                  <a:pt x="413582" y="23584"/>
                </a:cubicBezTo>
                <a:cubicBezTo>
                  <a:pt x="416569" y="31549"/>
                  <a:pt x="418065" y="41942"/>
                  <a:pt x="418065" y="54698"/>
                </a:cubicBezTo>
                <a:cubicBezTo>
                  <a:pt x="418065" y="67331"/>
                  <a:pt x="416569" y="77786"/>
                  <a:pt x="413582" y="86062"/>
                </a:cubicBezTo>
                <a:cubicBezTo>
                  <a:pt x="410594" y="94213"/>
                  <a:pt x="406424" y="100250"/>
                  <a:pt x="401132" y="104233"/>
                </a:cubicBezTo>
                <a:cubicBezTo>
                  <a:pt x="395904" y="108153"/>
                  <a:pt x="389866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7" y="65775"/>
                  <a:pt x="403997" y="55134"/>
                </a:cubicBezTo>
                <a:cubicBezTo>
                  <a:pt x="403997" y="44493"/>
                  <a:pt x="403187" y="36030"/>
                  <a:pt x="401630" y="29745"/>
                </a:cubicBezTo>
                <a:cubicBezTo>
                  <a:pt x="400012" y="23336"/>
                  <a:pt x="397647" y="18855"/>
                  <a:pt x="394410" y="16117"/>
                </a:cubicBezTo>
                <a:cubicBezTo>
                  <a:pt x="391360" y="13379"/>
                  <a:pt x="387562" y="11947"/>
                  <a:pt x="383080" y="11947"/>
                </a:cubicBezTo>
                <a:cubicBezTo>
                  <a:pt x="378599" y="11947"/>
                  <a:pt x="374738" y="13379"/>
                  <a:pt x="371564" y="16117"/>
                </a:cubicBezTo>
                <a:cubicBezTo>
                  <a:pt x="368389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6" y="91475"/>
                  <a:pt x="371439" y="94275"/>
                </a:cubicBezTo>
                <a:cubicBezTo>
                  <a:pt x="374614" y="96952"/>
                  <a:pt x="378474" y="98258"/>
                  <a:pt x="382956" y="98258"/>
                </a:cubicBez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50157" y="110082"/>
                </a:moveTo>
                <a:cubicBezTo>
                  <a:pt x="543371" y="110082"/>
                  <a:pt x="537271" y="108153"/>
                  <a:pt x="531917" y="104233"/>
                </a:cubicBezTo>
                <a:cubicBezTo>
                  <a:pt x="526502" y="100374"/>
                  <a:pt x="522270" y="94400"/>
                  <a:pt x="519219" y="86311"/>
                </a:cubicBezTo>
                <a:cubicBezTo>
                  <a:pt x="516230" y="78159"/>
                  <a:pt x="514736" y="67705"/>
                  <a:pt x="514736" y="54947"/>
                </a:cubicBezTo>
                <a:cubicBezTo>
                  <a:pt x="514736" y="42128"/>
                  <a:pt x="516230" y="31674"/>
                  <a:pt x="519219" y="23584"/>
                </a:cubicBezTo>
                <a:cubicBezTo>
                  <a:pt x="522270" y="15557"/>
                  <a:pt x="526502" y="9645"/>
                  <a:pt x="531917" y="5849"/>
                </a:cubicBezTo>
                <a:cubicBezTo>
                  <a:pt x="537271" y="2053"/>
                  <a:pt x="543371" y="186"/>
                  <a:pt x="550157" y="186"/>
                </a:cubicBezTo>
                <a:cubicBezTo>
                  <a:pt x="556879" y="186"/>
                  <a:pt x="562917" y="2053"/>
                  <a:pt x="568209" y="5849"/>
                </a:cubicBezTo>
                <a:cubicBezTo>
                  <a:pt x="573500" y="9645"/>
                  <a:pt x="577608" y="15557"/>
                  <a:pt x="580596" y="23584"/>
                </a:cubicBezTo>
                <a:cubicBezTo>
                  <a:pt x="583584" y="31549"/>
                  <a:pt x="585078" y="41942"/>
                  <a:pt x="585078" y="54698"/>
                </a:cubicBezTo>
                <a:cubicBezTo>
                  <a:pt x="585078" y="67331"/>
                  <a:pt x="583584" y="77786"/>
                  <a:pt x="580596" y="86062"/>
                </a:cubicBezTo>
                <a:cubicBezTo>
                  <a:pt x="577608" y="94213"/>
                  <a:pt x="573500" y="100250"/>
                  <a:pt x="568209" y="104233"/>
                </a:cubicBezTo>
                <a:cubicBezTo>
                  <a:pt x="562917" y="108153"/>
                  <a:pt x="556879" y="110082"/>
                  <a:pt x="550157" y="110082"/>
                </a:cubicBezTo>
                <a:close/>
                <a:moveTo>
                  <a:pt x="549970" y="98258"/>
                </a:moveTo>
                <a:cubicBezTo>
                  <a:pt x="554452" y="98258"/>
                  <a:pt x="558248" y="96952"/>
                  <a:pt x="561361" y="94275"/>
                </a:cubicBezTo>
                <a:cubicBezTo>
                  <a:pt x="564535" y="91475"/>
                  <a:pt x="566902" y="86933"/>
                  <a:pt x="568520" y="80648"/>
                </a:cubicBezTo>
                <a:cubicBezTo>
                  <a:pt x="570201" y="74300"/>
                  <a:pt x="571072" y="65775"/>
                  <a:pt x="571072" y="55134"/>
                </a:cubicBezTo>
                <a:cubicBezTo>
                  <a:pt x="571072" y="44493"/>
                  <a:pt x="570263" y="36030"/>
                  <a:pt x="568645" y="29745"/>
                </a:cubicBezTo>
                <a:cubicBezTo>
                  <a:pt x="567089" y="23336"/>
                  <a:pt x="564660" y="18855"/>
                  <a:pt x="561485" y="16117"/>
                </a:cubicBezTo>
                <a:cubicBezTo>
                  <a:pt x="558373" y="13379"/>
                  <a:pt x="554639" y="11947"/>
                  <a:pt x="550157" y="11947"/>
                </a:cubicBezTo>
                <a:cubicBezTo>
                  <a:pt x="545675" y="11947"/>
                  <a:pt x="541815" y="13379"/>
                  <a:pt x="538640" y="16117"/>
                </a:cubicBezTo>
                <a:cubicBezTo>
                  <a:pt x="535466" y="18855"/>
                  <a:pt x="532976" y="23336"/>
                  <a:pt x="531295" y="29745"/>
                </a:cubicBezTo>
                <a:cubicBezTo>
                  <a:pt x="529615" y="36030"/>
                  <a:pt x="528742" y="44493"/>
                  <a:pt x="528742" y="55134"/>
                </a:cubicBezTo>
                <a:cubicBezTo>
                  <a:pt x="528742" y="65775"/>
                  <a:pt x="529552" y="74300"/>
                  <a:pt x="531171" y="80648"/>
                </a:cubicBezTo>
                <a:cubicBezTo>
                  <a:pt x="532852" y="86933"/>
                  <a:pt x="535279" y="91475"/>
                  <a:pt x="538453" y="94275"/>
                </a:cubicBezTo>
                <a:cubicBezTo>
                  <a:pt x="541690" y="96952"/>
                  <a:pt x="545488" y="98258"/>
                  <a:pt x="549970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6" name="Полилиния 935">
            <a:extLst>
              <a:ext uri="{FF2B5EF4-FFF2-40B4-BE49-F238E27FC236}">
                <a16:creationId xmlns:a16="http://schemas.microsoft.com/office/drawing/2014/main" id="{32FFA1EE-9CC7-BC7B-3935-17BCCD13D894}"/>
              </a:ext>
            </a:extLst>
          </p:cNvPr>
          <p:cNvSpPr/>
          <p:nvPr userDrawn="1"/>
        </p:nvSpPr>
        <p:spPr>
          <a:xfrm>
            <a:off x="6844904" y="7418752"/>
            <a:ext cx="2557159" cy="726227"/>
          </a:xfrm>
          <a:custGeom>
            <a:avLst/>
            <a:gdLst>
              <a:gd name="connsiteX0" fmla="*/ 2232 w 2191162"/>
              <a:gd name="connsiteY0" fmla="*/ 1522 h 622284"/>
              <a:gd name="connsiteX1" fmla="*/ 2193395 w 2191162"/>
              <a:gd name="connsiteY1" fmla="*/ 1522 h 622284"/>
              <a:gd name="connsiteX2" fmla="*/ 2193395 w 2191162"/>
              <a:gd name="connsiteY2" fmla="*/ 623806 h 622284"/>
              <a:gd name="connsiteX3" fmla="*/ 2232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522"/>
                </a:moveTo>
                <a:lnTo>
                  <a:pt x="2193395" y="1522"/>
                </a:lnTo>
                <a:lnTo>
                  <a:pt x="2193395" y="623806"/>
                </a:lnTo>
                <a:lnTo>
                  <a:pt x="2232" y="623806"/>
                </a:lnTo>
                <a:close/>
              </a:path>
            </a:pathLst>
          </a:custGeom>
          <a:solidFill>
            <a:srgbClr val="4B3C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7" name="Полилиния 936">
            <a:extLst>
              <a:ext uri="{FF2B5EF4-FFF2-40B4-BE49-F238E27FC236}">
                <a16:creationId xmlns:a16="http://schemas.microsoft.com/office/drawing/2014/main" id="{BA4C3865-72D9-1F04-4B5F-6C59EB5DA706}"/>
              </a:ext>
            </a:extLst>
          </p:cNvPr>
          <p:cNvSpPr/>
          <p:nvPr userDrawn="1"/>
        </p:nvSpPr>
        <p:spPr>
          <a:xfrm>
            <a:off x="6968113" y="7720500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58797 w 619003"/>
              <a:gd name="connsiteY34" fmla="*/ 108588 h 110081"/>
              <a:gd name="connsiteX35" fmla="*/ 145601 w 619003"/>
              <a:gd name="connsiteY35" fmla="*/ 108588 h 110081"/>
              <a:gd name="connsiteX36" fmla="*/ 145601 w 619003"/>
              <a:gd name="connsiteY36" fmla="*/ 83199 h 110081"/>
              <a:gd name="connsiteX37" fmla="*/ 99287 w 619003"/>
              <a:gd name="connsiteY37" fmla="*/ 83199 h 110081"/>
              <a:gd name="connsiteX38" fmla="*/ 99287 w 619003"/>
              <a:gd name="connsiteY38" fmla="*/ 73927 h 110081"/>
              <a:gd name="connsiteX39" fmla="*/ 141118 w 619003"/>
              <a:gd name="connsiteY39" fmla="*/ 1493 h 110081"/>
              <a:gd name="connsiteX40" fmla="*/ 158797 w 619003"/>
              <a:gd name="connsiteY40" fmla="*/ 1493 h 110081"/>
              <a:gd name="connsiteX41" fmla="*/ 158797 w 619003"/>
              <a:gd name="connsiteY41" fmla="*/ 71873 h 110081"/>
              <a:gd name="connsiteX42" fmla="*/ 173239 w 619003"/>
              <a:gd name="connsiteY42" fmla="*/ 71873 h 110081"/>
              <a:gd name="connsiteX43" fmla="*/ 173239 w 619003"/>
              <a:gd name="connsiteY43" fmla="*/ 83199 h 110081"/>
              <a:gd name="connsiteX44" fmla="*/ 158797 w 619003"/>
              <a:gd name="connsiteY44" fmla="*/ 83199 h 110081"/>
              <a:gd name="connsiteX45" fmla="*/ 158797 w 619003"/>
              <a:gd name="connsiteY45" fmla="*/ 108588 h 110081"/>
              <a:gd name="connsiteX46" fmla="*/ 112920 w 619003"/>
              <a:gd name="connsiteY46" fmla="*/ 71873 h 110081"/>
              <a:gd name="connsiteX47" fmla="*/ 145601 w 619003"/>
              <a:gd name="connsiteY47" fmla="*/ 71873 h 110081"/>
              <a:gd name="connsiteX48" fmla="*/ 145601 w 619003"/>
              <a:gd name="connsiteY48" fmla="*/ 16117 h 110081"/>
              <a:gd name="connsiteX49" fmla="*/ 112920 w 619003"/>
              <a:gd name="connsiteY49" fmla="*/ 71873 h 110081"/>
              <a:gd name="connsiteX50" fmla="*/ 189984 w 619003"/>
              <a:gd name="connsiteY50" fmla="*/ 1493 h 110081"/>
              <a:gd name="connsiteX51" fmla="*/ 226276 w 619003"/>
              <a:gd name="connsiteY51" fmla="*/ 1493 h 110081"/>
              <a:gd name="connsiteX52" fmla="*/ 252981 w 619003"/>
              <a:gd name="connsiteY52" fmla="*/ 7467 h 110081"/>
              <a:gd name="connsiteX53" fmla="*/ 262256 w 619003"/>
              <a:gd name="connsiteY53" fmla="*/ 27629 h 110081"/>
              <a:gd name="connsiteX54" fmla="*/ 256465 w 619003"/>
              <a:gd name="connsiteY54" fmla="*/ 45116 h 110081"/>
              <a:gd name="connsiteX55" fmla="*/ 240903 w 619003"/>
              <a:gd name="connsiteY55" fmla="*/ 53018 h 110081"/>
              <a:gd name="connsiteX56" fmla="*/ 259702 w 619003"/>
              <a:gd name="connsiteY56" fmla="*/ 60361 h 110081"/>
              <a:gd name="connsiteX57" fmla="*/ 266177 w 619003"/>
              <a:gd name="connsiteY57" fmla="*/ 77661 h 110081"/>
              <a:gd name="connsiteX58" fmla="*/ 260947 w 619003"/>
              <a:gd name="connsiteY58" fmla="*/ 95583 h 110081"/>
              <a:gd name="connsiteX59" fmla="*/ 246569 w 619003"/>
              <a:gd name="connsiteY59" fmla="*/ 105601 h 110081"/>
              <a:gd name="connsiteX60" fmla="*/ 225964 w 619003"/>
              <a:gd name="connsiteY60" fmla="*/ 108588 h 110081"/>
              <a:gd name="connsiteX61" fmla="*/ 189984 w 619003"/>
              <a:gd name="connsiteY61" fmla="*/ 108588 h 110081"/>
              <a:gd name="connsiteX62" fmla="*/ 189984 w 619003"/>
              <a:gd name="connsiteY62" fmla="*/ 1493 h 110081"/>
              <a:gd name="connsiteX63" fmla="*/ 225216 w 619003"/>
              <a:gd name="connsiteY63" fmla="*/ 47231 h 110081"/>
              <a:gd name="connsiteX64" fmla="*/ 241651 w 619003"/>
              <a:gd name="connsiteY64" fmla="*/ 42751 h 110081"/>
              <a:gd name="connsiteX65" fmla="*/ 248063 w 619003"/>
              <a:gd name="connsiteY65" fmla="*/ 28376 h 110081"/>
              <a:gd name="connsiteX66" fmla="*/ 242397 w 619003"/>
              <a:gd name="connsiteY66" fmla="*/ 17361 h 110081"/>
              <a:gd name="connsiteX67" fmla="*/ 226276 w 619003"/>
              <a:gd name="connsiteY67" fmla="*/ 14374 h 110081"/>
              <a:gd name="connsiteX68" fmla="*/ 203990 w 619003"/>
              <a:gd name="connsiteY68" fmla="*/ 14374 h 110081"/>
              <a:gd name="connsiteX69" fmla="*/ 203990 w 619003"/>
              <a:gd name="connsiteY69" fmla="*/ 47231 h 110081"/>
              <a:gd name="connsiteX70" fmla="*/ 225216 w 619003"/>
              <a:gd name="connsiteY70" fmla="*/ 47231 h 110081"/>
              <a:gd name="connsiteX71" fmla="*/ 225964 w 619003"/>
              <a:gd name="connsiteY71" fmla="*/ 95893 h 110081"/>
              <a:gd name="connsiteX72" fmla="*/ 244327 w 619003"/>
              <a:gd name="connsiteY72" fmla="*/ 92035 h 110081"/>
              <a:gd name="connsiteX73" fmla="*/ 251362 w 619003"/>
              <a:gd name="connsiteY73" fmla="*/ 77972 h 110081"/>
              <a:gd name="connsiteX74" fmla="*/ 244763 w 619003"/>
              <a:gd name="connsiteY74" fmla="*/ 63908 h 110081"/>
              <a:gd name="connsiteX75" fmla="*/ 224345 w 619003"/>
              <a:gd name="connsiteY75" fmla="*/ 59926 h 110081"/>
              <a:gd name="connsiteX76" fmla="*/ 203990 w 619003"/>
              <a:gd name="connsiteY76" fmla="*/ 59926 h 110081"/>
              <a:gd name="connsiteX77" fmla="*/ 203990 w 619003"/>
              <a:gd name="connsiteY77" fmla="*/ 95893 h 110081"/>
              <a:gd name="connsiteX78" fmla="*/ 225964 w 619003"/>
              <a:gd name="connsiteY78" fmla="*/ 95893 h 110081"/>
              <a:gd name="connsiteX79" fmla="*/ 298483 w 619003"/>
              <a:gd name="connsiteY79" fmla="*/ 58992 h 110081"/>
              <a:gd name="connsiteX80" fmla="*/ 298483 w 619003"/>
              <a:gd name="connsiteY80" fmla="*/ 46298 h 110081"/>
              <a:gd name="connsiteX81" fmla="*/ 312863 w 619003"/>
              <a:gd name="connsiteY81" fmla="*/ 46298 h 110081"/>
              <a:gd name="connsiteX82" fmla="*/ 326433 w 619003"/>
              <a:gd name="connsiteY82" fmla="*/ 41817 h 110081"/>
              <a:gd name="connsiteX83" fmla="*/ 331850 w 619003"/>
              <a:gd name="connsiteY83" fmla="*/ 28812 h 110081"/>
              <a:gd name="connsiteX84" fmla="*/ 326869 w 619003"/>
              <a:gd name="connsiteY84" fmla="*/ 16864 h 110081"/>
              <a:gd name="connsiteX85" fmla="*/ 312676 w 619003"/>
              <a:gd name="connsiteY85" fmla="*/ 12383 h 110081"/>
              <a:gd name="connsiteX86" fmla="*/ 298049 w 619003"/>
              <a:gd name="connsiteY86" fmla="*/ 15246 h 110081"/>
              <a:gd name="connsiteX87" fmla="*/ 284043 w 619003"/>
              <a:gd name="connsiteY87" fmla="*/ 24331 h 110081"/>
              <a:gd name="connsiteX88" fmla="*/ 284043 w 619003"/>
              <a:gd name="connsiteY88" fmla="*/ 9707 h 110081"/>
              <a:gd name="connsiteX89" fmla="*/ 312863 w 619003"/>
              <a:gd name="connsiteY89" fmla="*/ 0 h 110081"/>
              <a:gd name="connsiteX90" fmla="*/ 336892 w 619003"/>
              <a:gd name="connsiteY90" fmla="*/ 7779 h 110081"/>
              <a:gd name="connsiteX91" fmla="*/ 345731 w 619003"/>
              <a:gd name="connsiteY91" fmla="*/ 28065 h 110081"/>
              <a:gd name="connsiteX92" fmla="*/ 340067 w 619003"/>
              <a:gd name="connsiteY92" fmla="*/ 44244 h 110081"/>
              <a:gd name="connsiteX93" fmla="*/ 326745 w 619003"/>
              <a:gd name="connsiteY93" fmla="*/ 52147 h 110081"/>
              <a:gd name="connsiteX94" fmla="*/ 338261 w 619003"/>
              <a:gd name="connsiteY94" fmla="*/ 56441 h 110081"/>
              <a:gd name="connsiteX95" fmla="*/ 346913 w 619003"/>
              <a:gd name="connsiteY95" fmla="*/ 65153 h 110081"/>
              <a:gd name="connsiteX96" fmla="*/ 350213 w 619003"/>
              <a:gd name="connsiteY96" fmla="*/ 77661 h 110081"/>
              <a:gd name="connsiteX97" fmla="*/ 345295 w 619003"/>
              <a:gd name="connsiteY97" fmla="*/ 94836 h 110081"/>
              <a:gd name="connsiteX98" fmla="*/ 331663 w 619003"/>
              <a:gd name="connsiteY98" fmla="*/ 106224 h 110081"/>
              <a:gd name="connsiteX99" fmla="*/ 311806 w 619003"/>
              <a:gd name="connsiteY99" fmla="*/ 110082 h 110081"/>
              <a:gd name="connsiteX100" fmla="*/ 281303 w 619003"/>
              <a:gd name="connsiteY100" fmla="*/ 100997 h 110081"/>
              <a:gd name="connsiteX101" fmla="*/ 281303 w 619003"/>
              <a:gd name="connsiteY101" fmla="*/ 86062 h 110081"/>
              <a:gd name="connsiteX102" fmla="*/ 295061 w 619003"/>
              <a:gd name="connsiteY102" fmla="*/ 94711 h 110081"/>
              <a:gd name="connsiteX103" fmla="*/ 311930 w 619003"/>
              <a:gd name="connsiteY103" fmla="*/ 97823 h 110081"/>
              <a:gd name="connsiteX104" fmla="*/ 329298 w 619003"/>
              <a:gd name="connsiteY104" fmla="*/ 92596 h 110081"/>
              <a:gd name="connsiteX105" fmla="*/ 335708 w 619003"/>
              <a:gd name="connsiteY105" fmla="*/ 77972 h 110081"/>
              <a:gd name="connsiteX106" fmla="*/ 329857 w 619003"/>
              <a:gd name="connsiteY106" fmla="*/ 64095 h 110081"/>
              <a:gd name="connsiteX107" fmla="*/ 312242 w 619003"/>
              <a:gd name="connsiteY107" fmla="*/ 58992 h 110081"/>
              <a:gd name="connsiteX108" fmla="*/ 298483 w 619003"/>
              <a:gd name="connsiteY108" fmla="*/ 58992 h 110081"/>
              <a:gd name="connsiteX109" fmla="*/ 414890 w 619003"/>
              <a:gd name="connsiteY109" fmla="*/ 110082 h 110081"/>
              <a:gd name="connsiteX110" fmla="*/ 387064 w 619003"/>
              <a:gd name="connsiteY110" fmla="*/ 103486 h 110081"/>
              <a:gd name="connsiteX111" fmla="*/ 368700 w 619003"/>
              <a:gd name="connsiteY111" fmla="*/ 84693 h 110081"/>
              <a:gd name="connsiteX112" fmla="*/ 362102 w 619003"/>
              <a:gd name="connsiteY112" fmla="*/ 55134 h 110081"/>
              <a:gd name="connsiteX113" fmla="*/ 375735 w 619003"/>
              <a:gd name="connsiteY113" fmla="*/ 14810 h 110081"/>
              <a:gd name="connsiteX114" fmla="*/ 414579 w 619003"/>
              <a:gd name="connsiteY114" fmla="*/ 186 h 110081"/>
              <a:gd name="connsiteX115" fmla="*/ 432506 w 619003"/>
              <a:gd name="connsiteY115" fmla="*/ 2240 h 110081"/>
              <a:gd name="connsiteX116" fmla="*/ 447135 w 619003"/>
              <a:gd name="connsiteY116" fmla="*/ 7902 h 110081"/>
              <a:gd name="connsiteX117" fmla="*/ 447135 w 619003"/>
              <a:gd name="connsiteY117" fmla="*/ 21344 h 110081"/>
              <a:gd name="connsiteX118" fmla="*/ 432071 w 619003"/>
              <a:gd name="connsiteY118" fmla="*/ 15121 h 110081"/>
              <a:gd name="connsiteX119" fmla="*/ 414392 w 619003"/>
              <a:gd name="connsiteY119" fmla="*/ 12881 h 110081"/>
              <a:gd name="connsiteX120" fmla="*/ 386504 w 619003"/>
              <a:gd name="connsiteY120" fmla="*/ 23459 h 110081"/>
              <a:gd name="connsiteX121" fmla="*/ 377354 w 619003"/>
              <a:gd name="connsiteY121" fmla="*/ 55134 h 110081"/>
              <a:gd name="connsiteX122" fmla="*/ 387250 w 619003"/>
              <a:gd name="connsiteY122" fmla="*/ 86933 h 110081"/>
              <a:gd name="connsiteX123" fmla="*/ 416073 w 619003"/>
              <a:gd name="connsiteY123" fmla="*/ 97387 h 110081"/>
              <a:gd name="connsiteX124" fmla="*/ 447135 w 619003"/>
              <a:gd name="connsiteY124" fmla="*/ 87555 h 110081"/>
              <a:gd name="connsiteX125" fmla="*/ 447135 w 619003"/>
              <a:gd name="connsiteY125" fmla="*/ 100997 h 110081"/>
              <a:gd name="connsiteX126" fmla="*/ 433253 w 619003"/>
              <a:gd name="connsiteY126" fmla="*/ 107717 h 110081"/>
              <a:gd name="connsiteX127" fmla="*/ 414890 w 619003"/>
              <a:gd name="connsiteY127" fmla="*/ 110082 h 110081"/>
              <a:gd name="connsiteX128" fmla="*/ 468610 w 619003"/>
              <a:gd name="connsiteY128" fmla="*/ 1493 h 110081"/>
              <a:gd name="connsiteX129" fmla="*/ 534034 w 619003"/>
              <a:gd name="connsiteY129" fmla="*/ 1493 h 110081"/>
              <a:gd name="connsiteX130" fmla="*/ 534034 w 619003"/>
              <a:gd name="connsiteY130" fmla="*/ 14374 h 110081"/>
              <a:gd name="connsiteX131" fmla="*/ 482679 w 619003"/>
              <a:gd name="connsiteY131" fmla="*/ 14374 h 110081"/>
              <a:gd name="connsiteX132" fmla="*/ 482679 w 619003"/>
              <a:gd name="connsiteY132" fmla="*/ 49907 h 110081"/>
              <a:gd name="connsiteX133" fmla="*/ 526315 w 619003"/>
              <a:gd name="connsiteY133" fmla="*/ 49907 h 110081"/>
              <a:gd name="connsiteX134" fmla="*/ 526315 w 619003"/>
              <a:gd name="connsiteY134" fmla="*/ 62601 h 110081"/>
              <a:gd name="connsiteX135" fmla="*/ 482679 w 619003"/>
              <a:gd name="connsiteY135" fmla="*/ 62601 h 110081"/>
              <a:gd name="connsiteX136" fmla="*/ 482679 w 619003"/>
              <a:gd name="connsiteY136" fmla="*/ 108588 h 110081"/>
              <a:gd name="connsiteX137" fmla="*/ 468610 w 619003"/>
              <a:gd name="connsiteY137" fmla="*/ 108588 h 110081"/>
              <a:gd name="connsiteX138" fmla="*/ 468610 w 619003"/>
              <a:gd name="connsiteY138" fmla="*/ 1493 h 110081"/>
              <a:gd name="connsiteX139" fmla="*/ 553517 w 619003"/>
              <a:gd name="connsiteY139" fmla="*/ 1493 h 110081"/>
              <a:gd name="connsiteX140" fmla="*/ 619003 w 619003"/>
              <a:gd name="connsiteY140" fmla="*/ 1493 h 110081"/>
              <a:gd name="connsiteX141" fmla="*/ 619003 w 619003"/>
              <a:gd name="connsiteY141" fmla="*/ 14374 h 110081"/>
              <a:gd name="connsiteX142" fmla="*/ 567586 w 619003"/>
              <a:gd name="connsiteY142" fmla="*/ 14374 h 110081"/>
              <a:gd name="connsiteX143" fmla="*/ 567586 w 619003"/>
              <a:gd name="connsiteY143" fmla="*/ 49907 h 110081"/>
              <a:gd name="connsiteX144" fmla="*/ 611222 w 619003"/>
              <a:gd name="connsiteY144" fmla="*/ 49907 h 110081"/>
              <a:gd name="connsiteX145" fmla="*/ 611222 w 619003"/>
              <a:gd name="connsiteY145" fmla="*/ 62601 h 110081"/>
              <a:gd name="connsiteX146" fmla="*/ 567586 w 619003"/>
              <a:gd name="connsiteY146" fmla="*/ 62601 h 110081"/>
              <a:gd name="connsiteX147" fmla="*/ 567586 w 619003"/>
              <a:gd name="connsiteY147" fmla="*/ 108588 h 110081"/>
              <a:gd name="connsiteX148" fmla="*/ 553517 w 619003"/>
              <a:gd name="connsiteY148" fmla="*/ 108588 h 110081"/>
              <a:gd name="connsiteX149" fmla="*/ 553517 w 619003"/>
              <a:gd name="connsiteY149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8797" y="108588"/>
                </a:moveTo>
                <a:lnTo>
                  <a:pt x="145601" y="108588"/>
                </a:lnTo>
                <a:lnTo>
                  <a:pt x="145601" y="83199"/>
                </a:lnTo>
                <a:lnTo>
                  <a:pt x="99287" y="83199"/>
                </a:lnTo>
                <a:lnTo>
                  <a:pt x="99287" y="73927"/>
                </a:lnTo>
                <a:lnTo>
                  <a:pt x="141118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1" y="71873"/>
                </a:lnTo>
                <a:lnTo>
                  <a:pt x="145601" y="16117"/>
                </a:lnTo>
                <a:lnTo>
                  <a:pt x="112920" y="71873"/>
                </a:ln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1" y="3484"/>
                  <a:pt x="252981" y="7467"/>
                </a:cubicBezTo>
                <a:cubicBezTo>
                  <a:pt x="259205" y="11450"/>
                  <a:pt x="262256" y="18170"/>
                  <a:pt x="262256" y="27629"/>
                </a:cubicBezTo>
                <a:cubicBezTo>
                  <a:pt x="262256" y="35283"/>
                  <a:pt x="260326" y="41133"/>
                  <a:pt x="256465" y="45116"/>
                </a:cubicBezTo>
                <a:cubicBezTo>
                  <a:pt x="252544" y="48974"/>
                  <a:pt x="247377" y="51649"/>
                  <a:pt x="240903" y="53018"/>
                </a:cubicBezTo>
                <a:cubicBezTo>
                  <a:pt x="249183" y="54014"/>
                  <a:pt x="255470" y="56441"/>
                  <a:pt x="259702" y="60361"/>
                </a:cubicBezTo>
                <a:cubicBezTo>
                  <a:pt x="263999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7" y="95583"/>
                </a:cubicBezTo>
                <a:cubicBezTo>
                  <a:pt x="257462" y="100188"/>
                  <a:pt x="252669" y="103486"/>
                  <a:pt x="246569" y="105601"/>
                </a:cubicBezTo>
                <a:cubicBezTo>
                  <a:pt x="240531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6" y="47231"/>
                </a:moveTo>
                <a:cubicBezTo>
                  <a:pt x="232002" y="47231"/>
                  <a:pt x="237481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7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6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2" y="84755"/>
                  <a:pt x="251362" y="77972"/>
                </a:cubicBezTo>
                <a:cubicBezTo>
                  <a:pt x="251362" y="71189"/>
                  <a:pt x="249183" y="66522"/>
                  <a:pt x="244763" y="63908"/>
                </a:cubicBezTo>
                <a:cubicBezTo>
                  <a:pt x="240531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298483" y="58992"/>
                </a:moveTo>
                <a:lnTo>
                  <a:pt x="298483" y="46298"/>
                </a:lnTo>
                <a:lnTo>
                  <a:pt x="312863" y="46298"/>
                </a:lnTo>
                <a:cubicBezTo>
                  <a:pt x="318404" y="46298"/>
                  <a:pt x="322948" y="44804"/>
                  <a:pt x="326433" y="41817"/>
                </a:cubicBezTo>
                <a:cubicBezTo>
                  <a:pt x="330044" y="38768"/>
                  <a:pt x="331850" y="34412"/>
                  <a:pt x="331850" y="28812"/>
                </a:cubicBezTo>
                <a:cubicBezTo>
                  <a:pt x="331850" y="23771"/>
                  <a:pt x="330169" y="19788"/>
                  <a:pt x="326869" y="16864"/>
                </a:cubicBezTo>
                <a:cubicBezTo>
                  <a:pt x="323632" y="13877"/>
                  <a:pt x="318901" y="12383"/>
                  <a:pt x="312676" y="12383"/>
                </a:cubicBezTo>
                <a:cubicBezTo>
                  <a:pt x="307511" y="12383"/>
                  <a:pt x="302655" y="13379"/>
                  <a:pt x="298049" y="15246"/>
                </a:cubicBezTo>
                <a:cubicBezTo>
                  <a:pt x="293567" y="17113"/>
                  <a:pt x="288898" y="20162"/>
                  <a:pt x="284043" y="24331"/>
                </a:cubicBezTo>
                <a:lnTo>
                  <a:pt x="284043" y="9707"/>
                </a:lnTo>
                <a:cubicBezTo>
                  <a:pt x="292011" y="3235"/>
                  <a:pt x="301596" y="0"/>
                  <a:pt x="312863" y="0"/>
                </a:cubicBezTo>
                <a:cubicBezTo>
                  <a:pt x="323135" y="0"/>
                  <a:pt x="331102" y="2613"/>
                  <a:pt x="336892" y="7779"/>
                </a:cubicBezTo>
                <a:cubicBezTo>
                  <a:pt x="342805" y="12943"/>
                  <a:pt x="345731" y="19726"/>
                  <a:pt x="345731" y="28065"/>
                </a:cubicBezTo>
                <a:cubicBezTo>
                  <a:pt x="345731" y="34848"/>
                  <a:pt x="343801" y="40262"/>
                  <a:pt x="340067" y="44244"/>
                </a:cubicBezTo>
                <a:cubicBezTo>
                  <a:pt x="336331" y="48227"/>
                  <a:pt x="331912" y="50840"/>
                  <a:pt x="326745" y="52147"/>
                </a:cubicBezTo>
                <a:cubicBezTo>
                  <a:pt x="330916" y="52707"/>
                  <a:pt x="334775" y="54201"/>
                  <a:pt x="338261" y="56441"/>
                </a:cubicBezTo>
                <a:cubicBezTo>
                  <a:pt x="341810" y="58681"/>
                  <a:pt x="344735" y="61543"/>
                  <a:pt x="346913" y="65153"/>
                </a:cubicBezTo>
                <a:cubicBezTo>
                  <a:pt x="349093" y="68700"/>
                  <a:pt x="350213" y="72869"/>
                  <a:pt x="350213" y="77661"/>
                </a:cubicBezTo>
                <a:cubicBezTo>
                  <a:pt x="350213" y="84257"/>
                  <a:pt x="348532" y="89982"/>
                  <a:pt x="345295" y="94836"/>
                </a:cubicBezTo>
                <a:cubicBezTo>
                  <a:pt x="341995" y="99752"/>
                  <a:pt x="337451" y="103486"/>
                  <a:pt x="331663" y="106224"/>
                </a:cubicBezTo>
                <a:cubicBezTo>
                  <a:pt x="325998" y="108775"/>
                  <a:pt x="319400" y="110082"/>
                  <a:pt x="311806" y="110082"/>
                </a:cubicBezTo>
                <a:cubicBezTo>
                  <a:pt x="298670" y="110082"/>
                  <a:pt x="288524" y="107033"/>
                  <a:pt x="281303" y="100997"/>
                </a:cubicBezTo>
                <a:lnTo>
                  <a:pt x="281303" y="86062"/>
                </a:lnTo>
                <a:cubicBezTo>
                  <a:pt x="285101" y="89733"/>
                  <a:pt x="289707" y="92596"/>
                  <a:pt x="295061" y="94711"/>
                </a:cubicBezTo>
                <a:cubicBezTo>
                  <a:pt x="300476" y="96765"/>
                  <a:pt x="306078" y="97823"/>
                  <a:pt x="311930" y="97823"/>
                </a:cubicBezTo>
                <a:cubicBezTo>
                  <a:pt x="319337" y="97823"/>
                  <a:pt x="325126" y="96080"/>
                  <a:pt x="329298" y="92596"/>
                </a:cubicBezTo>
                <a:cubicBezTo>
                  <a:pt x="333593" y="89048"/>
                  <a:pt x="335708" y="84132"/>
                  <a:pt x="335708" y="77972"/>
                </a:cubicBezTo>
                <a:cubicBezTo>
                  <a:pt x="335708" y="71998"/>
                  <a:pt x="333780" y="67393"/>
                  <a:pt x="329857" y="64095"/>
                </a:cubicBezTo>
                <a:cubicBezTo>
                  <a:pt x="326123" y="60673"/>
                  <a:pt x="320208" y="58992"/>
                  <a:pt x="312242" y="58992"/>
                </a:cubicBezTo>
                <a:lnTo>
                  <a:pt x="298483" y="58992"/>
                </a:lnTo>
                <a:close/>
                <a:moveTo>
                  <a:pt x="414890" y="110082"/>
                </a:moveTo>
                <a:cubicBezTo>
                  <a:pt x="404307" y="110082"/>
                  <a:pt x="395032" y="107904"/>
                  <a:pt x="387064" y="103486"/>
                </a:cubicBezTo>
                <a:cubicBezTo>
                  <a:pt x="379220" y="99129"/>
                  <a:pt x="373058" y="92844"/>
                  <a:pt x="368700" y="84693"/>
                </a:cubicBezTo>
                <a:cubicBezTo>
                  <a:pt x="364343" y="76416"/>
                  <a:pt x="362102" y="66584"/>
                  <a:pt x="362102" y="55134"/>
                </a:cubicBezTo>
                <a:cubicBezTo>
                  <a:pt x="362102" y="37897"/>
                  <a:pt x="366647" y="24455"/>
                  <a:pt x="375735" y="14810"/>
                </a:cubicBezTo>
                <a:cubicBezTo>
                  <a:pt x="384761" y="5040"/>
                  <a:pt x="397709" y="186"/>
                  <a:pt x="414579" y="186"/>
                </a:cubicBezTo>
                <a:cubicBezTo>
                  <a:pt x="420866" y="186"/>
                  <a:pt x="426841" y="871"/>
                  <a:pt x="432506" y="2240"/>
                </a:cubicBezTo>
                <a:cubicBezTo>
                  <a:pt x="438296" y="3547"/>
                  <a:pt x="443150" y="5414"/>
                  <a:pt x="447135" y="7902"/>
                </a:cubicBezTo>
                <a:lnTo>
                  <a:pt x="447135" y="21344"/>
                </a:lnTo>
                <a:cubicBezTo>
                  <a:pt x="442840" y="18669"/>
                  <a:pt x="437797" y="16615"/>
                  <a:pt x="432071" y="15121"/>
                </a:cubicBezTo>
                <a:cubicBezTo>
                  <a:pt x="426343" y="13628"/>
                  <a:pt x="420492" y="12881"/>
                  <a:pt x="414392" y="12881"/>
                </a:cubicBezTo>
                <a:cubicBezTo>
                  <a:pt x="401880" y="12881"/>
                  <a:pt x="392542" y="16366"/>
                  <a:pt x="386504" y="23459"/>
                </a:cubicBezTo>
                <a:cubicBezTo>
                  <a:pt x="380404" y="30554"/>
                  <a:pt x="377354" y="41071"/>
                  <a:pt x="377354" y="55134"/>
                </a:cubicBezTo>
                <a:cubicBezTo>
                  <a:pt x="377354" y="69260"/>
                  <a:pt x="380653" y="79839"/>
                  <a:pt x="387250" y="86933"/>
                </a:cubicBezTo>
                <a:cubicBezTo>
                  <a:pt x="393787" y="93902"/>
                  <a:pt x="403436" y="97387"/>
                  <a:pt x="416073" y="97387"/>
                </a:cubicBezTo>
                <a:cubicBezTo>
                  <a:pt x="428024" y="97387"/>
                  <a:pt x="438357" y="94089"/>
                  <a:pt x="447135" y="87555"/>
                </a:cubicBezTo>
                <a:lnTo>
                  <a:pt x="447135" y="100997"/>
                </a:lnTo>
                <a:cubicBezTo>
                  <a:pt x="443648" y="103734"/>
                  <a:pt x="439042" y="105974"/>
                  <a:pt x="433253" y="107717"/>
                </a:cubicBezTo>
                <a:cubicBezTo>
                  <a:pt x="427463" y="109273"/>
                  <a:pt x="421363" y="110082"/>
                  <a:pt x="414890" y="110082"/>
                </a:cubicBez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8" name="Полилиния 937">
            <a:extLst>
              <a:ext uri="{FF2B5EF4-FFF2-40B4-BE49-F238E27FC236}">
                <a16:creationId xmlns:a16="http://schemas.microsoft.com/office/drawing/2014/main" id="{5972E110-2268-235A-6EEB-70279DF14565}"/>
              </a:ext>
            </a:extLst>
          </p:cNvPr>
          <p:cNvSpPr/>
          <p:nvPr userDrawn="1"/>
        </p:nvSpPr>
        <p:spPr>
          <a:xfrm>
            <a:off x="6844904" y="8144980"/>
            <a:ext cx="2557159" cy="726227"/>
          </a:xfrm>
          <a:custGeom>
            <a:avLst/>
            <a:gdLst>
              <a:gd name="connsiteX0" fmla="*/ 2232 w 2191162"/>
              <a:gd name="connsiteY0" fmla="*/ 1622 h 622284"/>
              <a:gd name="connsiteX1" fmla="*/ 2193395 w 2191162"/>
              <a:gd name="connsiteY1" fmla="*/ 1622 h 622284"/>
              <a:gd name="connsiteX2" fmla="*/ 2193395 w 2191162"/>
              <a:gd name="connsiteY2" fmla="*/ 623906 h 622284"/>
              <a:gd name="connsiteX3" fmla="*/ 2232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622"/>
                </a:moveTo>
                <a:lnTo>
                  <a:pt x="2193395" y="1622"/>
                </a:lnTo>
                <a:lnTo>
                  <a:pt x="2193395" y="623906"/>
                </a:lnTo>
                <a:lnTo>
                  <a:pt x="2232" y="623906"/>
                </a:lnTo>
                <a:close/>
              </a:path>
            </a:pathLst>
          </a:custGeom>
          <a:solidFill>
            <a:srgbClr val="647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9" name="Полилиния 938">
            <a:extLst>
              <a:ext uri="{FF2B5EF4-FFF2-40B4-BE49-F238E27FC236}">
                <a16:creationId xmlns:a16="http://schemas.microsoft.com/office/drawing/2014/main" id="{FC336E25-5F29-5C69-C8A5-5CC93571968F}"/>
              </a:ext>
            </a:extLst>
          </p:cNvPr>
          <p:cNvSpPr/>
          <p:nvPr userDrawn="1"/>
        </p:nvSpPr>
        <p:spPr>
          <a:xfrm>
            <a:off x="6968113" y="8446726"/>
            <a:ext cx="684765" cy="128468"/>
          </a:xfrm>
          <a:custGeom>
            <a:avLst/>
            <a:gdLst>
              <a:gd name="connsiteX0" fmla="*/ 22099 w 586758"/>
              <a:gd name="connsiteY0" fmla="*/ 108588 h 110081"/>
              <a:gd name="connsiteX1" fmla="*/ 10147 w 586758"/>
              <a:gd name="connsiteY1" fmla="*/ 108588 h 110081"/>
              <a:gd name="connsiteX2" fmla="*/ 16435 w 586758"/>
              <a:gd name="connsiteY2" fmla="*/ 77661 h 110081"/>
              <a:gd name="connsiteX3" fmla="*/ 0 w 586758"/>
              <a:gd name="connsiteY3" fmla="*/ 77661 h 110081"/>
              <a:gd name="connsiteX4" fmla="*/ 0 w 586758"/>
              <a:gd name="connsiteY4" fmla="*/ 67206 h 110081"/>
              <a:gd name="connsiteX5" fmla="*/ 18675 w 586758"/>
              <a:gd name="connsiteY5" fmla="*/ 67206 h 110081"/>
              <a:gd name="connsiteX6" fmla="*/ 24216 w 586758"/>
              <a:gd name="connsiteY6" fmla="*/ 40012 h 110081"/>
              <a:gd name="connsiteX7" fmla="*/ 4047 w 586758"/>
              <a:gd name="connsiteY7" fmla="*/ 40012 h 110081"/>
              <a:gd name="connsiteX8" fmla="*/ 4047 w 586758"/>
              <a:gd name="connsiteY8" fmla="*/ 29559 h 110081"/>
              <a:gd name="connsiteX9" fmla="*/ 26269 w 586758"/>
              <a:gd name="connsiteY9" fmla="*/ 29559 h 110081"/>
              <a:gd name="connsiteX10" fmla="*/ 32121 w 586758"/>
              <a:gd name="connsiteY10" fmla="*/ 1493 h 110081"/>
              <a:gd name="connsiteX11" fmla="*/ 44073 w 586758"/>
              <a:gd name="connsiteY11" fmla="*/ 1493 h 110081"/>
              <a:gd name="connsiteX12" fmla="*/ 38222 w 586758"/>
              <a:gd name="connsiteY12" fmla="*/ 29559 h 110081"/>
              <a:gd name="connsiteX13" fmla="*/ 60630 w 586758"/>
              <a:gd name="connsiteY13" fmla="*/ 29559 h 110081"/>
              <a:gd name="connsiteX14" fmla="*/ 66481 w 586758"/>
              <a:gd name="connsiteY14" fmla="*/ 1493 h 110081"/>
              <a:gd name="connsiteX15" fmla="*/ 78434 w 586758"/>
              <a:gd name="connsiteY15" fmla="*/ 1493 h 110081"/>
              <a:gd name="connsiteX16" fmla="*/ 72583 w 586758"/>
              <a:gd name="connsiteY16" fmla="*/ 29559 h 110081"/>
              <a:gd name="connsiteX17" fmla="*/ 89328 w 586758"/>
              <a:gd name="connsiteY17" fmla="*/ 29559 h 110081"/>
              <a:gd name="connsiteX18" fmla="*/ 89328 w 586758"/>
              <a:gd name="connsiteY18" fmla="*/ 40012 h 110081"/>
              <a:gd name="connsiteX19" fmla="*/ 70529 w 586758"/>
              <a:gd name="connsiteY19" fmla="*/ 40012 h 110081"/>
              <a:gd name="connsiteX20" fmla="*/ 64988 w 586758"/>
              <a:gd name="connsiteY20" fmla="*/ 67206 h 110081"/>
              <a:gd name="connsiteX21" fmla="*/ 85281 w 586758"/>
              <a:gd name="connsiteY21" fmla="*/ 67206 h 110081"/>
              <a:gd name="connsiteX22" fmla="*/ 85281 w 586758"/>
              <a:gd name="connsiteY22" fmla="*/ 77661 h 110081"/>
              <a:gd name="connsiteX23" fmla="*/ 62747 w 586758"/>
              <a:gd name="connsiteY23" fmla="*/ 77661 h 110081"/>
              <a:gd name="connsiteX24" fmla="*/ 56460 w 586758"/>
              <a:gd name="connsiteY24" fmla="*/ 108588 h 110081"/>
              <a:gd name="connsiteX25" fmla="*/ 44509 w 586758"/>
              <a:gd name="connsiteY25" fmla="*/ 108588 h 110081"/>
              <a:gd name="connsiteX26" fmla="*/ 50796 w 586758"/>
              <a:gd name="connsiteY26" fmla="*/ 77661 h 110081"/>
              <a:gd name="connsiteX27" fmla="*/ 28386 w 586758"/>
              <a:gd name="connsiteY27" fmla="*/ 77661 h 110081"/>
              <a:gd name="connsiteX28" fmla="*/ 22099 w 586758"/>
              <a:gd name="connsiteY28" fmla="*/ 108588 h 110081"/>
              <a:gd name="connsiteX29" fmla="*/ 30626 w 586758"/>
              <a:gd name="connsiteY29" fmla="*/ 67206 h 110081"/>
              <a:gd name="connsiteX30" fmla="*/ 53036 w 586758"/>
              <a:gd name="connsiteY30" fmla="*/ 67206 h 110081"/>
              <a:gd name="connsiteX31" fmla="*/ 58577 w 586758"/>
              <a:gd name="connsiteY31" fmla="*/ 40012 h 110081"/>
              <a:gd name="connsiteX32" fmla="*/ 36167 w 586758"/>
              <a:gd name="connsiteY32" fmla="*/ 40012 h 110081"/>
              <a:gd name="connsiteX33" fmla="*/ 30626 w 586758"/>
              <a:gd name="connsiteY33" fmla="*/ 67206 h 110081"/>
              <a:gd name="connsiteX34" fmla="*/ 173239 w 586758"/>
              <a:gd name="connsiteY34" fmla="*/ 73491 h 110081"/>
              <a:gd name="connsiteX35" fmla="*/ 168508 w 586758"/>
              <a:gd name="connsiteY35" fmla="*/ 92782 h 110081"/>
              <a:gd name="connsiteX36" fmla="*/ 155809 w 586758"/>
              <a:gd name="connsiteY36" fmla="*/ 105601 h 110081"/>
              <a:gd name="connsiteX37" fmla="*/ 137695 w 586758"/>
              <a:gd name="connsiteY37" fmla="*/ 110082 h 110081"/>
              <a:gd name="connsiteX38" fmla="*/ 116033 w 586758"/>
              <a:gd name="connsiteY38" fmla="*/ 104108 h 110081"/>
              <a:gd name="connsiteX39" fmla="*/ 103955 w 586758"/>
              <a:gd name="connsiteY39" fmla="*/ 87555 h 110081"/>
              <a:gd name="connsiteX40" fmla="*/ 100221 w 586758"/>
              <a:gd name="connsiteY40" fmla="*/ 63161 h 110081"/>
              <a:gd name="connsiteX41" fmla="*/ 104703 w 586758"/>
              <a:gd name="connsiteY41" fmla="*/ 30181 h 110081"/>
              <a:gd name="connsiteX42" fmla="*/ 118709 w 586758"/>
              <a:gd name="connsiteY42" fmla="*/ 8089 h 110081"/>
              <a:gd name="connsiteX43" fmla="*/ 143235 w 586758"/>
              <a:gd name="connsiteY43" fmla="*/ 0 h 110081"/>
              <a:gd name="connsiteX44" fmla="*/ 165770 w 586758"/>
              <a:gd name="connsiteY44" fmla="*/ 5538 h 110081"/>
              <a:gd name="connsiteX45" fmla="*/ 165770 w 586758"/>
              <a:gd name="connsiteY45" fmla="*/ 18855 h 110081"/>
              <a:gd name="connsiteX46" fmla="*/ 143235 w 586758"/>
              <a:gd name="connsiteY46" fmla="*/ 12259 h 110081"/>
              <a:gd name="connsiteX47" fmla="*/ 127673 w 586758"/>
              <a:gd name="connsiteY47" fmla="*/ 17361 h 110081"/>
              <a:gd name="connsiteX48" fmla="*/ 117837 w 586758"/>
              <a:gd name="connsiteY48" fmla="*/ 31238 h 110081"/>
              <a:gd name="connsiteX49" fmla="*/ 113667 w 586758"/>
              <a:gd name="connsiteY49" fmla="*/ 50778 h 110081"/>
              <a:gd name="connsiteX50" fmla="*/ 124996 w 586758"/>
              <a:gd name="connsiteY50" fmla="*/ 40759 h 110081"/>
              <a:gd name="connsiteX51" fmla="*/ 139065 w 586758"/>
              <a:gd name="connsiteY51" fmla="*/ 37523 h 110081"/>
              <a:gd name="connsiteX52" fmla="*/ 156370 w 586758"/>
              <a:gd name="connsiteY52" fmla="*/ 41693 h 110081"/>
              <a:gd name="connsiteX53" fmla="*/ 168633 w 586758"/>
              <a:gd name="connsiteY53" fmla="*/ 53952 h 110081"/>
              <a:gd name="connsiteX54" fmla="*/ 173239 w 586758"/>
              <a:gd name="connsiteY54" fmla="*/ 73491 h 110081"/>
              <a:gd name="connsiteX55" fmla="*/ 137259 w 586758"/>
              <a:gd name="connsiteY55" fmla="*/ 98134 h 110081"/>
              <a:gd name="connsiteX56" fmla="*/ 148028 w 586758"/>
              <a:gd name="connsiteY56" fmla="*/ 95458 h 110081"/>
              <a:gd name="connsiteX57" fmla="*/ 155934 w 586758"/>
              <a:gd name="connsiteY57" fmla="*/ 87244 h 110081"/>
              <a:gd name="connsiteX58" fmla="*/ 159046 w 586758"/>
              <a:gd name="connsiteY58" fmla="*/ 73803 h 110081"/>
              <a:gd name="connsiteX59" fmla="*/ 156059 w 586758"/>
              <a:gd name="connsiteY59" fmla="*/ 60174 h 110081"/>
              <a:gd name="connsiteX60" fmla="*/ 148464 w 586758"/>
              <a:gd name="connsiteY60" fmla="*/ 51961 h 110081"/>
              <a:gd name="connsiteX61" fmla="*/ 138753 w 586758"/>
              <a:gd name="connsiteY61" fmla="*/ 49160 h 110081"/>
              <a:gd name="connsiteX62" fmla="*/ 122195 w 586758"/>
              <a:gd name="connsiteY62" fmla="*/ 55570 h 110081"/>
              <a:gd name="connsiteX63" fmla="*/ 115597 w 586758"/>
              <a:gd name="connsiteY63" fmla="*/ 74114 h 110081"/>
              <a:gd name="connsiteX64" fmla="*/ 121448 w 586758"/>
              <a:gd name="connsiteY64" fmla="*/ 91538 h 110081"/>
              <a:gd name="connsiteX65" fmla="*/ 137259 w 586758"/>
              <a:gd name="connsiteY65" fmla="*/ 98134 h 110081"/>
              <a:gd name="connsiteX66" fmla="*/ 240903 w 586758"/>
              <a:gd name="connsiteY66" fmla="*/ 108588 h 110081"/>
              <a:gd name="connsiteX67" fmla="*/ 227769 w 586758"/>
              <a:gd name="connsiteY67" fmla="*/ 108588 h 110081"/>
              <a:gd name="connsiteX68" fmla="*/ 227769 w 586758"/>
              <a:gd name="connsiteY68" fmla="*/ 83199 h 110081"/>
              <a:gd name="connsiteX69" fmla="*/ 181457 w 586758"/>
              <a:gd name="connsiteY69" fmla="*/ 83199 h 110081"/>
              <a:gd name="connsiteX70" fmla="*/ 181457 w 586758"/>
              <a:gd name="connsiteY70" fmla="*/ 73927 h 110081"/>
              <a:gd name="connsiteX71" fmla="*/ 223288 w 586758"/>
              <a:gd name="connsiteY71" fmla="*/ 1493 h 110081"/>
              <a:gd name="connsiteX72" fmla="*/ 240903 w 586758"/>
              <a:gd name="connsiteY72" fmla="*/ 1493 h 110081"/>
              <a:gd name="connsiteX73" fmla="*/ 240903 w 586758"/>
              <a:gd name="connsiteY73" fmla="*/ 71873 h 110081"/>
              <a:gd name="connsiteX74" fmla="*/ 255408 w 586758"/>
              <a:gd name="connsiteY74" fmla="*/ 71873 h 110081"/>
              <a:gd name="connsiteX75" fmla="*/ 255408 w 586758"/>
              <a:gd name="connsiteY75" fmla="*/ 83199 h 110081"/>
              <a:gd name="connsiteX76" fmla="*/ 240903 w 586758"/>
              <a:gd name="connsiteY76" fmla="*/ 83199 h 110081"/>
              <a:gd name="connsiteX77" fmla="*/ 240903 w 586758"/>
              <a:gd name="connsiteY77" fmla="*/ 108588 h 110081"/>
              <a:gd name="connsiteX78" fmla="*/ 195026 w 586758"/>
              <a:gd name="connsiteY78" fmla="*/ 71873 h 110081"/>
              <a:gd name="connsiteX79" fmla="*/ 227769 w 586758"/>
              <a:gd name="connsiteY79" fmla="*/ 71873 h 110081"/>
              <a:gd name="connsiteX80" fmla="*/ 227769 w 586758"/>
              <a:gd name="connsiteY80" fmla="*/ 16117 h 110081"/>
              <a:gd name="connsiteX81" fmla="*/ 195026 w 586758"/>
              <a:gd name="connsiteY81" fmla="*/ 71873 h 110081"/>
              <a:gd name="connsiteX82" fmla="*/ 335149 w 586758"/>
              <a:gd name="connsiteY82" fmla="*/ 13628 h 110081"/>
              <a:gd name="connsiteX83" fmla="*/ 289707 w 586758"/>
              <a:gd name="connsiteY83" fmla="*/ 108588 h 110081"/>
              <a:gd name="connsiteX84" fmla="*/ 275078 w 586758"/>
              <a:gd name="connsiteY84" fmla="*/ 108588 h 110081"/>
              <a:gd name="connsiteX85" fmla="*/ 320831 w 586758"/>
              <a:gd name="connsiteY85" fmla="*/ 14374 h 110081"/>
              <a:gd name="connsiteX86" fmla="*/ 266301 w 586758"/>
              <a:gd name="connsiteY86" fmla="*/ 14374 h 110081"/>
              <a:gd name="connsiteX87" fmla="*/ 266301 w 586758"/>
              <a:gd name="connsiteY87" fmla="*/ 1493 h 110081"/>
              <a:gd name="connsiteX88" fmla="*/ 335149 w 586758"/>
              <a:gd name="connsiteY88" fmla="*/ 1493 h 110081"/>
              <a:gd name="connsiteX89" fmla="*/ 335149 w 586758"/>
              <a:gd name="connsiteY89" fmla="*/ 13628 h 110081"/>
              <a:gd name="connsiteX90" fmla="*/ 366523 w 586758"/>
              <a:gd name="connsiteY90" fmla="*/ 58992 h 110081"/>
              <a:gd name="connsiteX91" fmla="*/ 366523 w 586758"/>
              <a:gd name="connsiteY91" fmla="*/ 46298 h 110081"/>
              <a:gd name="connsiteX92" fmla="*/ 380839 w 586758"/>
              <a:gd name="connsiteY92" fmla="*/ 46298 h 110081"/>
              <a:gd name="connsiteX93" fmla="*/ 394410 w 586758"/>
              <a:gd name="connsiteY93" fmla="*/ 41817 h 110081"/>
              <a:gd name="connsiteX94" fmla="*/ 399825 w 586758"/>
              <a:gd name="connsiteY94" fmla="*/ 28812 h 110081"/>
              <a:gd name="connsiteX95" fmla="*/ 394907 w 586758"/>
              <a:gd name="connsiteY95" fmla="*/ 16864 h 110081"/>
              <a:gd name="connsiteX96" fmla="*/ 380716 w 586758"/>
              <a:gd name="connsiteY96" fmla="*/ 12383 h 110081"/>
              <a:gd name="connsiteX97" fmla="*/ 366024 w 586758"/>
              <a:gd name="connsiteY97" fmla="*/ 15246 h 110081"/>
              <a:gd name="connsiteX98" fmla="*/ 352018 w 586758"/>
              <a:gd name="connsiteY98" fmla="*/ 24331 h 110081"/>
              <a:gd name="connsiteX99" fmla="*/ 352018 w 586758"/>
              <a:gd name="connsiteY99" fmla="*/ 9707 h 110081"/>
              <a:gd name="connsiteX100" fmla="*/ 380839 w 586758"/>
              <a:gd name="connsiteY100" fmla="*/ 0 h 110081"/>
              <a:gd name="connsiteX101" fmla="*/ 404867 w 586758"/>
              <a:gd name="connsiteY101" fmla="*/ 7779 h 110081"/>
              <a:gd name="connsiteX102" fmla="*/ 413706 w 586758"/>
              <a:gd name="connsiteY102" fmla="*/ 28065 h 110081"/>
              <a:gd name="connsiteX103" fmla="*/ 408042 w 586758"/>
              <a:gd name="connsiteY103" fmla="*/ 44244 h 110081"/>
              <a:gd name="connsiteX104" fmla="*/ 394722 w 586758"/>
              <a:gd name="connsiteY104" fmla="*/ 52147 h 110081"/>
              <a:gd name="connsiteX105" fmla="*/ 406237 w 586758"/>
              <a:gd name="connsiteY105" fmla="*/ 56441 h 110081"/>
              <a:gd name="connsiteX106" fmla="*/ 414890 w 586758"/>
              <a:gd name="connsiteY106" fmla="*/ 65153 h 110081"/>
              <a:gd name="connsiteX107" fmla="*/ 418188 w 586758"/>
              <a:gd name="connsiteY107" fmla="*/ 77661 h 110081"/>
              <a:gd name="connsiteX108" fmla="*/ 413272 w 586758"/>
              <a:gd name="connsiteY108" fmla="*/ 94836 h 110081"/>
              <a:gd name="connsiteX109" fmla="*/ 399638 w 586758"/>
              <a:gd name="connsiteY109" fmla="*/ 106224 h 110081"/>
              <a:gd name="connsiteX110" fmla="*/ 379781 w 586758"/>
              <a:gd name="connsiteY110" fmla="*/ 110082 h 110081"/>
              <a:gd name="connsiteX111" fmla="*/ 349342 w 586758"/>
              <a:gd name="connsiteY111" fmla="*/ 100997 h 110081"/>
              <a:gd name="connsiteX112" fmla="*/ 349342 w 586758"/>
              <a:gd name="connsiteY112" fmla="*/ 86062 h 110081"/>
              <a:gd name="connsiteX113" fmla="*/ 363036 w 586758"/>
              <a:gd name="connsiteY113" fmla="*/ 94711 h 110081"/>
              <a:gd name="connsiteX114" fmla="*/ 379968 w 586758"/>
              <a:gd name="connsiteY114" fmla="*/ 97823 h 110081"/>
              <a:gd name="connsiteX115" fmla="*/ 397273 w 586758"/>
              <a:gd name="connsiteY115" fmla="*/ 92596 h 110081"/>
              <a:gd name="connsiteX116" fmla="*/ 403685 w 586758"/>
              <a:gd name="connsiteY116" fmla="*/ 77972 h 110081"/>
              <a:gd name="connsiteX117" fmla="*/ 397895 w 586758"/>
              <a:gd name="connsiteY117" fmla="*/ 64095 h 110081"/>
              <a:gd name="connsiteX118" fmla="*/ 380217 w 586758"/>
              <a:gd name="connsiteY118" fmla="*/ 58992 h 110081"/>
              <a:gd name="connsiteX119" fmla="*/ 366523 w 586758"/>
              <a:gd name="connsiteY119" fmla="*/ 58992 h 110081"/>
              <a:gd name="connsiteX120" fmla="*/ 436366 w 586758"/>
              <a:gd name="connsiteY120" fmla="*/ 1493 h 110081"/>
              <a:gd name="connsiteX121" fmla="*/ 501789 w 586758"/>
              <a:gd name="connsiteY121" fmla="*/ 1493 h 110081"/>
              <a:gd name="connsiteX122" fmla="*/ 501789 w 586758"/>
              <a:gd name="connsiteY122" fmla="*/ 14374 h 110081"/>
              <a:gd name="connsiteX123" fmla="*/ 450434 w 586758"/>
              <a:gd name="connsiteY123" fmla="*/ 14374 h 110081"/>
              <a:gd name="connsiteX124" fmla="*/ 450434 w 586758"/>
              <a:gd name="connsiteY124" fmla="*/ 49907 h 110081"/>
              <a:gd name="connsiteX125" fmla="*/ 494071 w 586758"/>
              <a:gd name="connsiteY125" fmla="*/ 49907 h 110081"/>
              <a:gd name="connsiteX126" fmla="*/ 494071 w 586758"/>
              <a:gd name="connsiteY126" fmla="*/ 62601 h 110081"/>
              <a:gd name="connsiteX127" fmla="*/ 450434 w 586758"/>
              <a:gd name="connsiteY127" fmla="*/ 62601 h 110081"/>
              <a:gd name="connsiteX128" fmla="*/ 450434 w 586758"/>
              <a:gd name="connsiteY128" fmla="*/ 108588 h 110081"/>
              <a:gd name="connsiteX129" fmla="*/ 436366 w 586758"/>
              <a:gd name="connsiteY129" fmla="*/ 108588 h 110081"/>
              <a:gd name="connsiteX130" fmla="*/ 436366 w 586758"/>
              <a:gd name="connsiteY130" fmla="*/ 1493 h 110081"/>
              <a:gd name="connsiteX131" fmla="*/ 521273 w 586758"/>
              <a:gd name="connsiteY131" fmla="*/ 1493 h 110081"/>
              <a:gd name="connsiteX132" fmla="*/ 586759 w 586758"/>
              <a:gd name="connsiteY132" fmla="*/ 1493 h 110081"/>
              <a:gd name="connsiteX133" fmla="*/ 586759 w 586758"/>
              <a:gd name="connsiteY133" fmla="*/ 14374 h 110081"/>
              <a:gd name="connsiteX134" fmla="*/ 535341 w 586758"/>
              <a:gd name="connsiteY134" fmla="*/ 14374 h 110081"/>
              <a:gd name="connsiteX135" fmla="*/ 535341 w 586758"/>
              <a:gd name="connsiteY135" fmla="*/ 49907 h 110081"/>
              <a:gd name="connsiteX136" fmla="*/ 578978 w 586758"/>
              <a:gd name="connsiteY136" fmla="*/ 49907 h 110081"/>
              <a:gd name="connsiteX137" fmla="*/ 578978 w 586758"/>
              <a:gd name="connsiteY137" fmla="*/ 62601 h 110081"/>
              <a:gd name="connsiteX138" fmla="*/ 535341 w 586758"/>
              <a:gd name="connsiteY138" fmla="*/ 62601 h 110081"/>
              <a:gd name="connsiteX139" fmla="*/ 535341 w 586758"/>
              <a:gd name="connsiteY139" fmla="*/ 108588 h 110081"/>
              <a:gd name="connsiteX140" fmla="*/ 521273 w 586758"/>
              <a:gd name="connsiteY140" fmla="*/ 108588 h 110081"/>
              <a:gd name="connsiteX141" fmla="*/ 521273 w 586758"/>
              <a:gd name="connsiteY141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586758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73239" y="73491"/>
                </a:moveTo>
                <a:cubicBezTo>
                  <a:pt x="173239" y="80772"/>
                  <a:pt x="171683" y="87182"/>
                  <a:pt x="168508" y="92782"/>
                </a:cubicBezTo>
                <a:cubicBezTo>
                  <a:pt x="165396" y="98258"/>
                  <a:pt x="161163" y="102490"/>
                  <a:pt x="155809" y="105601"/>
                </a:cubicBezTo>
                <a:cubicBezTo>
                  <a:pt x="150394" y="108588"/>
                  <a:pt x="144355" y="110082"/>
                  <a:pt x="137695" y="110082"/>
                </a:cubicBezTo>
                <a:cubicBezTo>
                  <a:pt x="128730" y="110082"/>
                  <a:pt x="121510" y="108091"/>
                  <a:pt x="116033" y="104108"/>
                </a:cubicBezTo>
                <a:cubicBezTo>
                  <a:pt x="110554" y="100125"/>
                  <a:pt x="106509" y="94587"/>
                  <a:pt x="103955" y="87555"/>
                </a:cubicBezTo>
                <a:cubicBezTo>
                  <a:pt x="101466" y="80461"/>
                  <a:pt x="100221" y="72372"/>
                  <a:pt x="100221" y="63161"/>
                </a:cubicBezTo>
                <a:cubicBezTo>
                  <a:pt x="100221" y="50653"/>
                  <a:pt x="101715" y="39639"/>
                  <a:pt x="104703" y="30181"/>
                </a:cubicBezTo>
                <a:cubicBezTo>
                  <a:pt x="107753" y="20722"/>
                  <a:pt x="112484" y="13379"/>
                  <a:pt x="118709" y="8089"/>
                </a:cubicBezTo>
                <a:cubicBezTo>
                  <a:pt x="125121" y="2675"/>
                  <a:pt x="133276" y="0"/>
                  <a:pt x="143235" y="0"/>
                </a:cubicBezTo>
                <a:cubicBezTo>
                  <a:pt x="151826" y="0"/>
                  <a:pt x="159296" y="1866"/>
                  <a:pt x="165770" y="5538"/>
                </a:cubicBezTo>
                <a:lnTo>
                  <a:pt x="165770" y="18855"/>
                </a:lnTo>
                <a:cubicBezTo>
                  <a:pt x="159296" y="14437"/>
                  <a:pt x="151826" y="12259"/>
                  <a:pt x="143235" y="12259"/>
                </a:cubicBezTo>
                <a:cubicBezTo>
                  <a:pt x="137072" y="12259"/>
                  <a:pt x="131905" y="13939"/>
                  <a:pt x="127673" y="17361"/>
                </a:cubicBezTo>
                <a:cubicBezTo>
                  <a:pt x="123502" y="20722"/>
                  <a:pt x="120203" y="25327"/>
                  <a:pt x="117837" y="31238"/>
                </a:cubicBezTo>
                <a:cubicBezTo>
                  <a:pt x="115534" y="37026"/>
                  <a:pt x="114165" y="43498"/>
                  <a:pt x="113667" y="50778"/>
                </a:cubicBezTo>
                <a:cubicBezTo>
                  <a:pt x="116966" y="46298"/>
                  <a:pt x="120702" y="42999"/>
                  <a:pt x="124996" y="40759"/>
                </a:cubicBezTo>
                <a:cubicBezTo>
                  <a:pt x="129291" y="38581"/>
                  <a:pt x="133960" y="37523"/>
                  <a:pt x="139065" y="37523"/>
                </a:cubicBezTo>
                <a:cubicBezTo>
                  <a:pt x="145539" y="37523"/>
                  <a:pt x="151328" y="38893"/>
                  <a:pt x="156370" y="41693"/>
                </a:cubicBezTo>
                <a:cubicBezTo>
                  <a:pt x="161536" y="44493"/>
                  <a:pt x="165645" y="48538"/>
                  <a:pt x="168633" y="53952"/>
                </a:cubicBezTo>
                <a:cubicBezTo>
                  <a:pt x="171745" y="59179"/>
                  <a:pt x="173239" y="65713"/>
                  <a:pt x="173239" y="73491"/>
                </a:cubicBezTo>
                <a:close/>
                <a:moveTo>
                  <a:pt x="137259" y="98134"/>
                </a:moveTo>
                <a:cubicBezTo>
                  <a:pt x="141118" y="98134"/>
                  <a:pt x="144729" y="97263"/>
                  <a:pt x="148028" y="95458"/>
                </a:cubicBezTo>
                <a:cubicBezTo>
                  <a:pt x="151328" y="93529"/>
                  <a:pt x="153942" y="90791"/>
                  <a:pt x="155934" y="87244"/>
                </a:cubicBezTo>
                <a:cubicBezTo>
                  <a:pt x="158051" y="83635"/>
                  <a:pt x="159046" y="79154"/>
                  <a:pt x="159046" y="73803"/>
                </a:cubicBezTo>
                <a:cubicBezTo>
                  <a:pt x="159046" y="68389"/>
                  <a:pt x="158051" y="63908"/>
                  <a:pt x="156059" y="60174"/>
                </a:cubicBezTo>
                <a:cubicBezTo>
                  <a:pt x="154066" y="56503"/>
                  <a:pt x="151577" y="53765"/>
                  <a:pt x="148464" y="51961"/>
                </a:cubicBezTo>
                <a:cubicBezTo>
                  <a:pt x="145352" y="50093"/>
                  <a:pt x="142115" y="49160"/>
                  <a:pt x="138753" y="49160"/>
                </a:cubicBezTo>
                <a:cubicBezTo>
                  <a:pt x="132154" y="49160"/>
                  <a:pt x="126677" y="51276"/>
                  <a:pt x="122195" y="55570"/>
                </a:cubicBezTo>
                <a:cubicBezTo>
                  <a:pt x="117775" y="59739"/>
                  <a:pt x="115597" y="65900"/>
                  <a:pt x="115597" y="74114"/>
                </a:cubicBezTo>
                <a:cubicBezTo>
                  <a:pt x="115597" y="81270"/>
                  <a:pt x="117527" y="87058"/>
                  <a:pt x="121448" y="91538"/>
                </a:cubicBezTo>
                <a:cubicBezTo>
                  <a:pt x="125308" y="95956"/>
                  <a:pt x="130598" y="98134"/>
                  <a:pt x="137259" y="98134"/>
                </a:cubicBezTo>
                <a:close/>
                <a:moveTo>
                  <a:pt x="240903" y="108588"/>
                </a:moveTo>
                <a:lnTo>
                  <a:pt x="227769" y="108588"/>
                </a:lnTo>
                <a:lnTo>
                  <a:pt x="227769" y="83199"/>
                </a:lnTo>
                <a:lnTo>
                  <a:pt x="181457" y="83199"/>
                </a:lnTo>
                <a:lnTo>
                  <a:pt x="181457" y="73927"/>
                </a:lnTo>
                <a:lnTo>
                  <a:pt x="223288" y="1493"/>
                </a:lnTo>
                <a:lnTo>
                  <a:pt x="240903" y="1493"/>
                </a:lnTo>
                <a:lnTo>
                  <a:pt x="240903" y="71873"/>
                </a:lnTo>
                <a:lnTo>
                  <a:pt x="255408" y="71873"/>
                </a:lnTo>
                <a:lnTo>
                  <a:pt x="255408" y="83199"/>
                </a:lnTo>
                <a:lnTo>
                  <a:pt x="240903" y="83199"/>
                </a:lnTo>
                <a:lnTo>
                  <a:pt x="240903" y="108588"/>
                </a:lnTo>
                <a:close/>
                <a:moveTo>
                  <a:pt x="195026" y="71873"/>
                </a:moveTo>
                <a:lnTo>
                  <a:pt x="227769" y="71873"/>
                </a:lnTo>
                <a:lnTo>
                  <a:pt x="227769" y="16117"/>
                </a:lnTo>
                <a:lnTo>
                  <a:pt x="195026" y="71873"/>
                </a:lnTo>
                <a:close/>
                <a:moveTo>
                  <a:pt x="335149" y="13628"/>
                </a:moveTo>
                <a:lnTo>
                  <a:pt x="289707" y="108588"/>
                </a:lnTo>
                <a:lnTo>
                  <a:pt x="275078" y="108588"/>
                </a:lnTo>
                <a:lnTo>
                  <a:pt x="320831" y="14374"/>
                </a:lnTo>
                <a:lnTo>
                  <a:pt x="266301" y="14374"/>
                </a:lnTo>
                <a:lnTo>
                  <a:pt x="266301" y="1493"/>
                </a:lnTo>
                <a:lnTo>
                  <a:pt x="335149" y="1493"/>
                </a:lnTo>
                <a:lnTo>
                  <a:pt x="335149" y="13628"/>
                </a:lnTo>
                <a:close/>
                <a:moveTo>
                  <a:pt x="366523" y="58992"/>
                </a:moveTo>
                <a:lnTo>
                  <a:pt x="366523" y="46298"/>
                </a:lnTo>
                <a:lnTo>
                  <a:pt x="380839" y="46298"/>
                </a:lnTo>
                <a:cubicBezTo>
                  <a:pt x="386442" y="46298"/>
                  <a:pt x="390924" y="44804"/>
                  <a:pt x="394410" y="41817"/>
                </a:cubicBezTo>
                <a:cubicBezTo>
                  <a:pt x="398019" y="38768"/>
                  <a:pt x="399825" y="34412"/>
                  <a:pt x="399825" y="28812"/>
                </a:cubicBezTo>
                <a:cubicBezTo>
                  <a:pt x="399825" y="23771"/>
                  <a:pt x="398144" y="19788"/>
                  <a:pt x="394907" y="16864"/>
                </a:cubicBezTo>
                <a:cubicBezTo>
                  <a:pt x="391609" y="13877"/>
                  <a:pt x="386878" y="12383"/>
                  <a:pt x="380716" y="12383"/>
                </a:cubicBezTo>
                <a:cubicBezTo>
                  <a:pt x="375486" y="12383"/>
                  <a:pt x="370630" y="13379"/>
                  <a:pt x="366024" y="15246"/>
                </a:cubicBezTo>
                <a:cubicBezTo>
                  <a:pt x="361542" y="17113"/>
                  <a:pt x="356874" y="20162"/>
                  <a:pt x="352018" y="24331"/>
                </a:cubicBezTo>
                <a:lnTo>
                  <a:pt x="352018" y="9707"/>
                </a:lnTo>
                <a:cubicBezTo>
                  <a:pt x="359986" y="3235"/>
                  <a:pt x="369573" y="0"/>
                  <a:pt x="380839" y="0"/>
                </a:cubicBezTo>
                <a:cubicBezTo>
                  <a:pt x="391111" y="0"/>
                  <a:pt x="399141" y="2613"/>
                  <a:pt x="404867" y="7779"/>
                </a:cubicBezTo>
                <a:cubicBezTo>
                  <a:pt x="410781" y="12943"/>
                  <a:pt x="413706" y="19726"/>
                  <a:pt x="413706" y="28065"/>
                </a:cubicBezTo>
                <a:cubicBezTo>
                  <a:pt x="413706" y="34848"/>
                  <a:pt x="411840" y="40262"/>
                  <a:pt x="408042" y="44244"/>
                </a:cubicBezTo>
                <a:cubicBezTo>
                  <a:pt x="404369" y="48227"/>
                  <a:pt x="399887" y="50840"/>
                  <a:pt x="394722" y="52147"/>
                </a:cubicBezTo>
                <a:cubicBezTo>
                  <a:pt x="398892" y="52707"/>
                  <a:pt x="402750" y="54201"/>
                  <a:pt x="406237" y="56441"/>
                </a:cubicBezTo>
                <a:cubicBezTo>
                  <a:pt x="409848" y="58681"/>
                  <a:pt x="412711" y="61543"/>
                  <a:pt x="414890" y="65153"/>
                </a:cubicBezTo>
                <a:cubicBezTo>
                  <a:pt x="417068" y="68700"/>
                  <a:pt x="418188" y="72869"/>
                  <a:pt x="418188" y="77661"/>
                </a:cubicBezTo>
                <a:cubicBezTo>
                  <a:pt x="418188" y="84257"/>
                  <a:pt x="416569" y="89982"/>
                  <a:pt x="413272" y="94836"/>
                </a:cubicBezTo>
                <a:cubicBezTo>
                  <a:pt x="409972" y="99752"/>
                  <a:pt x="405428" y="103486"/>
                  <a:pt x="399638" y="106224"/>
                </a:cubicBezTo>
                <a:cubicBezTo>
                  <a:pt x="393974" y="108775"/>
                  <a:pt x="387375" y="110082"/>
                  <a:pt x="379781" y="110082"/>
                </a:cubicBezTo>
                <a:cubicBezTo>
                  <a:pt x="366647" y="110082"/>
                  <a:pt x="356500" y="107033"/>
                  <a:pt x="349342" y="100997"/>
                </a:cubicBezTo>
                <a:lnTo>
                  <a:pt x="349342" y="86062"/>
                </a:lnTo>
                <a:cubicBezTo>
                  <a:pt x="353076" y="89733"/>
                  <a:pt x="357682" y="92596"/>
                  <a:pt x="363036" y="94711"/>
                </a:cubicBezTo>
                <a:cubicBezTo>
                  <a:pt x="368451" y="96765"/>
                  <a:pt x="374054" y="97823"/>
                  <a:pt x="379968" y="97823"/>
                </a:cubicBezTo>
                <a:cubicBezTo>
                  <a:pt x="387313" y="97823"/>
                  <a:pt x="393103" y="96080"/>
                  <a:pt x="397273" y="92596"/>
                </a:cubicBezTo>
                <a:cubicBezTo>
                  <a:pt x="401568" y="89048"/>
                  <a:pt x="403685" y="84132"/>
                  <a:pt x="403685" y="77972"/>
                </a:cubicBezTo>
                <a:cubicBezTo>
                  <a:pt x="403685" y="71998"/>
                  <a:pt x="401755" y="67393"/>
                  <a:pt x="397895" y="64095"/>
                </a:cubicBezTo>
                <a:cubicBezTo>
                  <a:pt x="394098" y="60673"/>
                  <a:pt x="388185" y="58992"/>
                  <a:pt x="380217" y="58992"/>
                </a:cubicBezTo>
                <a:lnTo>
                  <a:pt x="366523" y="58992"/>
                </a:ln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21273" y="1493"/>
                </a:moveTo>
                <a:lnTo>
                  <a:pt x="586759" y="1493"/>
                </a:lnTo>
                <a:lnTo>
                  <a:pt x="586759" y="14374"/>
                </a:lnTo>
                <a:lnTo>
                  <a:pt x="535341" y="14374"/>
                </a:lnTo>
                <a:lnTo>
                  <a:pt x="535341" y="49907"/>
                </a:lnTo>
                <a:lnTo>
                  <a:pt x="578978" y="49907"/>
                </a:lnTo>
                <a:lnTo>
                  <a:pt x="578978" y="62601"/>
                </a:lnTo>
                <a:lnTo>
                  <a:pt x="535341" y="62601"/>
                </a:lnTo>
                <a:lnTo>
                  <a:pt x="535341" y="108588"/>
                </a:lnTo>
                <a:lnTo>
                  <a:pt x="521273" y="108588"/>
                </a:lnTo>
                <a:lnTo>
                  <a:pt x="52127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0" name="Полилиния 939">
            <a:extLst>
              <a:ext uri="{FF2B5EF4-FFF2-40B4-BE49-F238E27FC236}">
                <a16:creationId xmlns:a16="http://schemas.microsoft.com/office/drawing/2014/main" id="{DC60990B-9EB2-5857-6970-51D2BA847D6D}"/>
              </a:ext>
            </a:extLst>
          </p:cNvPr>
          <p:cNvSpPr/>
          <p:nvPr userDrawn="1"/>
        </p:nvSpPr>
        <p:spPr>
          <a:xfrm>
            <a:off x="6844904" y="8871205"/>
            <a:ext cx="2557159" cy="726227"/>
          </a:xfrm>
          <a:custGeom>
            <a:avLst/>
            <a:gdLst>
              <a:gd name="connsiteX0" fmla="*/ 2232 w 2191162"/>
              <a:gd name="connsiteY0" fmla="*/ 1722 h 622284"/>
              <a:gd name="connsiteX1" fmla="*/ 2193395 w 2191162"/>
              <a:gd name="connsiteY1" fmla="*/ 1722 h 622284"/>
              <a:gd name="connsiteX2" fmla="*/ 2193395 w 2191162"/>
              <a:gd name="connsiteY2" fmla="*/ 624006 h 622284"/>
              <a:gd name="connsiteX3" fmla="*/ 2232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722"/>
                </a:moveTo>
                <a:lnTo>
                  <a:pt x="2193395" y="1722"/>
                </a:lnTo>
                <a:lnTo>
                  <a:pt x="2193395" y="624006"/>
                </a:lnTo>
                <a:lnTo>
                  <a:pt x="2232" y="624006"/>
                </a:lnTo>
                <a:close/>
              </a:path>
            </a:pathLst>
          </a:custGeom>
          <a:solidFill>
            <a:srgbClr val="8C9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1" name="Полилиния 940">
            <a:extLst>
              <a:ext uri="{FF2B5EF4-FFF2-40B4-BE49-F238E27FC236}">
                <a16:creationId xmlns:a16="http://schemas.microsoft.com/office/drawing/2014/main" id="{4E3D1D93-D6E1-62F8-0DE4-13E2D2002309}"/>
              </a:ext>
            </a:extLst>
          </p:cNvPr>
          <p:cNvSpPr/>
          <p:nvPr userDrawn="1"/>
        </p:nvSpPr>
        <p:spPr>
          <a:xfrm>
            <a:off x="6968113" y="9172951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36823 w 619003"/>
              <a:gd name="connsiteY34" fmla="*/ 110082 h 110081"/>
              <a:gd name="connsiteX35" fmla="*/ 118148 w 619003"/>
              <a:gd name="connsiteY35" fmla="*/ 106473 h 110081"/>
              <a:gd name="connsiteX36" fmla="*/ 105449 w 619003"/>
              <a:gd name="connsiteY36" fmla="*/ 96205 h 110081"/>
              <a:gd name="connsiteX37" fmla="*/ 100781 w 619003"/>
              <a:gd name="connsiteY37" fmla="*/ 79777 h 110081"/>
              <a:gd name="connsiteX38" fmla="*/ 106197 w 619003"/>
              <a:gd name="connsiteY38" fmla="*/ 62291 h 110081"/>
              <a:gd name="connsiteX39" fmla="*/ 120949 w 619003"/>
              <a:gd name="connsiteY39" fmla="*/ 51711 h 110081"/>
              <a:gd name="connsiteX40" fmla="*/ 108998 w 619003"/>
              <a:gd name="connsiteY40" fmla="*/ 42564 h 110081"/>
              <a:gd name="connsiteX41" fmla="*/ 104703 w 619003"/>
              <a:gd name="connsiteY41" fmla="*/ 27504 h 110081"/>
              <a:gd name="connsiteX42" fmla="*/ 108873 w 619003"/>
              <a:gd name="connsiteY42" fmla="*/ 12570 h 110081"/>
              <a:gd name="connsiteX43" fmla="*/ 120390 w 619003"/>
              <a:gd name="connsiteY43" fmla="*/ 3298 h 110081"/>
              <a:gd name="connsiteX44" fmla="*/ 136823 w 619003"/>
              <a:gd name="connsiteY44" fmla="*/ 186 h 110081"/>
              <a:gd name="connsiteX45" fmla="*/ 152946 w 619003"/>
              <a:gd name="connsiteY45" fmla="*/ 3298 h 110081"/>
              <a:gd name="connsiteX46" fmla="*/ 164276 w 619003"/>
              <a:gd name="connsiteY46" fmla="*/ 12259 h 110081"/>
              <a:gd name="connsiteX47" fmla="*/ 168633 w 619003"/>
              <a:gd name="connsiteY47" fmla="*/ 27194 h 110081"/>
              <a:gd name="connsiteX48" fmla="*/ 164151 w 619003"/>
              <a:gd name="connsiteY48" fmla="*/ 42439 h 110081"/>
              <a:gd name="connsiteX49" fmla="*/ 152323 w 619003"/>
              <a:gd name="connsiteY49" fmla="*/ 51711 h 110081"/>
              <a:gd name="connsiteX50" fmla="*/ 166703 w 619003"/>
              <a:gd name="connsiteY50" fmla="*/ 61855 h 110081"/>
              <a:gd name="connsiteX51" fmla="*/ 172242 w 619003"/>
              <a:gd name="connsiteY51" fmla="*/ 79341 h 110081"/>
              <a:gd name="connsiteX52" fmla="*/ 167574 w 619003"/>
              <a:gd name="connsiteY52" fmla="*/ 95893 h 110081"/>
              <a:gd name="connsiteX53" fmla="*/ 154876 w 619003"/>
              <a:gd name="connsiteY53" fmla="*/ 106473 h 110081"/>
              <a:gd name="connsiteX54" fmla="*/ 136823 w 619003"/>
              <a:gd name="connsiteY54" fmla="*/ 110082 h 110081"/>
              <a:gd name="connsiteX55" fmla="*/ 136823 w 619003"/>
              <a:gd name="connsiteY55" fmla="*/ 46298 h 110081"/>
              <a:gd name="connsiteX56" fmla="*/ 149834 w 619003"/>
              <a:gd name="connsiteY56" fmla="*/ 41817 h 110081"/>
              <a:gd name="connsiteX57" fmla="*/ 155063 w 619003"/>
              <a:gd name="connsiteY57" fmla="*/ 29122 h 110081"/>
              <a:gd name="connsiteX58" fmla="*/ 149834 w 619003"/>
              <a:gd name="connsiteY58" fmla="*/ 16615 h 110081"/>
              <a:gd name="connsiteX59" fmla="*/ 136823 w 619003"/>
              <a:gd name="connsiteY59" fmla="*/ 11947 h 110081"/>
              <a:gd name="connsiteX60" fmla="*/ 123502 w 619003"/>
              <a:gd name="connsiteY60" fmla="*/ 16615 h 110081"/>
              <a:gd name="connsiteX61" fmla="*/ 118273 w 619003"/>
              <a:gd name="connsiteY61" fmla="*/ 29122 h 110081"/>
              <a:gd name="connsiteX62" fmla="*/ 123502 w 619003"/>
              <a:gd name="connsiteY62" fmla="*/ 41817 h 110081"/>
              <a:gd name="connsiteX63" fmla="*/ 136823 w 619003"/>
              <a:gd name="connsiteY63" fmla="*/ 46298 h 110081"/>
              <a:gd name="connsiteX64" fmla="*/ 136823 w 619003"/>
              <a:gd name="connsiteY64" fmla="*/ 98258 h 110081"/>
              <a:gd name="connsiteX65" fmla="*/ 152198 w 619003"/>
              <a:gd name="connsiteY65" fmla="*/ 92907 h 110081"/>
              <a:gd name="connsiteX66" fmla="*/ 158486 w 619003"/>
              <a:gd name="connsiteY66" fmla="*/ 77536 h 110081"/>
              <a:gd name="connsiteX67" fmla="*/ 152198 w 619003"/>
              <a:gd name="connsiteY67" fmla="*/ 62291 h 110081"/>
              <a:gd name="connsiteX68" fmla="*/ 136823 w 619003"/>
              <a:gd name="connsiteY68" fmla="*/ 56752 h 110081"/>
              <a:gd name="connsiteX69" fmla="*/ 120826 w 619003"/>
              <a:gd name="connsiteY69" fmla="*/ 62291 h 110081"/>
              <a:gd name="connsiteX70" fmla="*/ 114539 w 619003"/>
              <a:gd name="connsiteY70" fmla="*/ 77536 h 110081"/>
              <a:gd name="connsiteX71" fmla="*/ 120826 w 619003"/>
              <a:gd name="connsiteY71" fmla="*/ 92907 h 110081"/>
              <a:gd name="connsiteX72" fmla="*/ 136823 w 619003"/>
              <a:gd name="connsiteY72" fmla="*/ 98258 h 110081"/>
              <a:gd name="connsiteX73" fmla="*/ 236421 w 619003"/>
              <a:gd name="connsiteY73" fmla="*/ 110082 h 110081"/>
              <a:gd name="connsiteX74" fmla="*/ 208659 w 619003"/>
              <a:gd name="connsiteY74" fmla="*/ 103486 h 110081"/>
              <a:gd name="connsiteX75" fmla="*/ 190233 w 619003"/>
              <a:gd name="connsiteY75" fmla="*/ 84693 h 110081"/>
              <a:gd name="connsiteX76" fmla="*/ 183697 w 619003"/>
              <a:gd name="connsiteY76" fmla="*/ 55134 h 110081"/>
              <a:gd name="connsiteX77" fmla="*/ 197267 w 619003"/>
              <a:gd name="connsiteY77" fmla="*/ 14810 h 110081"/>
              <a:gd name="connsiteX78" fmla="*/ 236110 w 619003"/>
              <a:gd name="connsiteY78" fmla="*/ 186 h 110081"/>
              <a:gd name="connsiteX79" fmla="*/ 254038 w 619003"/>
              <a:gd name="connsiteY79" fmla="*/ 2240 h 110081"/>
              <a:gd name="connsiteX80" fmla="*/ 268667 w 619003"/>
              <a:gd name="connsiteY80" fmla="*/ 7902 h 110081"/>
              <a:gd name="connsiteX81" fmla="*/ 268667 w 619003"/>
              <a:gd name="connsiteY81" fmla="*/ 21344 h 110081"/>
              <a:gd name="connsiteX82" fmla="*/ 253602 w 619003"/>
              <a:gd name="connsiteY82" fmla="*/ 15121 h 110081"/>
              <a:gd name="connsiteX83" fmla="*/ 235987 w 619003"/>
              <a:gd name="connsiteY83" fmla="*/ 12881 h 110081"/>
              <a:gd name="connsiteX84" fmla="*/ 208036 w 619003"/>
              <a:gd name="connsiteY84" fmla="*/ 23459 h 110081"/>
              <a:gd name="connsiteX85" fmla="*/ 198947 w 619003"/>
              <a:gd name="connsiteY85" fmla="*/ 55134 h 110081"/>
              <a:gd name="connsiteX86" fmla="*/ 208783 w 619003"/>
              <a:gd name="connsiteY86" fmla="*/ 86933 h 110081"/>
              <a:gd name="connsiteX87" fmla="*/ 237604 w 619003"/>
              <a:gd name="connsiteY87" fmla="*/ 97387 h 110081"/>
              <a:gd name="connsiteX88" fmla="*/ 268667 w 619003"/>
              <a:gd name="connsiteY88" fmla="*/ 87555 h 110081"/>
              <a:gd name="connsiteX89" fmla="*/ 268667 w 619003"/>
              <a:gd name="connsiteY89" fmla="*/ 100997 h 110081"/>
              <a:gd name="connsiteX90" fmla="*/ 254785 w 619003"/>
              <a:gd name="connsiteY90" fmla="*/ 107717 h 110081"/>
              <a:gd name="connsiteX91" fmla="*/ 236421 w 619003"/>
              <a:gd name="connsiteY91" fmla="*/ 110082 h 110081"/>
              <a:gd name="connsiteX92" fmla="*/ 282549 w 619003"/>
              <a:gd name="connsiteY92" fmla="*/ 35844 h 110081"/>
              <a:gd name="connsiteX93" fmla="*/ 287218 w 619003"/>
              <a:gd name="connsiteY93" fmla="*/ 17051 h 110081"/>
              <a:gd name="connsiteX94" fmla="*/ 300040 w 619003"/>
              <a:gd name="connsiteY94" fmla="*/ 4480 h 110081"/>
              <a:gd name="connsiteX95" fmla="*/ 318155 w 619003"/>
              <a:gd name="connsiteY95" fmla="*/ 0 h 110081"/>
              <a:gd name="connsiteX96" fmla="*/ 339818 w 619003"/>
              <a:gd name="connsiteY96" fmla="*/ 5849 h 110081"/>
              <a:gd name="connsiteX97" fmla="*/ 351894 w 619003"/>
              <a:gd name="connsiteY97" fmla="*/ 21842 h 110081"/>
              <a:gd name="connsiteX98" fmla="*/ 355629 w 619003"/>
              <a:gd name="connsiteY98" fmla="*/ 45426 h 110081"/>
              <a:gd name="connsiteX99" fmla="*/ 351023 w 619003"/>
              <a:gd name="connsiteY99" fmla="*/ 80088 h 110081"/>
              <a:gd name="connsiteX100" fmla="*/ 336643 w 619003"/>
              <a:gd name="connsiteY100" fmla="*/ 102303 h 110081"/>
              <a:gd name="connsiteX101" fmla="*/ 312179 w 619003"/>
              <a:gd name="connsiteY101" fmla="*/ 110082 h 110081"/>
              <a:gd name="connsiteX102" fmla="*/ 289146 w 619003"/>
              <a:gd name="connsiteY102" fmla="*/ 104543 h 110081"/>
              <a:gd name="connsiteX103" fmla="*/ 289146 w 619003"/>
              <a:gd name="connsiteY103" fmla="*/ 91413 h 110081"/>
              <a:gd name="connsiteX104" fmla="*/ 312179 w 619003"/>
              <a:gd name="connsiteY104" fmla="*/ 98010 h 110081"/>
              <a:gd name="connsiteX105" fmla="*/ 327679 w 619003"/>
              <a:gd name="connsiteY105" fmla="*/ 92907 h 110081"/>
              <a:gd name="connsiteX106" fmla="*/ 337389 w 619003"/>
              <a:gd name="connsiteY106" fmla="*/ 79154 h 110081"/>
              <a:gd name="connsiteX107" fmla="*/ 341748 w 619003"/>
              <a:gd name="connsiteY107" fmla="*/ 59739 h 110081"/>
              <a:gd name="connsiteX108" fmla="*/ 330667 w 619003"/>
              <a:gd name="connsiteY108" fmla="*/ 68389 h 110081"/>
              <a:gd name="connsiteX109" fmla="*/ 316786 w 619003"/>
              <a:gd name="connsiteY109" fmla="*/ 71127 h 110081"/>
              <a:gd name="connsiteX110" fmla="*/ 299480 w 619003"/>
              <a:gd name="connsiteY110" fmla="*/ 67082 h 110081"/>
              <a:gd name="connsiteX111" fmla="*/ 287031 w 619003"/>
              <a:gd name="connsiteY111" fmla="*/ 55134 h 110081"/>
              <a:gd name="connsiteX112" fmla="*/ 282549 w 619003"/>
              <a:gd name="connsiteY112" fmla="*/ 35844 h 110081"/>
              <a:gd name="connsiteX113" fmla="*/ 318590 w 619003"/>
              <a:gd name="connsiteY113" fmla="*/ 12134 h 110081"/>
              <a:gd name="connsiteX114" fmla="*/ 307821 w 619003"/>
              <a:gd name="connsiteY114" fmla="*/ 14810 h 110081"/>
              <a:gd name="connsiteX115" fmla="*/ 299730 w 619003"/>
              <a:gd name="connsiteY115" fmla="*/ 22589 h 110081"/>
              <a:gd name="connsiteX116" fmla="*/ 296740 w 619003"/>
              <a:gd name="connsiteY116" fmla="*/ 35532 h 110081"/>
              <a:gd name="connsiteX117" fmla="*/ 299730 w 619003"/>
              <a:gd name="connsiteY117" fmla="*/ 48725 h 110081"/>
              <a:gd name="connsiteX118" fmla="*/ 307386 w 619003"/>
              <a:gd name="connsiteY118" fmla="*/ 56752 h 110081"/>
              <a:gd name="connsiteX119" fmla="*/ 317096 w 619003"/>
              <a:gd name="connsiteY119" fmla="*/ 59428 h 110081"/>
              <a:gd name="connsiteX120" fmla="*/ 333530 w 619003"/>
              <a:gd name="connsiteY120" fmla="*/ 53329 h 110081"/>
              <a:gd name="connsiteX121" fmla="*/ 340254 w 619003"/>
              <a:gd name="connsiteY121" fmla="*/ 35283 h 110081"/>
              <a:gd name="connsiteX122" fmla="*/ 334401 w 619003"/>
              <a:gd name="connsiteY122" fmla="*/ 18544 h 110081"/>
              <a:gd name="connsiteX123" fmla="*/ 318590 w 619003"/>
              <a:gd name="connsiteY123" fmla="*/ 12134 h 110081"/>
              <a:gd name="connsiteX124" fmla="*/ 372311 w 619003"/>
              <a:gd name="connsiteY124" fmla="*/ 1493 h 110081"/>
              <a:gd name="connsiteX125" fmla="*/ 408665 w 619003"/>
              <a:gd name="connsiteY125" fmla="*/ 1493 h 110081"/>
              <a:gd name="connsiteX126" fmla="*/ 435369 w 619003"/>
              <a:gd name="connsiteY126" fmla="*/ 7467 h 110081"/>
              <a:gd name="connsiteX127" fmla="*/ 444644 w 619003"/>
              <a:gd name="connsiteY127" fmla="*/ 27629 h 110081"/>
              <a:gd name="connsiteX128" fmla="*/ 438793 w 619003"/>
              <a:gd name="connsiteY128" fmla="*/ 45116 h 110081"/>
              <a:gd name="connsiteX129" fmla="*/ 423293 w 619003"/>
              <a:gd name="connsiteY129" fmla="*/ 53018 h 110081"/>
              <a:gd name="connsiteX130" fmla="*/ 442092 w 619003"/>
              <a:gd name="connsiteY130" fmla="*/ 60361 h 110081"/>
              <a:gd name="connsiteX131" fmla="*/ 448504 w 619003"/>
              <a:gd name="connsiteY131" fmla="*/ 77661 h 110081"/>
              <a:gd name="connsiteX132" fmla="*/ 443275 w 619003"/>
              <a:gd name="connsiteY132" fmla="*/ 95583 h 110081"/>
              <a:gd name="connsiteX133" fmla="*/ 428958 w 619003"/>
              <a:gd name="connsiteY133" fmla="*/ 105601 h 110081"/>
              <a:gd name="connsiteX134" fmla="*/ 408354 w 619003"/>
              <a:gd name="connsiteY134" fmla="*/ 108588 h 110081"/>
              <a:gd name="connsiteX135" fmla="*/ 372311 w 619003"/>
              <a:gd name="connsiteY135" fmla="*/ 108588 h 110081"/>
              <a:gd name="connsiteX136" fmla="*/ 372311 w 619003"/>
              <a:gd name="connsiteY136" fmla="*/ 1493 h 110081"/>
              <a:gd name="connsiteX137" fmla="*/ 407606 w 619003"/>
              <a:gd name="connsiteY137" fmla="*/ 47231 h 110081"/>
              <a:gd name="connsiteX138" fmla="*/ 424041 w 619003"/>
              <a:gd name="connsiteY138" fmla="*/ 42751 h 110081"/>
              <a:gd name="connsiteX139" fmla="*/ 430452 w 619003"/>
              <a:gd name="connsiteY139" fmla="*/ 28376 h 110081"/>
              <a:gd name="connsiteX140" fmla="*/ 424787 w 619003"/>
              <a:gd name="connsiteY140" fmla="*/ 17361 h 110081"/>
              <a:gd name="connsiteX141" fmla="*/ 408665 w 619003"/>
              <a:gd name="connsiteY141" fmla="*/ 14374 h 110081"/>
              <a:gd name="connsiteX142" fmla="*/ 386380 w 619003"/>
              <a:gd name="connsiteY142" fmla="*/ 14374 h 110081"/>
              <a:gd name="connsiteX143" fmla="*/ 386380 w 619003"/>
              <a:gd name="connsiteY143" fmla="*/ 47231 h 110081"/>
              <a:gd name="connsiteX144" fmla="*/ 407606 w 619003"/>
              <a:gd name="connsiteY144" fmla="*/ 47231 h 110081"/>
              <a:gd name="connsiteX145" fmla="*/ 408354 w 619003"/>
              <a:gd name="connsiteY145" fmla="*/ 95893 h 110081"/>
              <a:gd name="connsiteX146" fmla="*/ 426717 w 619003"/>
              <a:gd name="connsiteY146" fmla="*/ 92035 h 110081"/>
              <a:gd name="connsiteX147" fmla="*/ 433750 w 619003"/>
              <a:gd name="connsiteY147" fmla="*/ 77972 h 110081"/>
              <a:gd name="connsiteX148" fmla="*/ 427153 w 619003"/>
              <a:gd name="connsiteY148" fmla="*/ 63908 h 110081"/>
              <a:gd name="connsiteX149" fmla="*/ 406673 w 619003"/>
              <a:gd name="connsiteY149" fmla="*/ 59926 h 110081"/>
              <a:gd name="connsiteX150" fmla="*/ 386380 w 619003"/>
              <a:gd name="connsiteY150" fmla="*/ 59926 h 110081"/>
              <a:gd name="connsiteX151" fmla="*/ 386380 w 619003"/>
              <a:gd name="connsiteY151" fmla="*/ 95893 h 110081"/>
              <a:gd name="connsiteX152" fmla="*/ 408354 w 619003"/>
              <a:gd name="connsiteY152" fmla="*/ 95893 h 110081"/>
              <a:gd name="connsiteX153" fmla="*/ 468610 w 619003"/>
              <a:gd name="connsiteY153" fmla="*/ 1493 h 110081"/>
              <a:gd name="connsiteX154" fmla="*/ 534034 w 619003"/>
              <a:gd name="connsiteY154" fmla="*/ 1493 h 110081"/>
              <a:gd name="connsiteX155" fmla="*/ 534034 w 619003"/>
              <a:gd name="connsiteY155" fmla="*/ 14374 h 110081"/>
              <a:gd name="connsiteX156" fmla="*/ 482679 w 619003"/>
              <a:gd name="connsiteY156" fmla="*/ 14374 h 110081"/>
              <a:gd name="connsiteX157" fmla="*/ 482679 w 619003"/>
              <a:gd name="connsiteY157" fmla="*/ 49907 h 110081"/>
              <a:gd name="connsiteX158" fmla="*/ 526315 w 619003"/>
              <a:gd name="connsiteY158" fmla="*/ 49907 h 110081"/>
              <a:gd name="connsiteX159" fmla="*/ 526315 w 619003"/>
              <a:gd name="connsiteY159" fmla="*/ 62601 h 110081"/>
              <a:gd name="connsiteX160" fmla="*/ 482679 w 619003"/>
              <a:gd name="connsiteY160" fmla="*/ 62601 h 110081"/>
              <a:gd name="connsiteX161" fmla="*/ 482679 w 619003"/>
              <a:gd name="connsiteY161" fmla="*/ 108588 h 110081"/>
              <a:gd name="connsiteX162" fmla="*/ 468610 w 619003"/>
              <a:gd name="connsiteY162" fmla="*/ 108588 h 110081"/>
              <a:gd name="connsiteX163" fmla="*/ 468610 w 619003"/>
              <a:gd name="connsiteY163" fmla="*/ 1493 h 110081"/>
              <a:gd name="connsiteX164" fmla="*/ 553517 w 619003"/>
              <a:gd name="connsiteY164" fmla="*/ 1493 h 110081"/>
              <a:gd name="connsiteX165" fmla="*/ 619003 w 619003"/>
              <a:gd name="connsiteY165" fmla="*/ 1493 h 110081"/>
              <a:gd name="connsiteX166" fmla="*/ 619003 w 619003"/>
              <a:gd name="connsiteY166" fmla="*/ 14374 h 110081"/>
              <a:gd name="connsiteX167" fmla="*/ 567586 w 619003"/>
              <a:gd name="connsiteY167" fmla="*/ 14374 h 110081"/>
              <a:gd name="connsiteX168" fmla="*/ 567586 w 619003"/>
              <a:gd name="connsiteY168" fmla="*/ 49907 h 110081"/>
              <a:gd name="connsiteX169" fmla="*/ 611222 w 619003"/>
              <a:gd name="connsiteY169" fmla="*/ 49907 h 110081"/>
              <a:gd name="connsiteX170" fmla="*/ 611222 w 619003"/>
              <a:gd name="connsiteY170" fmla="*/ 62601 h 110081"/>
              <a:gd name="connsiteX171" fmla="*/ 567586 w 619003"/>
              <a:gd name="connsiteY171" fmla="*/ 62601 h 110081"/>
              <a:gd name="connsiteX172" fmla="*/ 567586 w 619003"/>
              <a:gd name="connsiteY172" fmla="*/ 108588 h 110081"/>
              <a:gd name="connsiteX173" fmla="*/ 553517 w 619003"/>
              <a:gd name="connsiteY173" fmla="*/ 108588 h 110081"/>
              <a:gd name="connsiteX174" fmla="*/ 553517 w 619003"/>
              <a:gd name="connsiteY17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2" y="110082"/>
                  <a:pt x="123627" y="108900"/>
                  <a:pt x="118148" y="106473"/>
                </a:cubicBezTo>
                <a:cubicBezTo>
                  <a:pt x="112734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7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1" y="49720"/>
                  <a:pt x="111986" y="46671"/>
                  <a:pt x="108998" y="42564"/>
                </a:cubicBezTo>
                <a:cubicBezTo>
                  <a:pt x="106135" y="38519"/>
                  <a:pt x="104703" y="33479"/>
                  <a:pt x="104703" y="27504"/>
                </a:cubicBezTo>
                <a:cubicBezTo>
                  <a:pt x="104703" y="21593"/>
                  <a:pt x="106072" y="16615"/>
                  <a:pt x="108873" y="12570"/>
                </a:cubicBezTo>
                <a:cubicBezTo>
                  <a:pt x="111674" y="8463"/>
                  <a:pt x="115472" y="5414"/>
                  <a:pt x="120390" y="3298"/>
                </a:cubicBezTo>
                <a:cubicBezTo>
                  <a:pt x="125246" y="1182"/>
                  <a:pt x="130723" y="186"/>
                  <a:pt x="136823" y="186"/>
                </a:cubicBezTo>
                <a:cubicBezTo>
                  <a:pt x="142799" y="186"/>
                  <a:pt x="148153" y="1182"/>
                  <a:pt x="152946" y="3298"/>
                </a:cubicBezTo>
                <a:cubicBezTo>
                  <a:pt x="157739" y="5289"/>
                  <a:pt x="161536" y="8276"/>
                  <a:pt x="164276" y="12259"/>
                </a:cubicBezTo>
                <a:cubicBezTo>
                  <a:pt x="167201" y="16242"/>
                  <a:pt x="168633" y="21219"/>
                  <a:pt x="168633" y="27194"/>
                </a:cubicBezTo>
                <a:cubicBezTo>
                  <a:pt x="168633" y="33292"/>
                  <a:pt x="167139" y="38332"/>
                  <a:pt x="164151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6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6" y="106473"/>
                </a:cubicBezTo>
                <a:cubicBezTo>
                  <a:pt x="149584" y="108900"/>
                  <a:pt x="143609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5" y="46298"/>
                  <a:pt x="146410" y="44804"/>
                  <a:pt x="149834" y="41817"/>
                </a:cubicBezTo>
                <a:cubicBezTo>
                  <a:pt x="153320" y="38768"/>
                  <a:pt x="155063" y="34536"/>
                  <a:pt x="155063" y="29122"/>
                </a:cubicBezTo>
                <a:cubicBezTo>
                  <a:pt x="155063" y="23771"/>
                  <a:pt x="153320" y="19601"/>
                  <a:pt x="149834" y="16615"/>
                </a:cubicBezTo>
                <a:cubicBezTo>
                  <a:pt x="146410" y="13503"/>
                  <a:pt x="142115" y="11947"/>
                  <a:pt x="136823" y="11947"/>
                </a:cubicBezTo>
                <a:cubicBezTo>
                  <a:pt x="131533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3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70" y="89235"/>
                  <a:pt x="158486" y="84071"/>
                  <a:pt x="158486" y="77536"/>
                </a:cubicBezTo>
                <a:cubicBezTo>
                  <a:pt x="158486" y="70940"/>
                  <a:pt x="156370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1" y="58619"/>
                  <a:pt x="120826" y="62291"/>
                </a:cubicBezTo>
                <a:cubicBezTo>
                  <a:pt x="116654" y="65900"/>
                  <a:pt x="114539" y="70940"/>
                  <a:pt x="114539" y="77536"/>
                </a:cubicBezTo>
                <a:cubicBezTo>
                  <a:pt x="114539" y="84071"/>
                  <a:pt x="116654" y="89235"/>
                  <a:pt x="120826" y="92907"/>
                </a:cubicBezTo>
                <a:cubicBezTo>
                  <a:pt x="125121" y="96516"/>
                  <a:pt x="130411" y="98258"/>
                  <a:pt x="136823" y="98258"/>
                </a:cubicBezTo>
                <a:close/>
                <a:moveTo>
                  <a:pt x="236421" y="110082"/>
                </a:moveTo>
                <a:cubicBezTo>
                  <a:pt x="225839" y="110082"/>
                  <a:pt x="216627" y="107904"/>
                  <a:pt x="208659" y="103486"/>
                </a:cubicBezTo>
                <a:cubicBezTo>
                  <a:pt x="200753" y="99129"/>
                  <a:pt x="194653" y="92844"/>
                  <a:pt x="190233" y="84693"/>
                </a:cubicBezTo>
                <a:cubicBezTo>
                  <a:pt x="185876" y="76416"/>
                  <a:pt x="183697" y="66584"/>
                  <a:pt x="183697" y="55134"/>
                </a:cubicBezTo>
                <a:cubicBezTo>
                  <a:pt x="183697" y="37897"/>
                  <a:pt x="188241" y="24455"/>
                  <a:pt x="197267" y="14810"/>
                </a:cubicBezTo>
                <a:cubicBezTo>
                  <a:pt x="206356" y="5040"/>
                  <a:pt x="219303" y="186"/>
                  <a:pt x="236110" y="186"/>
                </a:cubicBezTo>
                <a:cubicBezTo>
                  <a:pt x="242397" y="186"/>
                  <a:pt x="248374" y="871"/>
                  <a:pt x="254038" y="2240"/>
                </a:cubicBezTo>
                <a:cubicBezTo>
                  <a:pt x="259827" y="3547"/>
                  <a:pt x="264683" y="5414"/>
                  <a:pt x="268667" y="7902"/>
                </a:cubicBezTo>
                <a:lnTo>
                  <a:pt x="268667" y="21344"/>
                </a:lnTo>
                <a:cubicBezTo>
                  <a:pt x="264433" y="18669"/>
                  <a:pt x="259391" y="16615"/>
                  <a:pt x="253602" y="15121"/>
                </a:cubicBezTo>
                <a:cubicBezTo>
                  <a:pt x="247938" y="13628"/>
                  <a:pt x="242025" y="12881"/>
                  <a:pt x="235987" y="12881"/>
                </a:cubicBezTo>
                <a:cubicBezTo>
                  <a:pt x="223412" y="12881"/>
                  <a:pt x="214137" y="16366"/>
                  <a:pt x="208036" y="23459"/>
                </a:cubicBezTo>
                <a:cubicBezTo>
                  <a:pt x="201935" y="30554"/>
                  <a:pt x="198947" y="41071"/>
                  <a:pt x="198947" y="55134"/>
                </a:cubicBezTo>
                <a:cubicBezTo>
                  <a:pt x="198947" y="69260"/>
                  <a:pt x="202184" y="79839"/>
                  <a:pt x="208783" y="86933"/>
                </a:cubicBezTo>
                <a:cubicBezTo>
                  <a:pt x="215382" y="93902"/>
                  <a:pt x="224969" y="97387"/>
                  <a:pt x="237604" y="97387"/>
                </a:cubicBezTo>
                <a:cubicBezTo>
                  <a:pt x="249557" y="97387"/>
                  <a:pt x="259952" y="94089"/>
                  <a:pt x="268667" y="87555"/>
                </a:cubicBezTo>
                <a:lnTo>
                  <a:pt x="268667" y="100997"/>
                </a:lnTo>
                <a:cubicBezTo>
                  <a:pt x="265181" y="103734"/>
                  <a:pt x="260575" y="105974"/>
                  <a:pt x="254785" y="107717"/>
                </a:cubicBezTo>
                <a:cubicBezTo>
                  <a:pt x="248996" y="109273"/>
                  <a:pt x="242896" y="110082"/>
                  <a:pt x="236421" y="110082"/>
                </a:cubicBezTo>
                <a:close/>
                <a:moveTo>
                  <a:pt x="282549" y="35844"/>
                </a:moveTo>
                <a:cubicBezTo>
                  <a:pt x="282549" y="28687"/>
                  <a:pt x="284105" y="22402"/>
                  <a:pt x="287218" y="17051"/>
                </a:cubicBezTo>
                <a:cubicBezTo>
                  <a:pt x="290392" y="11637"/>
                  <a:pt x="294687" y="7467"/>
                  <a:pt x="300040" y="4480"/>
                </a:cubicBezTo>
                <a:cubicBezTo>
                  <a:pt x="305456" y="1493"/>
                  <a:pt x="311432" y="0"/>
                  <a:pt x="318155" y="0"/>
                </a:cubicBezTo>
                <a:cubicBezTo>
                  <a:pt x="327119" y="0"/>
                  <a:pt x="334339" y="1929"/>
                  <a:pt x="339818" y="5849"/>
                </a:cubicBezTo>
                <a:cubicBezTo>
                  <a:pt x="345357" y="9645"/>
                  <a:pt x="349404" y="14934"/>
                  <a:pt x="351894" y="21842"/>
                </a:cubicBezTo>
                <a:cubicBezTo>
                  <a:pt x="354383" y="28563"/>
                  <a:pt x="355629" y="36466"/>
                  <a:pt x="355629" y="45426"/>
                </a:cubicBezTo>
                <a:cubicBezTo>
                  <a:pt x="355629" y="58868"/>
                  <a:pt x="354073" y="70380"/>
                  <a:pt x="351023" y="80088"/>
                </a:cubicBezTo>
                <a:cubicBezTo>
                  <a:pt x="347910" y="89733"/>
                  <a:pt x="343117" y="97138"/>
                  <a:pt x="336643" y="102303"/>
                </a:cubicBezTo>
                <a:cubicBezTo>
                  <a:pt x="330293" y="107468"/>
                  <a:pt x="322138" y="110082"/>
                  <a:pt x="312179" y="110082"/>
                </a:cubicBezTo>
                <a:cubicBezTo>
                  <a:pt x="303214" y="110082"/>
                  <a:pt x="295496" y="108215"/>
                  <a:pt x="289146" y="104543"/>
                </a:cubicBezTo>
                <a:lnTo>
                  <a:pt x="289146" y="91413"/>
                </a:lnTo>
                <a:cubicBezTo>
                  <a:pt x="295932" y="95769"/>
                  <a:pt x="303588" y="98010"/>
                  <a:pt x="312179" y="98010"/>
                </a:cubicBezTo>
                <a:cubicBezTo>
                  <a:pt x="318342" y="98010"/>
                  <a:pt x="323508" y="96267"/>
                  <a:pt x="327679" y="92907"/>
                </a:cubicBezTo>
                <a:cubicBezTo>
                  <a:pt x="331850" y="89546"/>
                  <a:pt x="335087" y="84941"/>
                  <a:pt x="337389" y="79154"/>
                </a:cubicBezTo>
                <a:cubicBezTo>
                  <a:pt x="339818" y="73367"/>
                  <a:pt x="341249" y="66896"/>
                  <a:pt x="341748" y="59739"/>
                </a:cubicBezTo>
                <a:cubicBezTo>
                  <a:pt x="338635" y="63660"/>
                  <a:pt x="334962" y="66522"/>
                  <a:pt x="330667" y="68389"/>
                </a:cubicBezTo>
                <a:cubicBezTo>
                  <a:pt x="326371" y="70193"/>
                  <a:pt x="321764" y="71127"/>
                  <a:pt x="316786" y="71127"/>
                </a:cubicBezTo>
                <a:cubicBezTo>
                  <a:pt x="310436" y="71127"/>
                  <a:pt x="304646" y="69758"/>
                  <a:pt x="299480" y="67082"/>
                </a:cubicBezTo>
                <a:cubicBezTo>
                  <a:pt x="294251" y="64406"/>
                  <a:pt x="290143" y="60424"/>
                  <a:pt x="287031" y="55134"/>
                </a:cubicBezTo>
                <a:cubicBezTo>
                  <a:pt x="284043" y="49845"/>
                  <a:pt x="282549" y="43435"/>
                  <a:pt x="282549" y="35844"/>
                </a:cubicBezTo>
                <a:close/>
                <a:moveTo>
                  <a:pt x="318590" y="12134"/>
                </a:moveTo>
                <a:cubicBezTo>
                  <a:pt x="314793" y="12134"/>
                  <a:pt x="311182" y="13006"/>
                  <a:pt x="307821" y="14810"/>
                </a:cubicBezTo>
                <a:cubicBezTo>
                  <a:pt x="304521" y="16490"/>
                  <a:pt x="301845" y="19104"/>
                  <a:pt x="299730" y="22589"/>
                </a:cubicBezTo>
                <a:cubicBezTo>
                  <a:pt x="297737" y="25949"/>
                  <a:pt x="296740" y="30305"/>
                  <a:pt x="296740" y="35532"/>
                </a:cubicBezTo>
                <a:cubicBezTo>
                  <a:pt x="296740" y="40759"/>
                  <a:pt x="297737" y="45116"/>
                  <a:pt x="299730" y="48725"/>
                </a:cubicBezTo>
                <a:cubicBezTo>
                  <a:pt x="301720" y="52271"/>
                  <a:pt x="304274" y="54947"/>
                  <a:pt x="307386" y="56752"/>
                </a:cubicBezTo>
                <a:cubicBezTo>
                  <a:pt x="310436" y="58556"/>
                  <a:pt x="313673" y="59428"/>
                  <a:pt x="317096" y="59428"/>
                </a:cubicBezTo>
                <a:cubicBezTo>
                  <a:pt x="323632" y="59428"/>
                  <a:pt x="329111" y="57437"/>
                  <a:pt x="333530" y="53329"/>
                </a:cubicBezTo>
                <a:cubicBezTo>
                  <a:pt x="338012" y="49160"/>
                  <a:pt x="340254" y="43124"/>
                  <a:pt x="340254" y="35283"/>
                </a:cubicBezTo>
                <a:cubicBezTo>
                  <a:pt x="340254" y="28313"/>
                  <a:pt x="338324" y="22713"/>
                  <a:pt x="334401" y="18544"/>
                </a:cubicBezTo>
                <a:cubicBezTo>
                  <a:pt x="330543" y="14250"/>
                  <a:pt x="325251" y="12134"/>
                  <a:pt x="318590" y="12134"/>
                </a:cubicBezTo>
                <a:close/>
                <a:moveTo>
                  <a:pt x="372311" y="1493"/>
                </a:moveTo>
                <a:lnTo>
                  <a:pt x="408665" y="1493"/>
                </a:lnTo>
                <a:cubicBezTo>
                  <a:pt x="420367" y="1493"/>
                  <a:pt x="429331" y="3484"/>
                  <a:pt x="435369" y="7467"/>
                </a:cubicBezTo>
                <a:cubicBezTo>
                  <a:pt x="441531" y="11450"/>
                  <a:pt x="444644" y="18170"/>
                  <a:pt x="444644" y="27629"/>
                </a:cubicBezTo>
                <a:cubicBezTo>
                  <a:pt x="444644" y="35283"/>
                  <a:pt x="442715" y="41133"/>
                  <a:pt x="438793" y="45116"/>
                </a:cubicBezTo>
                <a:cubicBezTo>
                  <a:pt x="434934" y="48974"/>
                  <a:pt x="429767" y="51649"/>
                  <a:pt x="423293" y="53018"/>
                </a:cubicBezTo>
                <a:cubicBezTo>
                  <a:pt x="431572" y="54014"/>
                  <a:pt x="437797" y="56441"/>
                  <a:pt x="442092" y="60361"/>
                </a:cubicBezTo>
                <a:cubicBezTo>
                  <a:pt x="446387" y="64157"/>
                  <a:pt x="448504" y="69882"/>
                  <a:pt x="448504" y="77661"/>
                </a:cubicBezTo>
                <a:cubicBezTo>
                  <a:pt x="448504" y="85066"/>
                  <a:pt x="446761" y="91040"/>
                  <a:pt x="443275" y="95583"/>
                </a:cubicBezTo>
                <a:cubicBezTo>
                  <a:pt x="439790" y="100188"/>
                  <a:pt x="435059" y="103486"/>
                  <a:pt x="428958" y="105601"/>
                </a:cubicBezTo>
                <a:cubicBezTo>
                  <a:pt x="422857" y="107592"/>
                  <a:pt x="416010" y="108588"/>
                  <a:pt x="408354" y="108588"/>
                </a:cubicBezTo>
                <a:lnTo>
                  <a:pt x="372311" y="108588"/>
                </a:lnTo>
                <a:lnTo>
                  <a:pt x="372311" y="1493"/>
                </a:lnTo>
                <a:close/>
                <a:moveTo>
                  <a:pt x="407606" y="47231"/>
                </a:moveTo>
                <a:cubicBezTo>
                  <a:pt x="414392" y="47231"/>
                  <a:pt x="419869" y="45738"/>
                  <a:pt x="424041" y="42751"/>
                </a:cubicBezTo>
                <a:cubicBezTo>
                  <a:pt x="428335" y="39639"/>
                  <a:pt x="430452" y="34848"/>
                  <a:pt x="430452" y="28376"/>
                </a:cubicBezTo>
                <a:cubicBezTo>
                  <a:pt x="430452" y="22900"/>
                  <a:pt x="428585" y="19228"/>
                  <a:pt x="424787" y="17361"/>
                </a:cubicBezTo>
                <a:cubicBezTo>
                  <a:pt x="420990" y="15370"/>
                  <a:pt x="415636" y="14374"/>
                  <a:pt x="408665" y="14374"/>
                </a:cubicBezTo>
                <a:lnTo>
                  <a:pt x="386380" y="14374"/>
                </a:lnTo>
                <a:lnTo>
                  <a:pt x="386380" y="47231"/>
                </a:lnTo>
                <a:lnTo>
                  <a:pt x="407606" y="47231"/>
                </a:lnTo>
                <a:close/>
                <a:moveTo>
                  <a:pt x="408354" y="95893"/>
                </a:moveTo>
                <a:cubicBezTo>
                  <a:pt x="415886" y="95893"/>
                  <a:pt x="422048" y="94587"/>
                  <a:pt x="426717" y="92035"/>
                </a:cubicBezTo>
                <a:cubicBezTo>
                  <a:pt x="431386" y="89422"/>
                  <a:pt x="433750" y="84755"/>
                  <a:pt x="433750" y="77972"/>
                </a:cubicBezTo>
                <a:cubicBezTo>
                  <a:pt x="433750" y="71189"/>
                  <a:pt x="431572" y="66522"/>
                  <a:pt x="427153" y="63908"/>
                </a:cubicBezTo>
                <a:cubicBezTo>
                  <a:pt x="422857" y="61233"/>
                  <a:pt x="416073" y="59926"/>
                  <a:pt x="406673" y="59926"/>
                </a:cubicBezTo>
                <a:lnTo>
                  <a:pt x="386380" y="59926"/>
                </a:lnTo>
                <a:lnTo>
                  <a:pt x="386380" y="95893"/>
                </a:lnTo>
                <a:lnTo>
                  <a:pt x="408354" y="95893"/>
                </a:ln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2" name="Полилиния 941">
            <a:extLst>
              <a:ext uri="{FF2B5EF4-FFF2-40B4-BE49-F238E27FC236}">
                <a16:creationId xmlns:a16="http://schemas.microsoft.com/office/drawing/2014/main" id="{7F142331-C61F-457A-550E-C87EBABC1D9C}"/>
              </a:ext>
            </a:extLst>
          </p:cNvPr>
          <p:cNvSpPr/>
          <p:nvPr userDrawn="1"/>
        </p:nvSpPr>
        <p:spPr>
          <a:xfrm>
            <a:off x="6844904" y="9597431"/>
            <a:ext cx="2557159" cy="726227"/>
          </a:xfrm>
          <a:custGeom>
            <a:avLst/>
            <a:gdLst>
              <a:gd name="connsiteX0" fmla="*/ 2232 w 2191162"/>
              <a:gd name="connsiteY0" fmla="*/ 1822 h 622284"/>
              <a:gd name="connsiteX1" fmla="*/ 2193395 w 2191162"/>
              <a:gd name="connsiteY1" fmla="*/ 1822 h 622284"/>
              <a:gd name="connsiteX2" fmla="*/ 2193395 w 2191162"/>
              <a:gd name="connsiteY2" fmla="*/ 624106 h 622284"/>
              <a:gd name="connsiteX3" fmla="*/ 2232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822"/>
                </a:moveTo>
                <a:lnTo>
                  <a:pt x="2193395" y="1822"/>
                </a:lnTo>
                <a:lnTo>
                  <a:pt x="2193395" y="624106"/>
                </a:lnTo>
                <a:lnTo>
                  <a:pt x="2232" y="624106"/>
                </a:lnTo>
                <a:close/>
              </a:path>
            </a:pathLst>
          </a:custGeom>
          <a:solidFill>
            <a:srgbClr val="B4C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3" name="Полилиния 942">
            <a:extLst>
              <a:ext uri="{FF2B5EF4-FFF2-40B4-BE49-F238E27FC236}">
                <a16:creationId xmlns:a16="http://schemas.microsoft.com/office/drawing/2014/main" id="{24DD00E3-E76B-4FDF-0FC0-FD30D64A014E}"/>
              </a:ext>
            </a:extLst>
          </p:cNvPr>
          <p:cNvSpPr/>
          <p:nvPr userDrawn="1"/>
        </p:nvSpPr>
        <p:spPr>
          <a:xfrm>
            <a:off x="6968113" y="9899178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07816 w 619003"/>
              <a:gd name="connsiteY34" fmla="*/ 1493 h 110081"/>
              <a:gd name="connsiteX35" fmla="*/ 144107 w 619003"/>
              <a:gd name="connsiteY35" fmla="*/ 1493 h 110081"/>
              <a:gd name="connsiteX36" fmla="*/ 170873 w 619003"/>
              <a:gd name="connsiteY36" fmla="*/ 7467 h 110081"/>
              <a:gd name="connsiteX37" fmla="*/ 180148 w 619003"/>
              <a:gd name="connsiteY37" fmla="*/ 27629 h 110081"/>
              <a:gd name="connsiteX38" fmla="*/ 174297 w 619003"/>
              <a:gd name="connsiteY38" fmla="*/ 45116 h 110081"/>
              <a:gd name="connsiteX39" fmla="*/ 158797 w 619003"/>
              <a:gd name="connsiteY39" fmla="*/ 53018 h 110081"/>
              <a:gd name="connsiteX40" fmla="*/ 177596 w 619003"/>
              <a:gd name="connsiteY40" fmla="*/ 60361 h 110081"/>
              <a:gd name="connsiteX41" fmla="*/ 184008 w 619003"/>
              <a:gd name="connsiteY41" fmla="*/ 77661 h 110081"/>
              <a:gd name="connsiteX42" fmla="*/ 178779 w 619003"/>
              <a:gd name="connsiteY42" fmla="*/ 95583 h 110081"/>
              <a:gd name="connsiteX43" fmla="*/ 164461 w 619003"/>
              <a:gd name="connsiteY43" fmla="*/ 105601 h 110081"/>
              <a:gd name="connsiteX44" fmla="*/ 143858 w 619003"/>
              <a:gd name="connsiteY44" fmla="*/ 108588 h 110081"/>
              <a:gd name="connsiteX45" fmla="*/ 107816 w 619003"/>
              <a:gd name="connsiteY45" fmla="*/ 108588 h 110081"/>
              <a:gd name="connsiteX46" fmla="*/ 107816 w 619003"/>
              <a:gd name="connsiteY46" fmla="*/ 1493 h 110081"/>
              <a:gd name="connsiteX47" fmla="*/ 143110 w 619003"/>
              <a:gd name="connsiteY47" fmla="*/ 47231 h 110081"/>
              <a:gd name="connsiteX48" fmla="*/ 159545 w 619003"/>
              <a:gd name="connsiteY48" fmla="*/ 42751 h 110081"/>
              <a:gd name="connsiteX49" fmla="*/ 165957 w 619003"/>
              <a:gd name="connsiteY49" fmla="*/ 28376 h 110081"/>
              <a:gd name="connsiteX50" fmla="*/ 160291 w 619003"/>
              <a:gd name="connsiteY50" fmla="*/ 17361 h 110081"/>
              <a:gd name="connsiteX51" fmla="*/ 144107 w 619003"/>
              <a:gd name="connsiteY51" fmla="*/ 14374 h 110081"/>
              <a:gd name="connsiteX52" fmla="*/ 121884 w 619003"/>
              <a:gd name="connsiteY52" fmla="*/ 14374 h 110081"/>
              <a:gd name="connsiteX53" fmla="*/ 121884 w 619003"/>
              <a:gd name="connsiteY53" fmla="*/ 47231 h 110081"/>
              <a:gd name="connsiteX54" fmla="*/ 143110 w 619003"/>
              <a:gd name="connsiteY54" fmla="*/ 47231 h 110081"/>
              <a:gd name="connsiteX55" fmla="*/ 143858 w 619003"/>
              <a:gd name="connsiteY55" fmla="*/ 95893 h 110081"/>
              <a:gd name="connsiteX56" fmla="*/ 162221 w 619003"/>
              <a:gd name="connsiteY56" fmla="*/ 92035 h 110081"/>
              <a:gd name="connsiteX57" fmla="*/ 169255 w 619003"/>
              <a:gd name="connsiteY57" fmla="*/ 77972 h 110081"/>
              <a:gd name="connsiteX58" fmla="*/ 162657 w 619003"/>
              <a:gd name="connsiteY58" fmla="*/ 63908 h 110081"/>
              <a:gd name="connsiteX59" fmla="*/ 142177 w 619003"/>
              <a:gd name="connsiteY59" fmla="*/ 59926 h 110081"/>
              <a:gd name="connsiteX60" fmla="*/ 121884 w 619003"/>
              <a:gd name="connsiteY60" fmla="*/ 59926 h 110081"/>
              <a:gd name="connsiteX61" fmla="*/ 121884 w 619003"/>
              <a:gd name="connsiteY61" fmla="*/ 95893 h 110081"/>
              <a:gd name="connsiteX62" fmla="*/ 143858 w 619003"/>
              <a:gd name="connsiteY62" fmla="*/ 95893 h 110081"/>
              <a:gd name="connsiteX63" fmla="*/ 255034 w 619003"/>
              <a:gd name="connsiteY63" fmla="*/ 108588 h 110081"/>
              <a:gd name="connsiteX64" fmla="*/ 241900 w 619003"/>
              <a:gd name="connsiteY64" fmla="*/ 108588 h 110081"/>
              <a:gd name="connsiteX65" fmla="*/ 241900 w 619003"/>
              <a:gd name="connsiteY65" fmla="*/ 83199 h 110081"/>
              <a:gd name="connsiteX66" fmla="*/ 195586 w 619003"/>
              <a:gd name="connsiteY66" fmla="*/ 83199 h 110081"/>
              <a:gd name="connsiteX67" fmla="*/ 195586 w 619003"/>
              <a:gd name="connsiteY67" fmla="*/ 73927 h 110081"/>
              <a:gd name="connsiteX68" fmla="*/ 237418 w 619003"/>
              <a:gd name="connsiteY68" fmla="*/ 1493 h 110081"/>
              <a:gd name="connsiteX69" fmla="*/ 255034 w 619003"/>
              <a:gd name="connsiteY69" fmla="*/ 1493 h 110081"/>
              <a:gd name="connsiteX70" fmla="*/ 255034 w 619003"/>
              <a:gd name="connsiteY70" fmla="*/ 71873 h 110081"/>
              <a:gd name="connsiteX71" fmla="*/ 269538 w 619003"/>
              <a:gd name="connsiteY71" fmla="*/ 71873 h 110081"/>
              <a:gd name="connsiteX72" fmla="*/ 269538 w 619003"/>
              <a:gd name="connsiteY72" fmla="*/ 83199 h 110081"/>
              <a:gd name="connsiteX73" fmla="*/ 255034 w 619003"/>
              <a:gd name="connsiteY73" fmla="*/ 83199 h 110081"/>
              <a:gd name="connsiteX74" fmla="*/ 255034 w 619003"/>
              <a:gd name="connsiteY74" fmla="*/ 108588 h 110081"/>
              <a:gd name="connsiteX75" fmla="*/ 209219 w 619003"/>
              <a:gd name="connsiteY75" fmla="*/ 71873 h 110081"/>
              <a:gd name="connsiteX76" fmla="*/ 241900 w 619003"/>
              <a:gd name="connsiteY76" fmla="*/ 71873 h 110081"/>
              <a:gd name="connsiteX77" fmla="*/ 241900 w 619003"/>
              <a:gd name="connsiteY77" fmla="*/ 16117 h 110081"/>
              <a:gd name="connsiteX78" fmla="*/ 209219 w 619003"/>
              <a:gd name="connsiteY78" fmla="*/ 71873 h 110081"/>
              <a:gd name="connsiteX79" fmla="*/ 332720 w 619003"/>
              <a:gd name="connsiteY79" fmla="*/ 110082 h 110081"/>
              <a:gd name="connsiteX80" fmla="*/ 304958 w 619003"/>
              <a:gd name="connsiteY80" fmla="*/ 103486 h 110081"/>
              <a:gd name="connsiteX81" fmla="*/ 286532 w 619003"/>
              <a:gd name="connsiteY81" fmla="*/ 84693 h 110081"/>
              <a:gd name="connsiteX82" fmla="*/ 279996 w 619003"/>
              <a:gd name="connsiteY82" fmla="*/ 55134 h 110081"/>
              <a:gd name="connsiteX83" fmla="*/ 293567 w 619003"/>
              <a:gd name="connsiteY83" fmla="*/ 14810 h 110081"/>
              <a:gd name="connsiteX84" fmla="*/ 332410 w 619003"/>
              <a:gd name="connsiteY84" fmla="*/ 186 h 110081"/>
              <a:gd name="connsiteX85" fmla="*/ 350337 w 619003"/>
              <a:gd name="connsiteY85" fmla="*/ 2240 h 110081"/>
              <a:gd name="connsiteX86" fmla="*/ 364966 w 619003"/>
              <a:gd name="connsiteY86" fmla="*/ 7902 h 110081"/>
              <a:gd name="connsiteX87" fmla="*/ 364966 w 619003"/>
              <a:gd name="connsiteY87" fmla="*/ 21344 h 110081"/>
              <a:gd name="connsiteX88" fmla="*/ 349901 w 619003"/>
              <a:gd name="connsiteY88" fmla="*/ 15121 h 110081"/>
              <a:gd name="connsiteX89" fmla="*/ 332286 w 619003"/>
              <a:gd name="connsiteY89" fmla="*/ 12881 h 110081"/>
              <a:gd name="connsiteX90" fmla="*/ 304336 w 619003"/>
              <a:gd name="connsiteY90" fmla="*/ 23459 h 110081"/>
              <a:gd name="connsiteX91" fmla="*/ 295246 w 619003"/>
              <a:gd name="connsiteY91" fmla="*/ 55134 h 110081"/>
              <a:gd name="connsiteX92" fmla="*/ 305082 w 619003"/>
              <a:gd name="connsiteY92" fmla="*/ 86933 h 110081"/>
              <a:gd name="connsiteX93" fmla="*/ 333904 w 619003"/>
              <a:gd name="connsiteY93" fmla="*/ 97387 h 110081"/>
              <a:gd name="connsiteX94" fmla="*/ 364966 w 619003"/>
              <a:gd name="connsiteY94" fmla="*/ 87555 h 110081"/>
              <a:gd name="connsiteX95" fmla="*/ 364966 w 619003"/>
              <a:gd name="connsiteY95" fmla="*/ 100997 h 110081"/>
              <a:gd name="connsiteX96" fmla="*/ 351085 w 619003"/>
              <a:gd name="connsiteY96" fmla="*/ 107717 h 110081"/>
              <a:gd name="connsiteX97" fmla="*/ 332720 w 619003"/>
              <a:gd name="connsiteY97" fmla="*/ 110082 h 110081"/>
              <a:gd name="connsiteX98" fmla="*/ 398767 w 619003"/>
              <a:gd name="connsiteY98" fmla="*/ 58992 h 110081"/>
              <a:gd name="connsiteX99" fmla="*/ 398767 w 619003"/>
              <a:gd name="connsiteY99" fmla="*/ 46298 h 110081"/>
              <a:gd name="connsiteX100" fmla="*/ 413085 w 619003"/>
              <a:gd name="connsiteY100" fmla="*/ 46298 h 110081"/>
              <a:gd name="connsiteX101" fmla="*/ 426655 w 619003"/>
              <a:gd name="connsiteY101" fmla="*/ 41817 h 110081"/>
              <a:gd name="connsiteX102" fmla="*/ 432071 w 619003"/>
              <a:gd name="connsiteY102" fmla="*/ 28812 h 110081"/>
              <a:gd name="connsiteX103" fmla="*/ 427153 w 619003"/>
              <a:gd name="connsiteY103" fmla="*/ 16864 h 110081"/>
              <a:gd name="connsiteX104" fmla="*/ 412960 w 619003"/>
              <a:gd name="connsiteY104" fmla="*/ 12383 h 110081"/>
              <a:gd name="connsiteX105" fmla="*/ 398269 w 619003"/>
              <a:gd name="connsiteY105" fmla="*/ 15246 h 110081"/>
              <a:gd name="connsiteX106" fmla="*/ 384263 w 619003"/>
              <a:gd name="connsiteY106" fmla="*/ 24331 h 110081"/>
              <a:gd name="connsiteX107" fmla="*/ 384263 w 619003"/>
              <a:gd name="connsiteY107" fmla="*/ 9707 h 110081"/>
              <a:gd name="connsiteX108" fmla="*/ 413085 w 619003"/>
              <a:gd name="connsiteY108" fmla="*/ 0 h 110081"/>
              <a:gd name="connsiteX109" fmla="*/ 437112 w 619003"/>
              <a:gd name="connsiteY109" fmla="*/ 7779 h 110081"/>
              <a:gd name="connsiteX110" fmla="*/ 445952 w 619003"/>
              <a:gd name="connsiteY110" fmla="*/ 28065 h 110081"/>
              <a:gd name="connsiteX111" fmla="*/ 440287 w 619003"/>
              <a:gd name="connsiteY111" fmla="*/ 44244 h 110081"/>
              <a:gd name="connsiteX112" fmla="*/ 426966 w 619003"/>
              <a:gd name="connsiteY112" fmla="*/ 52147 h 110081"/>
              <a:gd name="connsiteX113" fmla="*/ 438481 w 619003"/>
              <a:gd name="connsiteY113" fmla="*/ 56441 h 110081"/>
              <a:gd name="connsiteX114" fmla="*/ 447135 w 619003"/>
              <a:gd name="connsiteY114" fmla="*/ 65153 h 110081"/>
              <a:gd name="connsiteX115" fmla="*/ 450434 w 619003"/>
              <a:gd name="connsiteY115" fmla="*/ 77661 h 110081"/>
              <a:gd name="connsiteX116" fmla="*/ 445516 w 619003"/>
              <a:gd name="connsiteY116" fmla="*/ 94836 h 110081"/>
              <a:gd name="connsiteX117" fmla="*/ 431884 w 619003"/>
              <a:gd name="connsiteY117" fmla="*/ 106224 h 110081"/>
              <a:gd name="connsiteX118" fmla="*/ 412025 w 619003"/>
              <a:gd name="connsiteY118" fmla="*/ 110082 h 110081"/>
              <a:gd name="connsiteX119" fmla="*/ 381586 w 619003"/>
              <a:gd name="connsiteY119" fmla="*/ 100997 h 110081"/>
              <a:gd name="connsiteX120" fmla="*/ 381586 w 619003"/>
              <a:gd name="connsiteY120" fmla="*/ 86062 h 110081"/>
              <a:gd name="connsiteX121" fmla="*/ 395281 w 619003"/>
              <a:gd name="connsiteY121" fmla="*/ 94711 h 110081"/>
              <a:gd name="connsiteX122" fmla="*/ 412212 w 619003"/>
              <a:gd name="connsiteY122" fmla="*/ 97823 h 110081"/>
              <a:gd name="connsiteX123" fmla="*/ 429518 w 619003"/>
              <a:gd name="connsiteY123" fmla="*/ 92596 h 110081"/>
              <a:gd name="connsiteX124" fmla="*/ 435930 w 619003"/>
              <a:gd name="connsiteY124" fmla="*/ 77972 h 110081"/>
              <a:gd name="connsiteX125" fmla="*/ 430141 w 619003"/>
              <a:gd name="connsiteY125" fmla="*/ 64095 h 110081"/>
              <a:gd name="connsiteX126" fmla="*/ 412462 w 619003"/>
              <a:gd name="connsiteY126" fmla="*/ 58992 h 110081"/>
              <a:gd name="connsiteX127" fmla="*/ 398767 w 619003"/>
              <a:gd name="connsiteY127" fmla="*/ 58992 h 110081"/>
              <a:gd name="connsiteX128" fmla="*/ 468610 w 619003"/>
              <a:gd name="connsiteY128" fmla="*/ 1493 h 110081"/>
              <a:gd name="connsiteX129" fmla="*/ 534034 w 619003"/>
              <a:gd name="connsiteY129" fmla="*/ 1493 h 110081"/>
              <a:gd name="connsiteX130" fmla="*/ 534034 w 619003"/>
              <a:gd name="connsiteY130" fmla="*/ 14374 h 110081"/>
              <a:gd name="connsiteX131" fmla="*/ 482679 w 619003"/>
              <a:gd name="connsiteY131" fmla="*/ 14374 h 110081"/>
              <a:gd name="connsiteX132" fmla="*/ 482679 w 619003"/>
              <a:gd name="connsiteY132" fmla="*/ 49907 h 110081"/>
              <a:gd name="connsiteX133" fmla="*/ 526315 w 619003"/>
              <a:gd name="connsiteY133" fmla="*/ 49907 h 110081"/>
              <a:gd name="connsiteX134" fmla="*/ 526315 w 619003"/>
              <a:gd name="connsiteY134" fmla="*/ 62601 h 110081"/>
              <a:gd name="connsiteX135" fmla="*/ 482679 w 619003"/>
              <a:gd name="connsiteY135" fmla="*/ 62601 h 110081"/>
              <a:gd name="connsiteX136" fmla="*/ 482679 w 619003"/>
              <a:gd name="connsiteY136" fmla="*/ 108588 h 110081"/>
              <a:gd name="connsiteX137" fmla="*/ 468610 w 619003"/>
              <a:gd name="connsiteY137" fmla="*/ 108588 h 110081"/>
              <a:gd name="connsiteX138" fmla="*/ 468610 w 619003"/>
              <a:gd name="connsiteY138" fmla="*/ 1493 h 110081"/>
              <a:gd name="connsiteX139" fmla="*/ 553517 w 619003"/>
              <a:gd name="connsiteY139" fmla="*/ 1493 h 110081"/>
              <a:gd name="connsiteX140" fmla="*/ 619003 w 619003"/>
              <a:gd name="connsiteY140" fmla="*/ 1493 h 110081"/>
              <a:gd name="connsiteX141" fmla="*/ 619003 w 619003"/>
              <a:gd name="connsiteY141" fmla="*/ 14374 h 110081"/>
              <a:gd name="connsiteX142" fmla="*/ 567586 w 619003"/>
              <a:gd name="connsiteY142" fmla="*/ 14374 h 110081"/>
              <a:gd name="connsiteX143" fmla="*/ 567586 w 619003"/>
              <a:gd name="connsiteY143" fmla="*/ 49907 h 110081"/>
              <a:gd name="connsiteX144" fmla="*/ 611222 w 619003"/>
              <a:gd name="connsiteY144" fmla="*/ 49907 h 110081"/>
              <a:gd name="connsiteX145" fmla="*/ 611222 w 619003"/>
              <a:gd name="connsiteY145" fmla="*/ 62601 h 110081"/>
              <a:gd name="connsiteX146" fmla="*/ 567586 w 619003"/>
              <a:gd name="connsiteY146" fmla="*/ 62601 h 110081"/>
              <a:gd name="connsiteX147" fmla="*/ 567586 w 619003"/>
              <a:gd name="connsiteY147" fmla="*/ 108588 h 110081"/>
              <a:gd name="connsiteX148" fmla="*/ 553517 w 619003"/>
              <a:gd name="connsiteY148" fmla="*/ 108588 h 110081"/>
              <a:gd name="connsiteX149" fmla="*/ 553517 w 619003"/>
              <a:gd name="connsiteY149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07816" y="1493"/>
                </a:moveTo>
                <a:lnTo>
                  <a:pt x="144107" y="1493"/>
                </a:lnTo>
                <a:cubicBezTo>
                  <a:pt x="155872" y="1493"/>
                  <a:pt x="164773" y="3484"/>
                  <a:pt x="170873" y="7467"/>
                </a:cubicBezTo>
                <a:cubicBezTo>
                  <a:pt x="177036" y="11450"/>
                  <a:pt x="180148" y="18170"/>
                  <a:pt x="180148" y="27629"/>
                </a:cubicBezTo>
                <a:cubicBezTo>
                  <a:pt x="180148" y="35283"/>
                  <a:pt x="178220" y="41133"/>
                  <a:pt x="174297" y="45116"/>
                </a:cubicBezTo>
                <a:cubicBezTo>
                  <a:pt x="170438" y="48974"/>
                  <a:pt x="165271" y="51649"/>
                  <a:pt x="158797" y="53018"/>
                </a:cubicBezTo>
                <a:cubicBezTo>
                  <a:pt x="167014" y="54014"/>
                  <a:pt x="173302" y="56441"/>
                  <a:pt x="177596" y="60361"/>
                </a:cubicBezTo>
                <a:cubicBezTo>
                  <a:pt x="181891" y="64157"/>
                  <a:pt x="184008" y="69882"/>
                  <a:pt x="184008" y="77661"/>
                </a:cubicBezTo>
                <a:cubicBezTo>
                  <a:pt x="184008" y="85066"/>
                  <a:pt x="182265" y="91040"/>
                  <a:pt x="178779" y="95583"/>
                </a:cubicBezTo>
                <a:cubicBezTo>
                  <a:pt x="175294" y="100188"/>
                  <a:pt x="170501" y="103486"/>
                  <a:pt x="164461" y="105601"/>
                </a:cubicBezTo>
                <a:cubicBezTo>
                  <a:pt x="158361" y="107592"/>
                  <a:pt x="151514" y="108588"/>
                  <a:pt x="143858" y="108588"/>
                </a:cubicBez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43110" y="47231"/>
                </a:moveTo>
                <a:cubicBezTo>
                  <a:pt x="149834" y="47231"/>
                  <a:pt x="155311" y="45738"/>
                  <a:pt x="159545" y="42751"/>
                </a:cubicBezTo>
                <a:cubicBezTo>
                  <a:pt x="163777" y="39639"/>
                  <a:pt x="165957" y="34848"/>
                  <a:pt x="165957" y="28376"/>
                </a:cubicBezTo>
                <a:cubicBezTo>
                  <a:pt x="165957" y="22900"/>
                  <a:pt x="164027" y="19228"/>
                  <a:pt x="160291" y="17361"/>
                </a:cubicBezTo>
                <a:cubicBezTo>
                  <a:pt x="156495" y="15370"/>
                  <a:pt x="151078" y="14374"/>
                  <a:pt x="144107" y="14374"/>
                </a:cubicBezTo>
                <a:lnTo>
                  <a:pt x="121884" y="14374"/>
                </a:lnTo>
                <a:lnTo>
                  <a:pt x="121884" y="47231"/>
                </a:lnTo>
                <a:lnTo>
                  <a:pt x="143110" y="47231"/>
                </a:lnTo>
                <a:close/>
                <a:moveTo>
                  <a:pt x="143858" y="95893"/>
                </a:moveTo>
                <a:cubicBezTo>
                  <a:pt x="151390" y="95893"/>
                  <a:pt x="157552" y="94587"/>
                  <a:pt x="162221" y="92035"/>
                </a:cubicBezTo>
                <a:cubicBezTo>
                  <a:pt x="166890" y="89422"/>
                  <a:pt x="169255" y="84755"/>
                  <a:pt x="169255" y="77972"/>
                </a:cubicBezTo>
                <a:cubicBezTo>
                  <a:pt x="169255" y="71189"/>
                  <a:pt x="167014" y="66522"/>
                  <a:pt x="162657" y="63908"/>
                </a:cubicBezTo>
                <a:cubicBezTo>
                  <a:pt x="158361" y="61233"/>
                  <a:pt x="151577" y="59926"/>
                  <a:pt x="142177" y="59926"/>
                </a:cubicBezTo>
                <a:lnTo>
                  <a:pt x="121884" y="59926"/>
                </a:lnTo>
                <a:lnTo>
                  <a:pt x="121884" y="95893"/>
                </a:lnTo>
                <a:lnTo>
                  <a:pt x="143858" y="95893"/>
                </a:lnTo>
                <a:close/>
                <a:moveTo>
                  <a:pt x="255034" y="108588"/>
                </a:moveTo>
                <a:lnTo>
                  <a:pt x="241900" y="108588"/>
                </a:lnTo>
                <a:lnTo>
                  <a:pt x="241900" y="83199"/>
                </a:lnTo>
                <a:lnTo>
                  <a:pt x="195586" y="83199"/>
                </a:lnTo>
                <a:lnTo>
                  <a:pt x="195586" y="73927"/>
                </a:lnTo>
                <a:lnTo>
                  <a:pt x="237418" y="1493"/>
                </a:lnTo>
                <a:lnTo>
                  <a:pt x="255034" y="1493"/>
                </a:lnTo>
                <a:lnTo>
                  <a:pt x="255034" y="71873"/>
                </a:lnTo>
                <a:lnTo>
                  <a:pt x="269538" y="71873"/>
                </a:lnTo>
                <a:lnTo>
                  <a:pt x="269538" y="83199"/>
                </a:lnTo>
                <a:lnTo>
                  <a:pt x="255034" y="83199"/>
                </a:lnTo>
                <a:lnTo>
                  <a:pt x="255034" y="108588"/>
                </a:lnTo>
                <a:close/>
                <a:moveTo>
                  <a:pt x="209219" y="71873"/>
                </a:moveTo>
                <a:lnTo>
                  <a:pt x="241900" y="71873"/>
                </a:lnTo>
                <a:lnTo>
                  <a:pt x="241900" y="16117"/>
                </a:lnTo>
                <a:lnTo>
                  <a:pt x="209219" y="71873"/>
                </a:lnTo>
                <a:close/>
                <a:moveTo>
                  <a:pt x="332720" y="110082"/>
                </a:moveTo>
                <a:cubicBezTo>
                  <a:pt x="322138" y="110082"/>
                  <a:pt x="312926" y="107904"/>
                  <a:pt x="304958" y="103486"/>
                </a:cubicBezTo>
                <a:cubicBezTo>
                  <a:pt x="297052" y="99129"/>
                  <a:pt x="290952" y="92844"/>
                  <a:pt x="286532" y="84693"/>
                </a:cubicBezTo>
                <a:cubicBezTo>
                  <a:pt x="282175" y="76416"/>
                  <a:pt x="279996" y="66584"/>
                  <a:pt x="279996" y="55134"/>
                </a:cubicBezTo>
                <a:cubicBezTo>
                  <a:pt x="279996" y="37897"/>
                  <a:pt x="284540" y="24455"/>
                  <a:pt x="293567" y="14810"/>
                </a:cubicBezTo>
                <a:cubicBezTo>
                  <a:pt x="302655" y="5040"/>
                  <a:pt x="315602" y="186"/>
                  <a:pt x="332410" y="186"/>
                </a:cubicBezTo>
                <a:cubicBezTo>
                  <a:pt x="338698" y="186"/>
                  <a:pt x="344673" y="871"/>
                  <a:pt x="350337" y="2240"/>
                </a:cubicBezTo>
                <a:cubicBezTo>
                  <a:pt x="356126" y="3547"/>
                  <a:pt x="360982" y="5414"/>
                  <a:pt x="364966" y="7902"/>
                </a:cubicBezTo>
                <a:lnTo>
                  <a:pt x="364966" y="21344"/>
                </a:lnTo>
                <a:cubicBezTo>
                  <a:pt x="360732" y="18669"/>
                  <a:pt x="355691" y="16615"/>
                  <a:pt x="349901" y="15121"/>
                </a:cubicBezTo>
                <a:cubicBezTo>
                  <a:pt x="344237" y="13628"/>
                  <a:pt x="338324" y="12881"/>
                  <a:pt x="332286" y="12881"/>
                </a:cubicBezTo>
                <a:cubicBezTo>
                  <a:pt x="319711" y="12881"/>
                  <a:pt x="310436" y="16366"/>
                  <a:pt x="304336" y="23459"/>
                </a:cubicBezTo>
                <a:cubicBezTo>
                  <a:pt x="298236" y="30554"/>
                  <a:pt x="295246" y="41071"/>
                  <a:pt x="295246" y="55134"/>
                </a:cubicBezTo>
                <a:cubicBezTo>
                  <a:pt x="295246" y="69260"/>
                  <a:pt x="298483" y="79839"/>
                  <a:pt x="305082" y="86933"/>
                </a:cubicBezTo>
                <a:cubicBezTo>
                  <a:pt x="311681" y="93902"/>
                  <a:pt x="321268" y="97387"/>
                  <a:pt x="333904" y="97387"/>
                </a:cubicBezTo>
                <a:cubicBezTo>
                  <a:pt x="345856" y="97387"/>
                  <a:pt x="356251" y="94089"/>
                  <a:pt x="364966" y="87555"/>
                </a:cubicBezTo>
                <a:lnTo>
                  <a:pt x="364966" y="100997"/>
                </a:lnTo>
                <a:cubicBezTo>
                  <a:pt x="361480" y="103734"/>
                  <a:pt x="356874" y="105974"/>
                  <a:pt x="351085" y="107717"/>
                </a:cubicBezTo>
                <a:cubicBezTo>
                  <a:pt x="345295" y="109273"/>
                  <a:pt x="339194" y="110082"/>
                  <a:pt x="332720" y="110082"/>
                </a:cubicBezTo>
                <a:close/>
                <a:moveTo>
                  <a:pt x="398767" y="58992"/>
                </a:moveTo>
                <a:lnTo>
                  <a:pt x="398767" y="46298"/>
                </a:lnTo>
                <a:lnTo>
                  <a:pt x="413085" y="46298"/>
                </a:lnTo>
                <a:cubicBezTo>
                  <a:pt x="418687" y="46298"/>
                  <a:pt x="423168" y="44804"/>
                  <a:pt x="426655" y="41817"/>
                </a:cubicBezTo>
                <a:cubicBezTo>
                  <a:pt x="430265" y="38768"/>
                  <a:pt x="432071" y="34412"/>
                  <a:pt x="432071" y="28812"/>
                </a:cubicBezTo>
                <a:cubicBezTo>
                  <a:pt x="432071" y="23771"/>
                  <a:pt x="430390" y="19788"/>
                  <a:pt x="427153" y="16864"/>
                </a:cubicBezTo>
                <a:cubicBezTo>
                  <a:pt x="423854" y="13877"/>
                  <a:pt x="419123" y="12383"/>
                  <a:pt x="412960" y="12383"/>
                </a:cubicBezTo>
                <a:cubicBezTo>
                  <a:pt x="407731" y="12383"/>
                  <a:pt x="402875" y="13379"/>
                  <a:pt x="398269" y="15246"/>
                </a:cubicBezTo>
                <a:cubicBezTo>
                  <a:pt x="393787" y="17113"/>
                  <a:pt x="389118" y="20162"/>
                  <a:pt x="384263" y="24331"/>
                </a:cubicBezTo>
                <a:lnTo>
                  <a:pt x="384263" y="9707"/>
                </a:lnTo>
                <a:cubicBezTo>
                  <a:pt x="392231" y="3235"/>
                  <a:pt x="401817" y="0"/>
                  <a:pt x="413085" y="0"/>
                </a:cubicBezTo>
                <a:cubicBezTo>
                  <a:pt x="423355" y="0"/>
                  <a:pt x="431386" y="2613"/>
                  <a:pt x="437112" y="7779"/>
                </a:cubicBezTo>
                <a:cubicBezTo>
                  <a:pt x="443025" y="12943"/>
                  <a:pt x="445952" y="19726"/>
                  <a:pt x="445952" y="28065"/>
                </a:cubicBezTo>
                <a:cubicBezTo>
                  <a:pt x="445952" y="34848"/>
                  <a:pt x="444085" y="40262"/>
                  <a:pt x="440287" y="44244"/>
                </a:cubicBezTo>
                <a:cubicBezTo>
                  <a:pt x="436615" y="48227"/>
                  <a:pt x="432132" y="50840"/>
                  <a:pt x="426966" y="52147"/>
                </a:cubicBezTo>
                <a:cubicBezTo>
                  <a:pt x="431136" y="52707"/>
                  <a:pt x="434996" y="54201"/>
                  <a:pt x="438481" y="56441"/>
                </a:cubicBezTo>
                <a:cubicBezTo>
                  <a:pt x="442092" y="58681"/>
                  <a:pt x="444955" y="61543"/>
                  <a:pt x="447135" y="65153"/>
                </a:cubicBezTo>
                <a:cubicBezTo>
                  <a:pt x="449312" y="68700"/>
                  <a:pt x="450434" y="72869"/>
                  <a:pt x="450434" y="77661"/>
                </a:cubicBezTo>
                <a:cubicBezTo>
                  <a:pt x="450434" y="84257"/>
                  <a:pt x="448816" y="89982"/>
                  <a:pt x="445516" y="94836"/>
                </a:cubicBezTo>
                <a:cubicBezTo>
                  <a:pt x="442217" y="99752"/>
                  <a:pt x="437673" y="103486"/>
                  <a:pt x="431884" y="106224"/>
                </a:cubicBezTo>
                <a:cubicBezTo>
                  <a:pt x="426218" y="108775"/>
                  <a:pt x="419621" y="110082"/>
                  <a:pt x="412025" y="110082"/>
                </a:cubicBezTo>
                <a:cubicBezTo>
                  <a:pt x="398892" y="110082"/>
                  <a:pt x="388744" y="107033"/>
                  <a:pt x="381586" y="100997"/>
                </a:cubicBezTo>
                <a:lnTo>
                  <a:pt x="381586" y="86062"/>
                </a:lnTo>
                <a:cubicBezTo>
                  <a:pt x="385322" y="89733"/>
                  <a:pt x="389928" y="92596"/>
                  <a:pt x="395281" y="94711"/>
                </a:cubicBezTo>
                <a:cubicBezTo>
                  <a:pt x="400697" y="96765"/>
                  <a:pt x="406299" y="97823"/>
                  <a:pt x="412212" y="97823"/>
                </a:cubicBezTo>
                <a:cubicBezTo>
                  <a:pt x="419559" y="97823"/>
                  <a:pt x="425348" y="96080"/>
                  <a:pt x="429518" y="92596"/>
                </a:cubicBezTo>
                <a:cubicBezTo>
                  <a:pt x="433813" y="89048"/>
                  <a:pt x="435930" y="84132"/>
                  <a:pt x="435930" y="77972"/>
                </a:cubicBezTo>
                <a:cubicBezTo>
                  <a:pt x="435930" y="71998"/>
                  <a:pt x="433999" y="67393"/>
                  <a:pt x="430141" y="64095"/>
                </a:cubicBezTo>
                <a:cubicBezTo>
                  <a:pt x="426343" y="60673"/>
                  <a:pt x="420430" y="58992"/>
                  <a:pt x="412462" y="58992"/>
                </a:cubicBezTo>
                <a:lnTo>
                  <a:pt x="398767" y="58992"/>
                </a:ln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4" name="Полилиния 943">
            <a:extLst>
              <a:ext uri="{FF2B5EF4-FFF2-40B4-BE49-F238E27FC236}">
                <a16:creationId xmlns:a16="http://schemas.microsoft.com/office/drawing/2014/main" id="{63084A66-69F2-E539-A795-B369CC8E276A}"/>
              </a:ext>
            </a:extLst>
          </p:cNvPr>
          <p:cNvSpPr/>
          <p:nvPr userDrawn="1"/>
        </p:nvSpPr>
        <p:spPr>
          <a:xfrm>
            <a:off x="6844904" y="10323656"/>
            <a:ext cx="255715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6E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5" name="Полилиния 944">
            <a:extLst>
              <a:ext uri="{FF2B5EF4-FFF2-40B4-BE49-F238E27FC236}">
                <a16:creationId xmlns:a16="http://schemas.microsoft.com/office/drawing/2014/main" id="{C1ABE780-BA3A-F681-309F-F15E0DDA9B63}"/>
              </a:ext>
            </a:extLst>
          </p:cNvPr>
          <p:cNvSpPr/>
          <p:nvPr userDrawn="1"/>
        </p:nvSpPr>
        <p:spPr>
          <a:xfrm>
            <a:off x="6968113" y="10625405"/>
            <a:ext cx="717966" cy="128468"/>
          </a:xfrm>
          <a:custGeom>
            <a:avLst/>
            <a:gdLst>
              <a:gd name="connsiteX0" fmla="*/ 22099 w 615206"/>
              <a:gd name="connsiteY0" fmla="*/ 108588 h 110081"/>
              <a:gd name="connsiteX1" fmla="*/ 10147 w 615206"/>
              <a:gd name="connsiteY1" fmla="*/ 108588 h 110081"/>
              <a:gd name="connsiteX2" fmla="*/ 16435 w 615206"/>
              <a:gd name="connsiteY2" fmla="*/ 77661 h 110081"/>
              <a:gd name="connsiteX3" fmla="*/ 0 w 615206"/>
              <a:gd name="connsiteY3" fmla="*/ 77661 h 110081"/>
              <a:gd name="connsiteX4" fmla="*/ 0 w 615206"/>
              <a:gd name="connsiteY4" fmla="*/ 67206 h 110081"/>
              <a:gd name="connsiteX5" fmla="*/ 18675 w 615206"/>
              <a:gd name="connsiteY5" fmla="*/ 67206 h 110081"/>
              <a:gd name="connsiteX6" fmla="*/ 24216 w 615206"/>
              <a:gd name="connsiteY6" fmla="*/ 40012 h 110081"/>
              <a:gd name="connsiteX7" fmla="*/ 4047 w 615206"/>
              <a:gd name="connsiteY7" fmla="*/ 40012 h 110081"/>
              <a:gd name="connsiteX8" fmla="*/ 4047 w 615206"/>
              <a:gd name="connsiteY8" fmla="*/ 29559 h 110081"/>
              <a:gd name="connsiteX9" fmla="*/ 26269 w 615206"/>
              <a:gd name="connsiteY9" fmla="*/ 29559 h 110081"/>
              <a:gd name="connsiteX10" fmla="*/ 32121 w 615206"/>
              <a:gd name="connsiteY10" fmla="*/ 1493 h 110081"/>
              <a:gd name="connsiteX11" fmla="*/ 44073 w 615206"/>
              <a:gd name="connsiteY11" fmla="*/ 1493 h 110081"/>
              <a:gd name="connsiteX12" fmla="*/ 38222 w 615206"/>
              <a:gd name="connsiteY12" fmla="*/ 29559 h 110081"/>
              <a:gd name="connsiteX13" fmla="*/ 60630 w 615206"/>
              <a:gd name="connsiteY13" fmla="*/ 29559 h 110081"/>
              <a:gd name="connsiteX14" fmla="*/ 66481 w 615206"/>
              <a:gd name="connsiteY14" fmla="*/ 1493 h 110081"/>
              <a:gd name="connsiteX15" fmla="*/ 78434 w 615206"/>
              <a:gd name="connsiteY15" fmla="*/ 1493 h 110081"/>
              <a:gd name="connsiteX16" fmla="*/ 72583 w 615206"/>
              <a:gd name="connsiteY16" fmla="*/ 29559 h 110081"/>
              <a:gd name="connsiteX17" fmla="*/ 89328 w 615206"/>
              <a:gd name="connsiteY17" fmla="*/ 29559 h 110081"/>
              <a:gd name="connsiteX18" fmla="*/ 89328 w 615206"/>
              <a:gd name="connsiteY18" fmla="*/ 40012 h 110081"/>
              <a:gd name="connsiteX19" fmla="*/ 70529 w 615206"/>
              <a:gd name="connsiteY19" fmla="*/ 40012 h 110081"/>
              <a:gd name="connsiteX20" fmla="*/ 64988 w 615206"/>
              <a:gd name="connsiteY20" fmla="*/ 67206 h 110081"/>
              <a:gd name="connsiteX21" fmla="*/ 85281 w 615206"/>
              <a:gd name="connsiteY21" fmla="*/ 67206 h 110081"/>
              <a:gd name="connsiteX22" fmla="*/ 85281 w 615206"/>
              <a:gd name="connsiteY22" fmla="*/ 77661 h 110081"/>
              <a:gd name="connsiteX23" fmla="*/ 62747 w 615206"/>
              <a:gd name="connsiteY23" fmla="*/ 77661 h 110081"/>
              <a:gd name="connsiteX24" fmla="*/ 56460 w 615206"/>
              <a:gd name="connsiteY24" fmla="*/ 108588 h 110081"/>
              <a:gd name="connsiteX25" fmla="*/ 44509 w 615206"/>
              <a:gd name="connsiteY25" fmla="*/ 108588 h 110081"/>
              <a:gd name="connsiteX26" fmla="*/ 50796 w 615206"/>
              <a:gd name="connsiteY26" fmla="*/ 77661 h 110081"/>
              <a:gd name="connsiteX27" fmla="*/ 28386 w 615206"/>
              <a:gd name="connsiteY27" fmla="*/ 77661 h 110081"/>
              <a:gd name="connsiteX28" fmla="*/ 22099 w 615206"/>
              <a:gd name="connsiteY28" fmla="*/ 108588 h 110081"/>
              <a:gd name="connsiteX29" fmla="*/ 30626 w 615206"/>
              <a:gd name="connsiteY29" fmla="*/ 67206 h 110081"/>
              <a:gd name="connsiteX30" fmla="*/ 53036 w 615206"/>
              <a:gd name="connsiteY30" fmla="*/ 67206 h 110081"/>
              <a:gd name="connsiteX31" fmla="*/ 58577 w 615206"/>
              <a:gd name="connsiteY31" fmla="*/ 40012 h 110081"/>
              <a:gd name="connsiteX32" fmla="*/ 36167 w 615206"/>
              <a:gd name="connsiteY32" fmla="*/ 40012 h 110081"/>
              <a:gd name="connsiteX33" fmla="*/ 30626 w 615206"/>
              <a:gd name="connsiteY33" fmla="*/ 67206 h 110081"/>
              <a:gd name="connsiteX34" fmla="*/ 107816 w 615206"/>
              <a:gd name="connsiteY34" fmla="*/ 1493 h 110081"/>
              <a:gd name="connsiteX35" fmla="*/ 174172 w 615206"/>
              <a:gd name="connsiteY35" fmla="*/ 1493 h 110081"/>
              <a:gd name="connsiteX36" fmla="*/ 174172 w 615206"/>
              <a:gd name="connsiteY36" fmla="*/ 14374 h 110081"/>
              <a:gd name="connsiteX37" fmla="*/ 121884 w 615206"/>
              <a:gd name="connsiteY37" fmla="*/ 14374 h 110081"/>
              <a:gd name="connsiteX38" fmla="*/ 121884 w 615206"/>
              <a:gd name="connsiteY38" fmla="*/ 46734 h 110081"/>
              <a:gd name="connsiteX39" fmla="*/ 166267 w 615206"/>
              <a:gd name="connsiteY39" fmla="*/ 46734 h 110081"/>
              <a:gd name="connsiteX40" fmla="*/ 166267 w 615206"/>
              <a:gd name="connsiteY40" fmla="*/ 59428 h 110081"/>
              <a:gd name="connsiteX41" fmla="*/ 121884 w 615206"/>
              <a:gd name="connsiteY41" fmla="*/ 59428 h 110081"/>
              <a:gd name="connsiteX42" fmla="*/ 121884 w 615206"/>
              <a:gd name="connsiteY42" fmla="*/ 95893 h 110081"/>
              <a:gd name="connsiteX43" fmla="*/ 174920 w 615206"/>
              <a:gd name="connsiteY43" fmla="*/ 95893 h 110081"/>
              <a:gd name="connsiteX44" fmla="*/ 174920 w 615206"/>
              <a:gd name="connsiteY44" fmla="*/ 108588 h 110081"/>
              <a:gd name="connsiteX45" fmla="*/ 107816 w 615206"/>
              <a:gd name="connsiteY45" fmla="*/ 108588 h 110081"/>
              <a:gd name="connsiteX46" fmla="*/ 107816 w 615206"/>
              <a:gd name="connsiteY46" fmla="*/ 1493 h 110081"/>
              <a:gd name="connsiteX47" fmla="*/ 262566 w 615206"/>
              <a:gd name="connsiteY47" fmla="*/ 73491 h 110081"/>
              <a:gd name="connsiteX48" fmla="*/ 257774 w 615206"/>
              <a:gd name="connsiteY48" fmla="*/ 92782 h 110081"/>
              <a:gd name="connsiteX49" fmla="*/ 245075 w 615206"/>
              <a:gd name="connsiteY49" fmla="*/ 105601 h 110081"/>
              <a:gd name="connsiteX50" fmla="*/ 227022 w 615206"/>
              <a:gd name="connsiteY50" fmla="*/ 110082 h 110081"/>
              <a:gd name="connsiteX51" fmla="*/ 205359 w 615206"/>
              <a:gd name="connsiteY51" fmla="*/ 104108 h 110081"/>
              <a:gd name="connsiteX52" fmla="*/ 193221 w 615206"/>
              <a:gd name="connsiteY52" fmla="*/ 87555 h 110081"/>
              <a:gd name="connsiteX53" fmla="*/ 189485 w 615206"/>
              <a:gd name="connsiteY53" fmla="*/ 63161 h 110081"/>
              <a:gd name="connsiteX54" fmla="*/ 193969 w 615206"/>
              <a:gd name="connsiteY54" fmla="*/ 30181 h 110081"/>
              <a:gd name="connsiteX55" fmla="*/ 208036 w 615206"/>
              <a:gd name="connsiteY55" fmla="*/ 8089 h 110081"/>
              <a:gd name="connsiteX56" fmla="*/ 232500 w 615206"/>
              <a:gd name="connsiteY56" fmla="*/ 0 h 110081"/>
              <a:gd name="connsiteX57" fmla="*/ 255096 w 615206"/>
              <a:gd name="connsiteY57" fmla="*/ 5538 h 110081"/>
              <a:gd name="connsiteX58" fmla="*/ 255096 w 615206"/>
              <a:gd name="connsiteY58" fmla="*/ 18855 h 110081"/>
              <a:gd name="connsiteX59" fmla="*/ 232500 w 615206"/>
              <a:gd name="connsiteY59" fmla="*/ 12259 h 110081"/>
              <a:gd name="connsiteX60" fmla="*/ 217001 w 615206"/>
              <a:gd name="connsiteY60" fmla="*/ 17361 h 110081"/>
              <a:gd name="connsiteX61" fmla="*/ 207102 w 615206"/>
              <a:gd name="connsiteY61" fmla="*/ 31238 h 110081"/>
              <a:gd name="connsiteX62" fmla="*/ 202932 w 615206"/>
              <a:gd name="connsiteY62" fmla="*/ 50778 h 110081"/>
              <a:gd name="connsiteX63" fmla="*/ 214323 w 615206"/>
              <a:gd name="connsiteY63" fmla="*/ 40759 h 110081"/>
              <a:gd name="connsiteX64" fmla="*/ 228329 w 615206"/>
              <a:gd name="connsiteY64" fmla="*/ 37523 h 110081"/>
              <a:gd name="connsiteX65" fmla="*/ 245696 w 615206"/>
              <a:gd name="connsiteY65" fmla="*/ 41693 h 110081"/>
              <a:gd name="connsiteX66" fmla="*/ 257897 w 615206"/>
              <a:gd name="connsiteY66" fmla="*/ 53952 h 110081"/>
              <a:gd name="connsiteX67" fmla="*/ 262566 w 615206"/>
              <a:gd name="connsiteY67" fmla="*/ 73491 h 110081"/>
              <a:gd name="connsiteX68" fmla="*/ 226525 w 615206"/>
              <a:gd name="connsiteY68" fmla="*/ 98134 h 110081"/>
              <a:gd name="connsiteX69" fmla="*/ 237294 w 615206"/>
              <a:gd name="connsiteY69" fmla="*/ 95458 h 110081"/>
              <a:gd name="connsiteX70" fmla="*/ 245199 w 615206"/>
              <a:gd name="connsiteY70" fmla="*/ 87244 h 110081"/>
              <a:gd name="connsiteX71" fmla="*/ 248374 w 615206"/>
              <a:gd name="connsiteY71" fmla="*/ 73803 h 110081"/>
              <a:gd name="connsiteX72" fmla="*/ 245385 w 615206"/>
              <a:gd name="connsiteY72" fmla="*/ 60174 h 110081"/>
              <a:gd name="connsiteX73" fmla="*/ 237728 w 615206"/>
              <a:gd name="connsiteY73" fmla="*/ 51961 h 110081"/>
              <a:gd name="connsiteX74" fmla="*/ 228019 w 615206"/>
              <a:gd name="connsiteY74" fmla="*/ 49160 h 110081"/>
              <a:gd name="connsiteX75" fmla="*/ 211460 w 615206"/>
              <a:gd name="connsiteY75" fmla="*/ 55570 h 110081"/>
              <a:gd name="connsiteX76" fmla="*/ 204862 w 615206"/>
              <a:gd name="connsiteY76" fmla="*/ 74114 h 110081"/>
              <a:gd name="connsiteX77" fmla="*/ 210713 w 615206"/>
              <a:gd name="connsiteY77" fmla="*/ 91538 h 110081"/>
              <a:gd name="connsiteX78" fmla="*/ 226525 w 615206"/>
              <a:gd name="connsiteY78" fmla="*/ 98134 h 110081"/>
              <a:gd name="connsiteX79" fmla="*/ 279249 w 615206"/>
              <a:gd name="connsiteY79" fmla="*/ 1493 h 110081"/>
              <a:gd name="connsiteX80" fmla="*/ 345606 w 615206"/>
              <a:gd name="connsiteY80" fmla="*/ 1493 h 110081"/>
              <a:gd name="connsiteX81" fmla="*/ 345606 w 615206"/>
              <a:gd name="connsiteY81" fmla="*/ 14374 h 110081"/>
              <a:gd name="connsiteX82" fmla="*/ 293318 w 615206"/>
              <a:gd name="connsiteY82" fmla="*/ 14374 h 110081"/>
              <a:gd name="connsiteX83" fmla="*/ 293318 w 615206"/>
              <a:gd name="connsiteY83" fmla="*/ 46734 h 110081"/>
              <a:gd name="connsiteX84" fmla="*/ 337638 w 615206"/>
              <a:gd name="connsiteY84" fmla="*/ 46734 h 110081"/>
              <a:gd name="connsiteX85" fmla="*/ 337638 w 615206"/>
              <a:gd name="connsiteY85" fmla="*/ 59428 h 110081"/>
              <a:gd name="connsiteX86" fmla="*/ 293318 w 615206"/>
              <a:gd name="connsiteY86" fmla="*/ 59428 h 110081"/>
              <a:gd name="connsiteX87" fmla="*/ 293318 w 615206"/>
              <a:gd name="connsiteY87" fmla="*/ 95893 h 110081"/>
              <a:gd name="connsiteX88" fmla="*/ 346354 w 615206"/>
              <a:gd name="connsiteY88" fmla="*/ 95893 h 110081"/>
              <a:gd name="connsiteX89" fmla="*/ 346354 w 615206"/>
              <a:gd name="connsiteY89" fmla="*/ 108588 h 110081"/>
              <a:gd name="connsiteX90" fmla="*/ 279249 w 615206"/>
              <a:gd name="connsiteY90" fmla="*/ 108588 h 110081"/>
              <a:gd name="connsiteX91" fmla="*/ 279249 w 615206"/>
              <a:gd name="connsiteY91" fmla="*/ 1493 h 110081"/>
              <a:gd name="connsiteX92" fmla="*/ 368513 w 615206"/>
              <a:gd name="connsiteY92" fmla="*/ 1493 h 110081"/>
              <a:gd name="connsiteX93" fmla="*/ 404867 w 615206"/>
              <a:gd name="connsiteY93" fmla="*/ 1493 h 110081"/>
              <a:gd name="connsiteX94" fmla="*/ 431572 w 615206"/>
              <a:gd name="connsiteY94" fmla="*/ 7467 h 110081"/>
              <a:gd name="connsiteX95" fmla="*/ 440847 w 615206"/>
              <a:gd name="connsiteY95" fmla="*/ 27629 h 110081"/>
              <a:gd name="connsiteX96" fmla="*/ 434996 w 615206"/>
              <a:gd name="connsiteY96" fmla="*/ 45116 h 110081"/>
              <a:gd name="connsiteX97" fmla="*/ 419497 w 615206"/>
              <a:gd name="connsiteY97" fmla="*/ 53018 h 110081"/>
              <a:gd name="connsiteX98" fmla="*/ 438296 w 615206"/>
              <a:gd name="connsiteY98" fmla="*/ 60361 h 110081"/>
              <a:gd name="connsiteX99" fmla="*/ 444706 w 615206"/>
              <a:gd name="connsiteY99" fmla="*/ 77661 h 110081"/>
              <a:gd name="connsiteX100" fmla="*/ 439478 w 615206"/>
              <a:gd name="connsiteY100" fmla="*/ 95583 h 110081"/>
              <a:gd name="connsiteX101" fmla="*/ 425161 w 615206"/>
              <a:gd name="connsiteY101" fmla="*/ 105601 h 110081"/>
              <a:gd name="connsiteX102" fmla="*/ 404556 w 615206"/>
              <a:gd name="connsiteY102" fmla="*/ 108588 h 110081"/>
              <a:gd name="connsiteX103" fmla="*/ 368513 w 615206"/>
              <a:gd name="connsiteY103" fmla="*/ 108588 h 110081"/>
              <a:gd name="connsiteX104" fmla="*/ 368513 w 615206"/>
              <a:gd name="connsiteY104" fmla="*/ 1493 h 110081"/>
              <a:gd name="connsiteX105" fmla="*/ 403810 w 615206"/>
              <a:gd name="connsiteY105" fmla="*/ 47231 h 110081"/>
              <a:gd name="connsiteX106" fmla="*/ 420243 w 615206"/>
              <a:gd name="connsiteY106" fmla="*/ 42751 h 110081"/>
              <a:gd name="connsiteX107" fmla="*/ 426655 w 615206"/>
              <a:gd name="connsiteY107" fmla="*/ 28376 h 110081"/>
              <a:gd name="connsiteX108" fmla="*/ 420990 w 615206"/>
              <a:gd name="connsiteY108" fmla="*/ 17361 h 110081"/>
              <a:gd name="connsiteX109" fmla="*/ 404867 w 615206"/>
              <a:gd name="connsiteY109" fmla="*/ 14374 h 110081"/>
              <a:gd name="connsiteX110" fmla="*/ 382582 w 615206"/>
              <a:gd name="connsiteY110" fmla="*/ 14374 h 110081"/>
              <a:gd name="connsiteX111" fmla="*/ 382582 w 615206"/>
              <a:gd name="connsiteY111" fmla="*/ 47231 h 110081"/>
              <a:gd name="connsiteX112" fmla="*/ 403810 w 615206"/>
              <a:gd name="connsiteY112" fmla="*/ 47231 h 110081"/>
              <a:gd name="connsiteX113" fmla="*/ 404556 w 615206"/>
              <a:gd name="connsiteY113" fmla="*/ 95893 h 110081"/>
              <a:gd name="connsiteX114" fmla="*/ 422919 w 615206"/>
              <a:gd name="connsiteY114" fmla="*/ 92035 h 110081"/>
              <a:gd name="connsiteX115" fmla="*/ 429954 w 615206"/>
              <a:gd name="connsiteY115" fmla="*/ 77972 h 110081"/>
              <a:gd name="connsiteX116" fmla="*/ 423355 w 615206"/>
              <a:gd name="connsiteY116" fmla="*/ 63908 h 110081"/>
              <a:gd name="connsiteX117" fmla="*/ 402875 w 615206"/>
              <a:gd name="connsiteY117" fmla="*/ 59926 h 110081"/>
              <a:gd name="connsiteX118" fmla="*/ 382582 w 615206"/>
              <a:gd name="connsiteY118" fmla="*/ 59926 h 110081"/>
              <a:gd name="connsiteX119" fmla="*/ 382582 w 615206"/>
              <a:gd name="connsiteY119" fmla="*/ 95893 h 110081"/>
              <a:gd name="connsiteX120" fmla="*/ 404556 w 615206"/>
              <a:gd name="connsiteY120" fmla="*/ 95893 h 110081"/>
              <a:gd name="connsiteX121" fmla="*/ 464812 w 615206"/>
              <a:gd name="connsiteY121" fmla="*/ 1493 h 110081"/>
              <a:gd name="connsiteX122" fmla="*/ 530298 w 615206"/>
              <a:gd name="connsiteY122" fmla="*/ 1493 h 110081"/>
              <a:gd name="connsiteX123" fmla="*/ 530298 w 615206"/>
              <a:gd name="connsiteY123" fmla="*/ 14374 h 110081"/>
              <a:gd name="connsiteX124" fmla="*/ 478881 w 615206"/>
              <a:gd name="connsiteY124" fmla="*/ 14374 h 110081"/>
              <a:gd name="connsiteX125" fmla="*/ 478881 w 615206"/>
              <a:gd name="connsiteY125" fmla="*/ 49907 h 110081"/>
              <a:gd name="connsiteX126" fmla="*/ 522517 w 615206"/>
              <a:gd name="connsiteY126" fmla="*/ 49907 h 110081"/>
              <a:gd name="connsiteX127" fmla="*/ 522517 w 615206"/>
              <a:gd name="connsiteY127" fmla="*/ 62601 h 110081"/>
              <a:gd name="connsiteX128" fmla="*/ 478881 w 615206"/>
              <a:gd name="connsiteY128" fmla="*/ 62601 h 110081"/>
              <a:gd name="connsiteX129" fmla="*/ 478881 w 615206"/>
              <a:gd name="connsiteY129" fmla="*/ 108588 h 110081"/>
              <a:gd name="connsiteX130" fmla="*/ 464812 w 615206"/>
              <a:gd name="connsiteY130" fmla="*/ 108588 h 110081"/>
              <a:gd name="connsiteX131" fmla="*/ 464812 w 615206"/>
              <a:gd name="connsiteY131" fmla="*/ 1493 h 110081"/>
              <a:gd name="connsiteX132" fmla="*/ 549721 w 615206"/>
              <a:gd name="connsiteY132" fmla="*/ 1493 h 110081"/>
              <a:gd name="connsiteX133" fmla="*/ 615207 w 615206"/>
              <a:gd name="connsiteY133" fmla="*/ 1493 h 110081"/>
              <a:gd name="connsiteX134" fmla="*/ 615207 w 615206"/>
              <a:gd name="connsiteY134" fmla="*/ 14374 h 110081"/>
              <a:gd name="connsiteX135" fmla="*/ 563789 w 615206"/>
              <a:gd name="connsiteY135" fmla="*/ 14374 h 110081"/>
              <a:gd name="connsiteX136" fmla="*/ 563789 w 615206"/>
              <a:gd name="connsiteY136" fmla="*/ 49907 h 110081"/>
              <a:gd name="connsiteX137" fmla="*/ 607426 w 615206"/>
              <a:gd name="connsiteY137" fmla="*/ 49907 h 110081"/>
              <a:gd name="connsiteX138" fmla="*/ 607426 w 615206"/>
              <a:gd name="connsiteY138" fmla="*/ 62601 h 110081"/>
              <a:gd name="connsiteX139" fmla="*/ 563789 w 615206"/>
              <a:gd name="connsiteY139" fmla="*/ 62601 h 110081"/>
              <a:gd name="connsiteX140" fmla="*/ 563789 w 615206"/>
              <a:gd name="connsiteY140" fmla="*/ 108588 h 110081"/>
              <a:gd name="connsiteX141" fmla="*/ 549721 w 615206"/>
              <a:gd name="connsiteY141" fmla="*/ 108588 h 110081"/>
              <a:gd name="connsiteX142" fmla="*/ 549721 w 615206"/>
              <a:gd name="connsiteY14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15206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07816" y="1493"/>
                </a:moveTo>
                <a:lnTo>
                  <a:pt x="174172" y="1493"/>
                </a:lnTo>
                <a:lnTo>
                  <a:pt x="174172" y="14374"/>
                </a:lnTo>
                <a:lnTo>
                  <a:pt x="121884" y="14374"/>
                </a:lnTo>
                <a:lnTo>
                  <a:pt x="121884" y="46734"/>
                </a:lnTo>
                <a:lnTo>
                  <a:pt x="166267" y="46734"/>
                </a:lnTo>
                <a:lnTo>
                  <a:pt x="166267" y="59428"/>
                </a:lnTo>
                <a:lnTo>
                  <a:pt x="121884" y="59428"/>
                </a:lnTo>
                <a:lnTo>
                  <a:pt x="121884" y="95893"/>
                </a:lnTo>
                <a:lnTo>
                  <a:pt x="174920" y="95893"/>
                </a:lnTo>
                <a:lnTo>
                  <a:pt x="174920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262566" y="73491"/>
                </a:moveTo>
                <a:cubicBezTo>
                  <a:pt x="262566" y="80772"/>
                  <a:pt x="260947" y="87182"/>
                  <a:pt x="257774" y="92782"/>
                </a:cubicBezTo>
                <a:cubicBezTo>
                  <a:pt x="254661" y="98258"/>
                  <a:pt x="250427" y="102490"/>
                  <a:pt x="245075" y="105601"/>
                </a:cubicBezTo>
                <a:cubicBezTo>
                  <a:pt x="239721" y="108588"/>
                  <a:pt x="233683" y="110082"/>
                  <a:pt x="227022" y="110082"/>
                </a:cubicBezTo>
                <a:cubicBezTo>
                  <a:pt x="218058" y="110082"/>
                  <a:pt x="210838" y="108091"/>
                  <a:pt x="205359" y="104108"/>
                </a:cubicBezTo>
                <a:cubicBezTo>
                  <a:pt x="199882" y="100125"/>
                  <a:pt x="195835" y="94587"/>
                  <a:pt x="193221" y="87555"/>
                </a:cubicBezTo>
                <a:cubicBezTo>
                  <a:pt x="190732" y="80461"/>
                  <a:pt x="189485" y="72372"/>
                  <a:pt x="189485" y="63161"/>
                </a:cubicBezTo>
                <a:cubicBezTo>
                  <a:pt x="189485" y="50653"/>
                  <a:pt x="190979" y="39639"/>
                  <a:pt x="193969" y="30181"/>
                </a:cubicBezTo>
                <a:cubicBezTo>
                  <a:pt x="197081" y="20722"/>
                  <a:pt x="201750" y="13379"/>
                  <a:pt x="208036" y="8089"/>
                </a:cubicBezTo>
                <a:cubicBezTo>
                  <a:pt x="214385" y="2675"/>
                  <a:pt x="222540" y="0"/>
                  <a:pt x="232500" y="0"/>
                </a:cubicBezTo>
                <a:cubicBezTo>
                  <a:pt x="241090" y="0"/>
                  <a:pt x="248622" y="1866"/>
                  <a:pt x="255096" y="5538"/>
                </a:cubicBezTo>
                <a:lnTo>
                  <a:pt x="255096" y="18855"/>
                </a:lnTo>
                <a:cubicBezTo>
                  <a:pt x="248622" y="14437"/>
                  <a:pt x="241090" y="12259"/>
                  <a:pt x="232500" y="12259"/>
                </a:cubicBezTo>
                <a:cubicBezTo>
                  <a:pt x="226338" y="12259"/>
                  <a:pt x="221171" y="13939"/>
                  <a:pt x="217001" y="17361"/>
                </a:cubicBezTo>
                <a:cubicBezTo>
                  <a:pt x="212829" y="20722"/>
                  <a:pt x="209531" y="25327"/>
                  <a:pt x="207102" y="31238"/>
                </a:cubicBezTo>
                <a:cubicBezTo>
                  <a:pt x="204862" y="37026"/>
                  <a:pt x="203429" y="43498"/>
                  <a:pt x="202932" y="50778"/>
                </a:cubicBezTo>
                <a:cubicBezTo>
                  <a:pt x="206232" y="46298"/>
                  <a:pt x="210028" y="42999"/>
                  <a:pt x="214323" y="40759"/>
                </a:cubicBezTo>
                <a:cubicBezTo>
                  <a:pt x="218557" y="38581"/>
                  <a:pt x="223288" y="37523"/>
                  <a:pt x="228329" y="37523"/>
                </a:cubicBezTo>
                <a:cubicBezTo>
                  <a:pt x="234803" y="37523"/>
                  <a:pt x="240593" y="38893"/>
                  <a:pt x="245696" y="41693"/>
                </a:cubicBezTo>
                <a:cubicBezTo>
                  <a:pt x="250864" y="44493"/>
                  <a:pt x="254909" y="48538"/>
                  <a:pt x="257897" y="53952"/>
                </a:cubicBezTo>
                <a:cubicBezTo>
                  <a:pt x="261009" y="59179"/>
                  <a:pt x="262566" y="65713"/>
                  <a:pt x="262566" y="73491"/>
                </a:cubicBezTo>
                <a:close/>
                <a:moveTo>
                  <a:pt x="226525" y="98134"/>
                </a:moveTo>
                <a:cubicBezTo>
                  <a:pt x="230446" y="98134"/>
                  <a:pt x="233994" y="97263"/>
                  <a:pt x="237294" y="95458"/>
                </a:cubicBezTo>
                <a:cubicBezTo>
                  <a:pt x="240593" y="93529"/>
                  <a:pt x="243207" y="90791"/>
                  <a:pt x="245199" y="87244"/>
                </a:cubicBezTo>
                <a:cubicBezTo>
                  <a:pt x="247315" y="83635"/>
                  <a:pt x="248374" y="79154"/>
                  <a:pt x="248374" y="73803"/>
                </a:cubicBezTo>
                <a:cubicBezTo>
                  <a:pt x="248374" y="68389"/>
                  <a:pt x="247377" y="63908"/>
                  <a:pt x="245385" y="60174"/>
                </a:cubicBezTo>
                <a:cubicBezTo>
                  <a:pt x="243394" y="56503"/>
                  <a:pt x="240841" y="53765"/>
                  <a:pt x="237728" y="51961"/>
                </a:cubicBezTo>
                <a:cubicBezTo>
                  <a:pt x="234678" y="50093"/>
                  <a:pt x="231441" y="49160"/>
                  <a:pt x="228019" y="49160"/>
                </a:cubicBezTo>
                <a:cubicBezTo>
                  <a:pt x="221482" y="49160"/>
                  <a:pt x="215941" y="51276"/>
                  <a:pt x="211460" y="55570"/>
                </a:cubicBezTo>
                <a:cubicBezTo>
                  <a:pt x="207102" y="59739"/>
                  <a:pt x="204862" y="65900"/>
                  <a:pt x="204862" y="74114"/>
                </a:cubicBezTo>
                <a:cubicBezTo>
                  <a:pt x="204862" y="81270"/>
                  <a:pt x="206853" y="87058"/>
                  <a:pt x="210713" y="91538"/>
                </a:cubicBezTo>
                <a:cubicBezTo>
                  <a:pt x="214572" y="95956"/>
                  <a:pt x="219864" y="98134"/>
                  <a:pt x="226525" y="98134"/>
                </a:cubicBezTo>
                <a:close/>
                <a:moveTo>
                  <a:pt x="279249" y="1493"/>
                </a:moveTo>
                <a:lnTo>
                  <a:pt x="345606" y="1493"/>
                </a:lnTo>
                <a:lnTo>
                  <a:pt x="345606" y="14374"/>
                </a:lnTo>
                <a:lnTo>
                  <a:pt x="293318" y="14374"/>
                </a:lnTo>
                <a:lnTo>
                  <a:pt x="293318" y="46734"/>
                </a:lnTo>
                <a:lnTo>
                  <a:pt x="337638" y="46734"/>
                </a:lnTo>
                <a:lnTo>
                  <a:pt x="337638" y="59428"/>
                </a:lnTo>
                <a:lnTo>
                  <a:pt x="293318" y="59428"/>
                </a:lnTo>
                <a:lnTo>
                  <a:pt x="293318" y="95893"/>
                </a:lnTo>
                <a:lnTo>
                  <a:pt x="346354" y="95893"/>
                </a:lnTo>
                <a:lnTo>
                  <a:pt x="346354" y="108588"/>
                </a:lnTo>
                <a:lnTo>
                  <a:pt x="279249" y="108588"/>
                </a:lnTo>
                <a:lnTo>
                  <a:pt x="279249" y="1493"/>
                </a:lnTo>
                <a:close/>
                <a:moveTo>
                  <a:pt x="368513" y="1493"/>
                </a:moveTo>
                <a:lnTo>
                  <a:pt x="404867" y="1493"/>
                </a:lnTo>
                <a:cubicBezTo>
                  <a:pt x="416569" y="1493"/>
                  <a:pt x="425534" y="3484"/>
                  <a:pt x="431572" y="7467"/>
                </a:cubicBezTo>
                <a:cubicBezTo>
                  <a:pt x="437735" y="11450"/>
                  <a:pt x="440847" y="18170"/>
                  <a:pt x="440847" y="27629"/>
                </a:cubicBezTo>
                <a:cubicBezTo>
                  <a:pt x="440847" y="35283"/>
                  <a:pt x="438917" y="41133"/>
                  <a:pt x="434996" y="45116"/>
                </a:cubicBezTo>
                <a:cubicBezTo>
                  <a:pt x="431136" y="48974"/>
                  <a:pt x="425969" y="51649"/>
                  <a:pt x="419497" y="53018"/>
                </a:cubicBezTo>
                <a:cubicBezTo>
                  <a:pt x="427775" y="54014"/>
                  <a:pt x="433999" y="56441"/>
                  <a:pt x="438296" y="60361"/>
                </a:cubicBezTo>
                <a:cubicBezTo>
                  <a:pt x="442591" y="64157"/>
                  <a:pt x="444706" y="69882"/>
                  <a:pt x="444706" y="77661"/>
                </a:cubicBezTo>
                <a:cubicBezTo>
                  <a:pt x="444706" y="85066"/>
                  <a:pt x="442965" y="91040"/>
                  <a:pt x="439478" y="95583"/>
                </a:cubicBezTo>
                <a:cubicBezTo>
                  <a:pt x="435992" y="100188"/>
                  <a:pt x="431261" y="103486"/>
                  <a:pt x="425161" y="105601"/>
                </a:cubicBezTo>
                <a:cubicBezTo>
                  <a:pt x="419060" y="107592"/>
                  <a:pt x="412212" y="108588"/>
                  <a:pt x="404556" y="108588"/>
                </a:cubicBezTo>
                <a:lnTo>
                  <a:pt x="368513" y="108588"/>
                </a:lnTo>
                <a:lnTo>
                  <a:pt x="368513" y="1493"/>
                </a:lnTo>
                <a:close/>
                <a:moveTo>
                  <a:pt x="403810" y="47231"/>
                </a:moveTo>
                <a:cubicBezTo>
                  <a:pt x="410594" y="47231"/>
                  <a:pt x="416073" y="45738"/>
                  <a:pt x="420243" y="42751"/>
                </a:cubicBezTo>
                <a:cubicBezTo>
                  <a:pt x="424538" y="39639"/>
                  <a:pt x="426655" y="34848"/>
                  <a:pt x="426655" y="28376"/>
                </a:cubicBezTo>
                <a:cubicBezTo>
                  <a:pt x="426655" y="22900"/>
                  <a:pt x="424787" y="19228"/>
                  <a:pt x="420990" y="17361"/>
                </a:cubicBezTo>
                <a:cubicBezTo>
                  <a:pt x="417193" y="15370"/>
                  <a:pt x="411840" y="14374"/>
                  <a:pt x="404867" y="14374"/>
                </a:cubicBezTo>
                <a:lnTo>
                  <a:pt x="382582" y="14374"/>
                </a:lnTo>
                <a:lnTo>
                  <a:pt x="382582" y="47231"/>
                </a:lnTo>
                <a:lnTo>
                  <a:pt x="403810" y="47231"/>
                </a:lnTo>
                <a:close/>
                <a:moveTo>
                  <a:pt x="404556" y="95893"/>
                </a:moveTo>
                <a:cubicBezTo>
                  <a:pt x="412088" y="95893"/>
                  <a:pt x="418250" y="94587"/>
                  <a:pt x="422919" y="92035"/>
                </a:cubicBezTo>
                <a:cubicBezTo>
                  <a:pt x="427588" y="89422"/>
                  <a:pt x="429954" y="84755"/>
                  <a:pt x="429954" y="77972"/>
                </a:cubicBezTo>
                <a:cubicBezTo>
                  <a:pt x="429954" y="71189"/>
                  <a:pt x="427775" y="66522"/>
                  <a:pt x="423355" y="63908"/>
                </a:cubicBezTo>
                <a:cubicBezTo>
                  <a:pt x="419060" y="61233"/>
                  <a:pt x="412275" y="59926"/>
                  <a:pt x="402875" y="59926"/>
                </a:cubicBezTo>
                <a:lnTo>
                  <a:pt x="382582" y="59926"/>
                </a:lnTo>
                <a:lnTo>
                  <a:pt x="382582" y="95893"/>
                </a:lnTo>
                <a:lnTo>
                  <a:pt x="404556" y="95893"/>
                </a:lnTo>
                <a:close/>
                <a:moveTo>
                  <a:pt x="464812" y="1493"/>
                </a:moveTo>
                <a:lnTo>
                  <a:pt x="530298" y="1493"/>
                </a:lnTo>
                <a:lnTo>
                  <a:pt x="530298" y="14374"/>
                </a:lnTo>
                <a:lnTo>
                  <a:pt x="478881" y="14374"/>
                </a:lnTo>
                <a:lnTo>
                  <a:pt x="478881" y="49907"/>
                </a:lnTo>
                <a:lnTo>
                  <a:pt x="522517" y="49907"/>
                </a:lnTo>
                <a:lnTo>
                  <a:pt x="522517" y="62601"/>
                </a:lnTo>
                <a:lnTo>
                  <a:pt x="478881" y="62601"/>
                </a:lnTo>
                <a:lnTo>
                  <a:pt x="478881" y="108588"/>
                </a:lnTo>
                <a:lnTo>
                  <a:pt x="464812" y="108588"/>
                </a:lnTo>
                <a:lnTo>
                  <a:pt x="464812" y="1493"/>
                </a:lnTo>
                <a:close/>
                <a:moveTo>
                  <a:pt x="549721" y="1493"/>
                </a:moveTo>
                <a:lnTo>
                  <a:pt x="615207" y="1493"/>
                </a:lnTo>
                <a:lnTo>
                  <a:pt x="615207" y="14374"/>
                </a:lnTo>
                <a:lnTo>
                  <a:pt x="563789" y="14374"/>
                </a:lnTo>
                <a:lnTo>
                  <a:pt x="563789" y="49907"/>
                </a:lnTo>
                <a:lnTo>
                  <a:pt x="607426" y="49907"/>
                </a:lnTo>
                <a:lnTo>
                  <a:pt x="607426" y="62601"/>
                </a:lnTo>
                <a:lnTo>
                  <a:pt x="563789" y="62601"/>
                </a:lnTo>
                <a:lnTo>
                  <a:pt x="563789" y="108588"/>
                </a:lnTo>
                <a:lnTo>
                  <a:pt x="549721" y="108588"/>
                </a:lnTo>
                <a:lnTo>
                  <a:pt x="549721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6" name="Полилиния 945">
            <a:extLst>
              <a:ext uri="{FF2B5EF4-FFF2-40B4-BE49-F238E27FC236}">
                <a16:creationId xmlns:a16="http://schemas.microsoft.com/office/drawing/2014/main" id="{93B2E14B-F1F6-00D7-D062-5DB93D42B0E5}"/>
              </a:ext>
            </a:extLst>
          </p:cNvPr>
          <p:cNvSpPr/>
          <p:nvPr userDrawn="1"/>
        </p:nvSpPr>
        <p:spPr>
          <a:xfrm>
            <a:off x="9547358" y="3787620"/>
            <a:ext cx="2557159" cy="726227"/>
          </a:xfrm>
          <a:custGeom>
            <a:avLst/>
            <a:gdLst>
              <a:gd name="connsiteX0" fmla="*/ 2604 w 2191162"/>
              <a:gd name="connsiteY0" fmla="*/ 1022 h 622284"/>
              <a:gd name="connsiteX1" fmla="*/ 2193767 w 2191162"/>
              <a:gd name="connsiteY1" fmla="*/ 1022 h 622284"/>
              <a:gd name="connsiteX2" fmla="*/ 2193767 w 2191162"/>
              <a:gd name="connsiteY2" fmla="*/ 623306 h 622284"/>
              <a:gd name="connsiteX3" fmla="*/ 2604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022"/>
                </a:moveTo>
                <a:lnTo>
                  <a:pt x="2193767" y="1022"/>
                </a:lnTo>
                <a:lnTo>
                  <a:pt x="2193767" y="623306"/>
                </a:lnTo>
                <a:lnTo>
                  <a:pt x="2604" y="623306"/>
                </a:lnTo>
                <a:close/>
              </a:path>
            </a:pathLst>
          </a:custGeom>
          <a:solidFill>
            <a:srgbClr val="0023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7" name="Полилиния 946">
            <a:extLst>
              <a:ext uri="{FF2B5EF4-FFF2-40B4-BE49-F238E27FC236}">
                <a16:creationId xmlns:a16="http://schemas.microsoft.com/office/drawing/2014/main" id="{0AE652F1-CA71-40C0-0E32-DC9319806A21}"/>
              </a:ext>
            </a:extLst>
          </p:cNvPr>
          <p:cNvSpPr/>
          <p:nvPr userDrawn="1"/>
        </p:nvSpPr>
        <p:spPr>
          <a:xfrm>
            <a:off x="9670565" y="4089368"/>
            <a:ext cx="676631" cy="128468"/>
          </a:xfrm>
          <a:custGeom>
            <a:avLst/>
            <a:gdLst>
              <a:gd name="connsiteX0" fmla="*/ 22099 w 579787"/>
              <a:gd name="connsiteY0" fmla="*/ 108588 h 110081"/>
              <a:gd name="connsiteX1" fmla="*/ 10147 w 579787"/>
              <a:gd name="connsiteY1" fmla="*/ 108588 h 110081"/>
              <a:gd name="connsiteX2" fmla="*/ 16435 w 579787"/>
              <a:gd name="connsiteY2" fmla="*/ 77661 h 110081"/>
              <a:gd name="connsiteX3" fmla="*/ 0 w 579787"/>
              <a:gd name="connsiteY3" fmla="*/ 77661 h 110081"/>
              <a:gd name="connsiteX4" fmla="*/ 0 w 579787"/>
              <a:gd name="connsiteY4" fmla="*/ 67206 h 110081"/>
              <a:gd name="connsiteX5" fmla="*/ 18675 w 579787"/>
              <a:gd name="connsiteY5" fmla="*/ 67206 h 110081"/>
              <a:gd name="connsiteX6" fmla="*/ 24216 w 579787"/>
              <a:gd name="connsiteY6" fmla="*/ 40012 h 110081"/>
              <a:gd name="connsiteX7" fmla="*/ 4047 w 579787"/>
              <a:gd name="connsiteY7" fmla="*/ 40012 h 110081"/>
              <a:gd name="connsiteX8" fmla="*/ 4047 w 579787"/>
              <a:gd name="connsiteY8" fmla="*/ 29559 h 110081"/>
              <a:gd name="connsiteX9" fmla="*/ 26269 w 579787"/>
              <a:gd name="connsiteY9" fmla="*/ 29559 h 110081"/>
              <a:gd name="connsiteX10" fmla="*/ 32121 w 579787"/>
              <a:gd name="connsiteY10" fmla="*/ 1493 h 110081"/>
              <a:gd name="connsiteX11" fmla="*/ 44073 w 579787"/>
              <a:gd name="connsiteY11" fmla="*/ 1493 h 110081"/>
              <a:gd name="connsiteX12" fmla="*/ 38222 w 579787"/>
              <a:gd name="connsiteY12" fmla="*/ 29559 h 110081"/>
              <a:gd name="connsiteX13" fmla="*/ 60630 w 579787"/>
              <a:gd name="connsiteY13" fmla="*/ 29559 h 110081"/>
              <a:gd name="connsiteX14" fmla="*/ 66481 w 579787"/>
              <a:gd name="connsiteY14" fmla="*/ 1493 h 110081"/>
              <a:gd name="connsiteX15" fmla="*/ 78434 w 579787"/>
              <a:gd name="connsiteY15" fmla="*/ 1493 h 110081"/>
              <a:gd name="connsiteX16" fmla="*/ 72583 w 579787"/>
              <a:gd name="connsiteY16" fmla="*/ 29559 h 110081"/>
              <a:gd name="connsiteX17" fmla="*/ 89328 w 579787"/>
              <a:gd name="connsiteY17" fmla="*/ 29559 h 110081"/>
              <a:gd name="connsiteX18" fmla="*/ 89328 w 579787"/>
              <a:gd name="connsiteY18" fmla="*/ 40012 h 110081"/>
              <a:gd name="connsiteX19" fmla="*/ 70529 w 579787"/>
              <a:gd name="connsiteY19" fmla="*/ 40012 h 110081"/>
              <a:gd name="connsiteX20" fmla="*/ 64988 w 579787"/>
              <a:gd name="connsiteY20" fmla="*/ 67206 h 110081"/>
              <a:gd name="connsiteX21" fmla="*/ 85281 w 579787"/>
              <a:gd name="connsiteY21" fmla="*/ 67206 h 110081"/>
              <a:gd name="connsiteX22" fmla="*/ 85281 w 579787"/>
              <a:gd name="connsiteY22" fmla="*/ 77661 h 110081"/>
              <a:gd name="connsiteX23" fmla="*/ 62747 w 579787"/>
              <a:gd name="connsiteY23" fmla="*/ 77661 h 110081"/>
              <a:gd name="connsiteX24" fmla="*/ 56460 w 579787"/>
              <a:gd name="connsiteY24" fmla="*/ 108588 h 110081"/>
              <a:gd name="connsiteX25" fmla="*/ 44509 w 579787"/>
              <a:gd name="connsiteY25" fmla="*/ 108588 h 110081"/>
              <a:gd name="connsiteX26" fmla="*/ 50796 w 579787"/>
              <a:gd name="connsiteY26" fmla="*/ 77661 h 110081"/>
              <a:gd name="connsiteX27" fmla="*/ 28386 w 579787"/>
              <a:gd name="connsiteY27" fmla="*/ 77661 h 110081"/>
              <a:gd name="connsiteX28" fmla="*/ 22099 w 579787"/>
              <a:gd name="connsiteY28" fmla="*/ 108588 h 110081"/>
              <a:gd name="connsiteX29" fmla="*/ 30626 w 579787"/>
              <a:gd name="connsiteY29" fmla="*/ 67206 h 110081"/>
              <a:gd name="connsiteX30" fmla="*/ 53036 w 579787"/>
              <a:gd name="connsiteY30" fmla="*/ 67206 h 110081"/>
              <a:gd name="connsiteX31" fmla="*/ 58577 w 579787"/>
              <a:gd name="connsiteY31" fmla="*/ 40012 h 110081"/>
              <a:gd name="connsiteX32" fmla="*/ 36167 w 579787"/>
              <a:gd name="connsiteY32" fmla="*/ 40012 h 110081"/>
              <a:gd name="connsiteX33" fmla="*/ 30626 w 579787"/>
              <a:gd name="connsiteY33" fmla="*/ 67206 h 110081"/>
              <a:gd name="connsiteX34" fmla="*/ 136636 w 579787"/>
              <a:gd name="connsiteY34" fmla="*/ 110082 h 110081"/>
              <a:gd name="connsiteX35" fmla="*/ 118460 w 579787"/>
              <a:gd name="connsiteY35" fmla="*/ 104233 h 110081"/>
              <a:gd name="connsiteX36" fmla="*/ 105761 w 579787"/>
              <a:gd name="connsiteY36" fmla="*/ 86311 h 110081"/>
              <a:gd name="connsiteX37" fmla="*/ 101279 w 579787"/>
              <a:gd name="connsiteY37" fmla="*/ 54947 h 110081"/>
              <a:gd name="connsiteX38" fmla="*/ 105761 w 579787"/>
              <a:gd name="connsiteY38" fmla="*/ 23584 h 110081"/>
              <a:gd name="connsiteX39" fmla="*/ 118460 w 579787"/>
              <a:gd name="connsiteY39" fmla="*/ 5849 h 110081"/>
              <a:gd name="connsiteX40" fmla="*/ 136636 w 579787"/>
              <a:gd name="connsiteY40" fmla="*/ 186 h 110081"/>
              <a:gd name="connsiteX41" fmla="*/ 154752 w 579787"/>
              <a:gd name="connsiteY41" fmla="*/ 5849 h 110081"/>
              <a:gd name="connsiteX42" fmla="*/ 167139 w 579787"/>
              <a:gd name="connsiteY42" fmla="*/ 23584 h 110081"/>
              <a:gd name="connsiteX43" fmla="*/ 171621 w 579787"/>
              <a:gd name="connsiteY43" fmla="*/ 54698 h 110081"/>
              <a:gd name="connsiteX44" fmla="*/ 167139 w 579787"/>
              <a:gd name="connsiteY44" fmla="*/ 86062 h 110081"/>
              <a:gd name="connsiteX45" fmla="*/ 154752 w 579787"/>
              <a:gd name="connsiteY45" fmla="*/ 104233 h 110081"/>
              <a:gd name="connsiteX46" fmla="*/ 136636 w 579787"/>
              <a:gd name="connsiteY46" fmla="*/ 110082 h 110081"/>
              <a:gd name="connsiteX47" fmla="*/ 136512 w 579787"/>
              <a:gd name="connsiteY47" fmla="*/ 98258 h 110081"/>
              <a:gd name="connsiteX48" fmla="*/ 147841 w 579787"/>
              <a:gd name="connsiteY48" fmla="*/ 94275 h 110081"/>
              <a:gd name="connsiteX49" fmla="*/ 155063 w 579787"/>
              <a:gd name="connsiteY49" fmla="*/ 80648 h 110081"/>
              <a:gd name="connsiteX50" fmla="*/ 157552 w 579787"/>
              <a:gd name="connsiteY50" fmla="*/ 55134 h 110081"/>
              <a:gd name="connsiteX51" fmla="*/ 155186 w 579787"/>
              <a:gd name="connsiteY51" fmla="*/ 29745 h 110081"/>
              <a:gd name="connsiteX52" fmla="*/ 148028 w 579787"/>
              <a:gd name="connsiteY52" fmla="*/ 16117 h 110081"/>
              <a:gd name="connsiteX53" fmla="*/ 136636 w 579787"/>
              <a:gd name="connsiteY53" fmla="*/ 11947 h 110081"/>
              <a:gd name="connsiteX54" fmla="*/ 125183 w 579787"/>
              <a:gd name="connsiteY54" fmla="*/ 16117 h 110081"/>
              <a:gd name="connsiteX55" fmla="*/ 117837 w 579787"/>
              <a:gd name="connsiteY55" fmla="*/ 29745 h 110081"/>
              <a:gd name="connsiteX56" fmla="*/ 115285 w 579787"/>
              <a:gd name="connsiteY56" fmla="*/ 55134 h 110081"/>
              <a:gd name="connsiteX57" fmla="*/ 117714 w 579787"/>
              <a:gd name="connsiteY57" fmla="*/ 80648 h 110081"/>
              <a:gd name="connsiteX58" fmla="*/ 124996 w 579787"/>
              <a:gd name="connsiteY58" fmla="*/ 94275 h 110081"/>
              <a:gd name="connsiteX59" fmla="*/ 136512 w 579787"/>
              <a:gd name="connsiteY59" fmla="*/ 98258 h 110081"/>
              <a:gd name="connsiteX60" fmla="*/ 218806 w 579787"/>
              <a:gd name="connsiteY60" fmla="*/ 110082 h 110081"/>
              <a:gd name="connsiteX61" fmla="*/ 200566 w 579787"/>
              <a:gd name="connsiteY61" fmla="*/ 104233 h 110081"/>
              <a:gd name="connsiteX62" fmla="*/ 187867 w 579787"/>
              <a:gd name="connsiteY62" fmla="*/ 86311 h 110081"/>
              <a:gd name="connsiteX63" fmla="*/ 183385 w 579787"/>
              <a:gd name="connsiteY63" fmla="*/ 54947 h 110081"/>
              <a:gd name="connsiteX64" fmla="*/ 187867 w 579787"/>
              <a:gd name="connsiteY64" fmla="*/ 23584 h 110081"/>
              <a:gd name="connsiteX65" fmla="*/ 200566 w 579787"/>
              <a:gd name="connsiteY65" fmla="*/ 5849 h 110081"/>
              <a:gd name="connsiteX66" fmla="*/ 218806 w 579787"/>
              <a:gd name="connsiteY66" fmla="*/ 186 h 110081"/>
              <a:gd name="connsiteX67" fmla="*/ 236858 w 579787"/>
              <a:gd name="connsiteY67" fmla="*/ 5849 h 110081"/>
              <a:gd name="connsiteX68" fmla="*/ 249245 w 579787"/>
              <a:gd name="connsiteY68" fmla="*/ 23584 h 110081"/>
              <a:gd name="connsiteX69" fmla="*/ 253727 w 579787"/>
              <a:gd name="connsiteY69" fmla="*/ 54698 h 110081"/>
              <a:gd name="connsiteX70" fmla="*/ 249245 w 579787"/>
              <a:gd name="connsiteY70" fmla="*/ 86062 h 110081"/>
              <a:gd name="connsiteX71" fmla="*/ 236858 w 579787"/>
              <a:gd name="connsiteY71" fmla="*/ 104233 h 110081"/>
              <a:gd name="connsiteX72" fmla="*/ 218806 w 579787"/>
              <a:gd name="connsiteY72" fmla="*/ 110082 h 110081"/>
              <a:gd name="connsiteX73" fmla="*/ 218619 w 579787"/>
              <a:gd name="connsiteY73" fmla="*/ 98258 h 110081"/>
              <a:gd name="connsiteX74" fmla="*/ 230010 w 579787"/>
              <a:gd name="connsiteY74" fmla="*/ 94275 h 110081"/>
              <a:gd name="connsiteX75" fmla="*/ 237169 w 579787"/>
              <a:gd name="connsiteY75" fmla="*/ 80648 h 110081"/>
              <a:gd name="connsiteX76" fmla="*/ 239721 w 579787"/>
              <a:gd name="connsiteY76" fmla="*/ 55134 h 110081"/>
              <a:gd name="connsiteX77" fmla="*/ 237294 w 579787"/>
              <a:gd name="connsiteY77" fmla="*/ 29745 h 110081"/>
              <a:gd name="connsiteX78" fmla="*/ 230134 w 579787"/>
              <a:gd name="connsiteY78" fmla="*/ 16117 h 110081"/>
              <a:gd name="connsiteX79" fmla="*/ 218806 w 579787"/>
              <a:gd name="connsiteY79" fmla="*/ 11947 h 110081"/>
              <a:gd name="connsiteX80" fmla="*/ 207289 w 579787"/>
              <a:gd name="connsiteY80" fmla="*/ 16117 h 110081"/>
              <a:gd name="connsiteX81" fmla="*/ 199944 w 579787"/>
              <a:gd name="connsiteY81" fmla="*/ 29745 h 110081"/>
              <a:gd name="connsiteX82" fmla="*/ 197453 w 579787"/>
              <a:gd name="connsiteY82" fmla="*/ 55134 h 110081"/>
              <a:gd name="connsiteX83" fmla="*/ 199820 w 579787"/>
              <a:gd name="connsiteY83" fmla="*/ 80648 h 110081"/>
              <a:gd name="connsiteX84" fmla="*/ 207165 w 579787"/>
              <a:gd name="connsiteY84" fmla="*/ 94275 h 110081"/>
              <a:gd name="connsiteX85" fmla="*/ 218619 w 579787"/>
              <a:gd name="connsiteY85" fmla="*/ 98258 h 110081"/>
              <a:gd name="connsiteX86" fmla="*/ 335149 w 579787"/>
              <a:gd name="connsiteY86" fmla="*/ 108588 h 110081"/>
              <a:gd name="connsiteX87" fmla="*/ 266862 w 579787"/>
              <a:gd name="connsiteY87" fmla="*/ 108588 h 110081"/>
              <a:gd name="connsiteX88" fmla="*/ 266862 w 579787"/>
              <a:gd name="connsiteY88" fmla="*/ 94400 h 110081"/>
              <a:gd name="connsiteX89" fmla="*/ 293006 w 579787"/>
              <a:gd name="connsiteY89" fmla="*/ 72433 h 110081"/>
              <a:gd name="connsiteX90" fmla="*/ 309005 w 579787"/>
              <a:gd name="connsiteY90" fmla="*/ 56628 h 110081"/>
              <a:gd name="connsiteX91" fmla="*/ 317096 w 579787"/>
              <a:gd name="connsiteY91" fmla="*/ 43933 h 110081"/>
              <a:gd name="connsiteX92" fmla="*/ 319462 w 579787"/>
              <a:gd name="connsiteY92" fmla="*/ 32109 h 110081"/>
              <a:gd name="connsiteX93" fmla="*/ 313921 w 579787"/>
              <a:gd name="connsiteY93" fmla="*/ 17610 h 110081"/>
              <a:gd name="connsiteX94" fmla="*/ 298670 w 579787"/>
              <a:gd name="connsiteY94" fmla="*/ 12383 h 110081"/>
              <a:gd name="connsiteX95" fmla="*/ 269725 w 579787"/>
              <a:gd name="connsiteY95" fmla="*/ 27194 h 110081"/>
              <a:gd name="connsiteX96" fmla="*/ 269725 w 579787"/>
              <a:gd name="connsiteY96" fmla="*/ 12134 h 110081"/>
              <a:gd name="connsiteX97" fmla="*/ 299169 w 579787"/>
              <a:gd name="connsiteY97" fmla="*/ 0 h 110081"/>
              <a:gd name="connsiteX98" fmla="*/ 324567 w 579787"/>
              <a:gd name="connsiteY98" fmla="*/ 8401 h 110081"/>
              <a:gd name="connsiteX99" fmla="*/ 333967 w 579787"/>
              <a:gd name="connsiteY99" fmla="*/ 30803 h 110081"/>
              <a:gd name="connsiteX100" fmla="*/ 331538 w 579787"/>
              <a:gd name="connsiteY100" fmla="*/ 44804 h 110081"/>
              <a:gd name="connsiteX101" fmla="*/ 323508 w 579787"/>
              <a:gd name="connsiteY101" fmla="*/ 58681 h 110081"/>
              <a:gd name="connsiteX102" fmla="*/ 307821 w 579787"/>
              <a:gd name="connsiteY102" fmla="*/ 74860 h 110081"/>
              <a:gd name="connsiteX103" fmla="*/ 282424 w 579787"/>
              <a:gd name="connsiteY103" fmla="*/ 95769 h 110081"/>
              <a:gd name="connsiteX104" fmla="*/ 335149 w 579787"/>
              <a:gd name="connsiteY104" fmla="*/ 95769 h 110081"/>
              <a:gd name="connsiteX105" fmla="*/ 335149 w 579787"/>
              <a:gd name="connsiteY105" fmla="*/ 108588 h 110081"/>
              <a:gd name="connsiteX106" fmla="*/ 366523 w 579787"/>
              <a:gd name="connsiteY106" fmla="*/ 58992 h 110081"/>
              <a:gd name="connsiteX107" fmla="*/ 366523 w 579787"/>
              <a:gd name="connsiteY107" fmla="*/ 46298 h 110081"/>
              <a:gd name="connsiteX108" fmla="*/ 380839 w 579787"/>
              <a:gd name="connsiteY108" fmla="*/ 46298 h 110081"/>
              <a:gd name="connsiteX109" fmla="*/ 394410 w 579787"/>
              <a:gd name="connsiteY109" fmla="*/ 41817 h 110081"/>
              <a:gd name="connsiteX110" fmla="*/ 399825 w 579787"/>
              <a:gd name="connsiteY110" fmla="*/ 28812 h 110081"/>
              <a:gd name="connsiteX111" fmla="*/ 394907 w 579787"/>
              <a:gd name="connsiteY111" fmla="*/ 16864 h 110081"/>
              <a:gd name="connsiteX112" fmla="*/ 380716 w 579787"/>
              <a:gd name="connsiteY112" fmla="*/ 12383 h 110081"/>
              <a:gd name="connsiteX113" fmla="*/ 366024 w 579787"/>
              <a:gd name="connsiteY113" fmla="*/ 15246 h 110081"/>
              <a:gd name="connsiteX114" fmla="*/ 352018 w 579787"/>
              <a:gd name="connsiteY114" fmla="*/ 24331 h 110081"/>
              <a:gd name="connsiteX115" fmla="*/ 352018 w 579787"/>
              <a:gd name="connsiteY115" fmla="*/ 9707 h 110081"/>
              <a:gd name="connsiteX116" fmla="*/ 380839 w 579787"/>
              <a:gd name="connsiteY116" fmla="*/ 0 h 110081"/>
              <a:gd name="connsiteX117" fmla="*/ 404867 w 579787"/>
              <a:gd name="connsiteY117" fmla="*/ 7779 h 110081"/>
              <a:gd name="connsiteX118" fmla="*/ 413706 w 579787"/>
              <a:gd name="connsiteY118" fmla="*/ 28065 h 110081"/>
              <a:gd name="connsiteX119" fmla="*/ 408042 w 579787"/>
              <a:gd name="connsiteY119" fmla="*/ 44244 h 110081"/>
              <a:gd name="connsiteX120" fmla="*/ 394722 w 579787"/>
              <a:gd name="connsiteY120" fmla="*/ 52147 h 110081"/>
              <a:gd name="connsiteX121" fmla="*/ 406237 w 579787"/>
              <a:gd name="connsiteY121" fmla="*/ 56441 h 110081"/>
              <a:gd name="connsiteX122" fmla="*/ 414890 w 579787"/>
              <a:gd name="connsiteY122" fmla="*/ 65153 h 110081"/>
              <a:gd name="connsiteX123" fmla="*/ 418188 w 579787"/>
              <a:gd name="connsiteY123" fmla="*/ 77661 h 110081"/>
              <a:gd name="connsiteX124" fmla="*/ 413272 w 579787"/>
              <a:gd name="connsiteY124" fmla="*/ 94836 h 110081"/>
              <a:gd name="connsiteX125" fmla="*/ 399638 w 579787"/>
              <a:gd name="connsiteY125" fmla="*/ 106224 h 110081"/>
              <a:gd name="connsiteX126" fmla="*/ 379781 w 579787"/>
              <a:gd name="connsiteY126" fmla="*/ 110082 h 110081"/>
              <a:gd name="connsiteX127" fmla="*/ 349342 w 579787"/>
              <a:gd name="connsiteY127" fmla="*/ 100997 h 110081"/>
              <a:gd name="connsiteX128" fmla="*/ 349342 w 579787"/>
              <a:gd name="connsiteY128" fmla="*/ 86062 h 110081"/>
              <a:gd name="connsiteX129" fmla="*/ 363036 w 579787"/>
              <a:gd name="connsiteY129" fmla="*/ 94711 h 110081"/>
              <a:gd name="connsiteX130" fmla="*/ 379968 w 579787"/>
              <a:gd name="connsiteY130" fmla="*/ 97823 h 110081"/>
              <a:gd name="connsiteX131" fmla="*/ 397273 w 579787"/>
              <a:gd name="connsiteY131" fmla="*/ 92596 h 110081"/>
              <a:gd name="connsiteX132" fmla="*/ 403685 w 579787"/>
              <a:gd name="connsiteY132" fmla="*/ 77972 h 110081"/>
              <a:gd name="connsiteX133" fmla="*/ 397895 w 579787"/>
              <a:gd name="connsiteY133" fmla="*/ 64095 h 110081"/>
              <a:gd name="connsiteX134" fmla="*/ 380217 w 579787"/>
              <a:gd name="connsiteY134" fmla="*/ 58992 h 110081"/>
              <a:gd name="connsiteX135" fmla="*/ 366523 w 579787"/>
              <a:gd name="connsiteY135" fmla="*/ 58992 h 110081"/>
              <a:gd name="connsiteX136" fmla="*/ 460268 w 579787"/>
              <a:gd name="connsiteY136" fmla="*/ 110082 h 110081"/>
              <a:gd name="connsiteX137" fmla="*/ 431759 w 579787"/>
              <a:gd name="connsiteY137" fmla="*/ 102490 h 110081"/>
              <a:gd name="connsiteX138" fmla="*/ 431759 w 579787"/>
              <a:gd name="connsiteY138" fmla="*/ 87804 h 110081"/>
              <a:gd name="connsiteX139" fmla="*/ 444893 w 579787"/>
              <a:gd name="connsiteY139" fmla="*/ 95458 h 110081"/>
              <a:gd name="connsiteX140" fmla="*/ 460268 w 579787"/>
              <a:gd name="connsiteY140" fmla="*/ 97823 h 110081"/>
              <a:gd name="connsiteX141" fmla="*/ 477325 w 579787"/>
              <a:gd name="connsiteY141" fmla="*/ 91102 h 110081"/>
              <a:gd name="connsiteX142" fmla="*/ 483426 w 579787"/>
              <a:gd name="connsiteY142" fmla="*/ 73491 h 110081"/>
              <a:gd name="connsiteX143" fmla="*/ 477449 w 579787"/>
              <a:gd name="connsiteY143" fmla="*/ 56441 h 110081"/>
              <a:gd name="connsiteX144" fmla="*/ 462385 w 579787"/>
              <a:gd name="connsiteY144" fmla="*/ 51089 h 110081"/>
              <a:gd name="connsiteX145" fmla="*/ 451741 w 579787"/>
              <a:gd name="connsiteY145" fmla="*/ 53329 h 110081"/>
              <a:gd name="connsiteX146" fmla="*/ 445641 w 579787"/>
              <a:gd name="connsiteY146" fmla="*/ 57810 h 110081"/>
              <a:gd name="connsiteX147" fmla="*/ 434747 w 579787"/>
              <a:gd name="connsiteY147" fmla="*/ 57810 h 110081"/>
              <a:gd name="connsiteX148" fmla="*/ 434747 w 579787"/>
              <a:gd name="connsiteY148" fmla="*/ 1493 h 110081"/>
              <a:gd name="connsiteX149" fmla="*/ 492701 w 579787"/>
              <a:gd name="connsiteY149" fmla="*/ 1493 h 110081"/>
              <a:gd name="connsiteX150" fmla="*/ 492701 w 579787"/>
              <a:gd name="connsiteY150" fmla="*/ 14374 h 110081"/>
              <a:gd name="connsiteX151" fmla="*/ 447010 w 579787"/>
              <a:gd name="connsiteY151" fmla="*/ 14374 h 110081"/>
              <a:gd name="connsiteX152" fmla="*/ 447010 w 579787"/>
              <a:gd name="connsiteY152" fmla="*/ 44991 h 110081"/>
              <a:gd name="connsiteX153" fmla="*/ 454293 w 579787"/>
              <a:gd name="connsiteY153" fmla="*/ 41071 h 110081"/>
              <a:gd name="connsiteX154" fmla="*/ 464627 w 579787"/>
              <a:gd name="connsiteY154" fmla="*/ 39266 h 110081"/>
              <a:gd name="connsiteX155" fmla="*/ 481372 w 579787"/>
              <a:gd name="connsiteY155" fmla="*/ 43186 h 110081"/>
              <a:gd name="connsiteX156" fmla="*/ 493136 w 579787"/>
              <a:gd name="connsiteY156" fmla="*/ 54512 h 110081"/>
              <a:gd name="connsiteX157" fmla="*/ 497618 w 579787"/>
              <a:gd name="connsiteY157" fmla="*/ 73181 h 110081"/>
              <a:gd name="connsiteX158" fmla="*/ 493011 w 579787"/>
              <a:gd name="connsiteY158" fmla="*/ 92596 h 110081"/>
              <a:gd name="connsiteX159" fmla="*/ 480127 w 579787"/>
              <a:gd name="connsiteY159" fmla="*/ 105601 h 110081"/>
              <a:gd name="connsiteX160" fmla="*/ 460268 w 579787"/>
              <a:gd name="connsiteY160" fmla="*/ 110082 h 110081"/>
              <a:gd name="connsiteX161" fmla="*/ 542438 w 579787"/>
              <a:gd name="connsiteY161" fmla="*/ 110082 h 110081"/>
              <a:gd name="connsiteX162" fmla="*/ 513865 w 579787"/>
              <a:gd name="connsiteY162" fmla="*/ 102490 h 110081"/>
              <a:gd name="connsiteX163" fmla="*/ 513865 w 579787"/>
              <a:gd name="connsiteY163" fmla="*/ 87804 h 110081"/>
              <a:gd name="connsiteX164" fmla="*/ 527061 w 579787"/>
              <a:gd name="connsiteY164" fmla="*/ 95458 h 110081"/>
              <a:gd name="connsiteX165" fmla="*/ 542438 w 579787"/>
              <a:gd name="connsiteY165" fmla="*/ 97823 h 110081"/>
              <a:gd name="connsiteX166" fmla="*/ 559432 w 579787"/>
              <a:gd name="connsiteY166" fmla="*/ 91102 h 110081"/>
              <a:gd name="connsiteX167" fmla="*/ 565595 w 579787"/>
              <a:gd name="connsiteY167" fmla="*/ 73491 h 110081"/>
              <a:gd name="connsiteX168" fmla="*/ 559619 w 579787"/>
              <a:gd name="connsiteY168" fmla="*/ 56441 h 110081"/>
              <a:gd name="connsiteX169" fmla="*/ 544491 w 579787"/>
              <a:gd name="connsiteY169" fmla="*/ 51089 h 110081"/>
              <a:gd name="connsiteX170" fmla="*/ 533909 w 579787"/>
              <a:gd name="connsiteY170" fmla="*/ 53329 h 110081"/>
              <a:gd name="connsiteX171" fmla="*/ 527809 w 579787"/>
              <a:gd name="connsiteY171" fmla="*/ 57810 h 110081"/>
              <a:gd name="connsiteX172" fmla="*/ 516853 w 579787"/>
              <a:gd name="connsiteY172" fmla="*/ 57810 h 110081"/>
              <a:gd name="connsiteX173" fmla="*/ 516853 w 579787"/>
              <a:gd name="connsiteY173" fmla="*/ 1493 h 110081"/>
              <a:gd name="connsiteX174" fmla="*/ 574870 w 579787"/>
              <a:gd name="connsiteY174" fmla="*/ 1493 h 110081"/>
              <a:gd name="connsiteX175" fmla="*/ 574870 w 579787"/>
              <a:gd name="connsiteY175" fmla="*/ 14374 h 110081"/>
              <a:gd name="connsiteX176" fmla="*/ 529116 w 579787"/>
              <a:gd name="connsiteY176" fmla="*/ 14374 h 110081"/>
              <a:gd name="connsiteX177" fmla="*/ 529116 w 579787"/>
              <a:gd name="connsiteY177" fmla="*/ 44991 h 110081"/>
              <a:gd name="connsiteX178" fmla="*/ 536461 w 579787"/>
              <a:gd name="connsiteY178" fmla="*/ 41071 h 110081"/>
              <a:gd name="connsiteX179" fmla="*/ 546733 w 579787"/>
              <a:gd name="connsiteY179" fmla="*/ 39266 h 110081"/>
              <a:gd name="connsiteX180" fmla="*/ 563478 w 579787"/>
              <a:gd name="connsiteY180" fmla="*/ 43186 h 110081"/>
              <a:gd name="connsiteX181" fmla="*/ 575304 w 579787"/>
              <a:gd name="connsiteY181" fmla="*/ 54512 h 110081"/>
              <a:gd name="connsiteX182" fmla="*/ 579788 w 579787"/>
              <a:gd name="connsiteY182" fmla="*/ 73181 h 110081"/>
              <a:gd name="connsiteX183" fmla="*/ 575119 w 579787"/>
              <a:gd name="connsiteY183" fmla="*/ 92596 h 110081"/>
              <a:gd name="connsiteX184" fmla="*/ 562295 w 579787"/>
              <a:gd name="connsiteY184" fmla="*/ 105601 h 110081"/>
              <a:gd name="connsiteX185" fmla="*/ 542438 w 579787"/>
              <a:gd name="connsiteY18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7978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35149" y="108588"/>
                </a:moveTo>
                <a:lnTo>
                  <a:pt x="266862" y="108588"/>
                </a:lnTo>
                <a:lnTo>
                  <a:pt x="266862" y="94400"/>
                </a:lnTo>
                <a:cubicBezTo>
                  <a:pt x="277506" y="85812"/>
                  <a:pt x="286221" y="78532"/>
                  <a:pt x="293006" y="72433"/>
                </a:cubicBezTo>
                <a:cubicBezTo>
                  <a:pt x="299915" y="66397"/>
                  <a:pt x="305207" y="61108"/>
                  <a:pt x="309005" y="56628"/>
                </a:cubicBezTo>
                <a:cubicBezTo>
                  <a:pt x="312863" y="52023"/>
                  <a:pt x="315602" y="47791"/>
                  <a:pt x="317096" y="43933"/>
                </a:cubicBezTo>
                <a:cubicBezTo>
                  <a:pt x="318652" y="40012"/>
                  <a:pt x="319462" y="36092"/>
                  <a:pt x="319462" y="32109"/>
                </a:cubicBezTo>
                <a:cubicBezTo>
                  <a:pt x="319462" y="25949"/>
                  <a:pt x="317594" y="21095"/>
                  <a:pt x="313921" y="17610"/>
                </a:cubicBezTo>
                <a:cubicBezTo>
                  <a:pt x="310249" y="14125"/>
                  <a:pt x="305144" y="12383"/>
                  <a:pt x="298670" y="12383"/>
                </a:cubicBezTo>
                <a:cubicBezTo>
                  <a:pt x="288338" y="12383"/>
                  <a:pt x="278689" y="17361"/>
                  <a:pt x="269725" y="27194"/>
                </a:cubicBezTo>
                <a:lnTo>
                  <a:pt x="269725" y="12134"/>
                </a:lnTo>
                <a:cubicBezTo>
                  <a:pt x="278005" y="4044"/>
                  <a:pt x="287777" y="0"/>
                  <a:pt x="299169" y="0"/>
                </a:cubicBezTo>
                <a:cubicBezTo>
                  <a:pt x="309875" y="0"/>
                  <a:pt x="318342" y="2800"/>
                  <a:pt x="324567" y="8401"/>
                </a:cubicBezTo>
                <a:cubicBezTo>
                  <a:pt x="330792" y="13877"/>
                  <a:pt x="333967" y="21344"/>
                  <a:pt x="333967" y="30803"/>
                </a:cubicBezTo>
                <a:cubicBezTo>
                  <a:pt x="333967" y="35657"/>
                  <a:pt x="333157" y="40324"/>
                  <a:pt x="331538" y="44804"/>
                </a:cubicBezTo>
                <a:cubicBezTo>
                  <a:pt x="330044" y="49222"/>
                  <a:pt x="327368" y="53827"/>
                  <a:pt x="323508" y="58681"/>
                </a:cubicBezTo>
                <a:cubicBezTo>
                  <a:pt x="319711" y="63473"/>
                  <a:pt x="314482" y="68887"/>
                  <a:pt x="307821" y="74860"/>
                </a:cubicBezTo>
                <a:cubicBezTo>
                  <a:pt x="301161" y="80835"/>
                  <a:pt x="292695" y="87804"/>
                  <a:pt x="282424" y="95769"/>
                </a:cubicBezTo>
                <a:lnTo>
                  <a:pt x="335149" y="95769"/>
                </a:lnTo>
                <a:lnTo>
                  <a:pt x="335149" y="108588"/>
                </a:lnTo>
                <a:close/>
                <a:moveTo>
                  <a:pt x="366523" y="58992"/>
                </a:moveTo>
                <a:lnTo>
                  <a:pt x="366523" y="46298"/>
                </a:lnTo>
                <a:lnTo>
                  <a:pt x="380839" y="46298"/>
                </a:lnTo>
                <a:cubicBezTo>
                  <a:pt x="386442" y="46298"/>
                  <a:pt x="390924" y="44804"/>
                  <a:pt x="394410" y="41817"/>
                </a:cubicBezTo>
                <a:cubicBezTo>
                  <a:pt x="398019" y="38768"/>
                  <a:pt x="399825" y="34412"/>
                  <a:pt x="399825" y="28812"/>
                </a:cubicBezTo>
                <a:cubicBezTo>
                  <a:pt x="399825" y="23771"/>
                  <a:pt x="398144" y="19788"/>
                  <a:pt x="394907" y="16864"/>
                </a:cubicBezTo>
                <a:cubicBezTo>
                  <a:pt x="391609" y="13877"/>
                  <a:pt x="386878" y="12383"/>
                  <a:pt x="380716" y="12383"/>
                </a:cubicBezTo>
                <a:cubicBezTo>
                  <a:pt x="375486" y="12383"/>
                  <a:pt x="370630" y="13379"/>
                  <a:pt x="366024" y="15246"/>
                </a:cubicBezTo>
                <a:cubicBezTo>
                  <a:pt x="361542" y="17113"/>
                  <a:pt x="356874" y="20162"/>
                  <a:pt x="352018" y="24331"/>
                </a:cubicBezTo>
                <a:lnTo>
                  <a:pt x="352018" y="9707"/>
                </a:lnTo>
                <a:cubicBezTo>
                  <a:pt x="359986" y="3235"/>
                  <a:pt x="369573" y="0"/>
                  <a:pt x="380839" y="0"/>
                </a:cubicBezTo>
                <a:cubicBezTo>
                  <a:pt x="391111" y="0"/>
                  <a:pt x="399141" y="2613"/>
                  <a:pt x="404867" y="7779"/>
                </a:cubicBezTo>
                <a:cubicBezTo>
                  <a:pt x="410781" y="12943"/>
                  <a:pt x="413706" y="19726"/>
                  <a:pt x="413706" y="28065"/>
                </a:cubicBezTo>
                <a:cubicBezTo>
                  <a:pt x="413706" y="34848"/>
                  <a:pt x="411840" y="40262"/>
                  <a:pt x="408042" y="44244"/>
                </a:cubicBezTo>
                <a:cubicBezTo>
                  <a:pt x="404369" y="48227"/>
                  <a:pt x="399887" y="50840"/>
                  <a:pt x="394722" y="52147"/>
                </a:cubicBezTo>
                <a:cubicBezTo>
                  <a:pt x="398892" y="52707"/>
                  <a:pt x="402750" y="54201"/>
                  <a:pt x="406237" y="56441"/>
                </a:cubicBezTo>
                <a:cubicBezTo>
                  <a:pt x="409848" y="58681"/>
                  <a:pt x="412711" y="61543"/>
                  <a:pt x="414890" y="65153"/>
                </a:cubicBezTo>
                <a:cubicBezTo>
                  <a:pt x="417068" y="68700"/>
                  <a:pt x="418188" y="72869"/>
                  <a:pt x="418188" y="77661"/>
                </a:cubicBezTo>
                <a:cubicBezTo>
                  <a:pt x="418188" y="84257"/>
                  <a:pt x="416569" y="89982"/>
                  <a:pt x="413272" y="94836"/>
                </a:cubicBezTo>
                <a:cubicBezTo>
                  <a:pt x="409972" y="99752"/>
                  <a:pt x="405428" y="103486"/>
                  <a:pt x="399638" y="106224"/>
                </a:cubicBezTo>
                <a:cubicBezTo>
                  <a:pt x="393974" y="108775"/>
                  <a:pt x="387375" y="110082"/>
                  <a:pt x="379781" y="110082"/>
                </a:cubicBezTo>
                <a:cubicBezTo>
                  <a:pt x="366647" y="110082"/>
                  <a:pt x="356500" y="107033"/>
                  <a:pt x="349342" y="100997"/>
                </a:cubicBezTo>
                <a:lnTo>
                  <a:pt x="349342" y="86062"/>
                </a:lnTo>
                <a:cubicBezTo>
                  <a:pt x="353076" y="89733"/>
                  <a:pt x="357682" y="92596"/>
                  <a:pt x="363036" y="94711"/>
                </a:cubicBezTo>
                <a:cubicBezTo>
                  <a:pt x="368451" y="96765"/>
                  <a:pt x="374054" y="97823"/>
                  <a:pt x="379968" y="97823"/>
                </a:cubicBezTo>
                <a:cubicBezTo>
                  <a:pt x="387313" y="97823"/>
                  <a:pt x="393103" y="96080"/>
                  <a:pt x="397273" y="92596"/>
                </a:cubicBezTo>
                <a:cubicBezTo>
                  <a:pt x="401568" y="89048"/>
                  <a:pt x="403685" y="84132"/>
                  <a:pt x="403685" y="77972"/>
                </a:cubicBezTo>
                <a:cubicBezTo>
                  <a:pt x="403685" y="71998"/>
                  <a:pt x="401755" y="67393"/>
                  <a:pt x="397895" y="64095"/>
                </a:cubicBezTo>
                <a:cubicBezTo>
                  <a:pt x="394098" y="60673"/>
                  <a:pt x="388185" y="58992"/>
                  <a:pt x="380217" y="58992"/>
                </a:cubicBezTo>
                <a:lnTo>
                  <a:pt x="366523" y="58992"/>
                </a:lnTo>
                <a:close/>
                <a:moveTo>
                  <a:pt x="460268" y="110082"/>
                </a:moveTo>
                <a:cubicBezTo>
                  <a:pt x="448317" y="110082"/>
                  <a:pt x="438793" y="107530"/>
                  <a:pt x="431759" y="102490"/>
                </a:cubicBezTo>
                <a:lnTo>
                  <a:pt x="431759" y="87804"/>
                </a:lnTo>
                <a:cubicBezTo>
                  <a:pt x="435930" y="91226"/>
                  <a:pt x="440287" y="93778"/>
                  <a:pt x="444893" y="95458"/>
                </a:cubicBezTo>
                <a:cubicBezTo>
                  <a:pt x="449499" y="97014"/>
                  <a:pt x="454604" y="97823"/>
                  <a:pt x="460268" y="97823"/>
                </a:cubicBezTo>
                <a:cubicBezTo>
                  <a:pt x="467677" y="97823"/>
                  <a:pt x="473341" y="95583"/>
                  <a:pt x="477325" y="91102"/>
                </a:cubicBezTo>
                <a:cubicBezTo>
                  <a:pt x="481372" y="86621"/>
                  <a:pt x="483426" y="80772"/>
                  <a:pt x="483426" y="73491"/>
                </a:cubicBezTo>
                <a:cubicBezTo>
                  <a:pt x="483426" y="65713"/>
                  <a:pt x="481434" y="60050"/>
                  <a:pt x="477449" y="56441"/>
                </a:cubicBezTo>
                <a:cubicBezTo>
                  <a:pt x="473466" y="52894"/>
                  <a:pt x="468423" y="51089"/>
                  <a:pt x="462385" y="51089"/>
                </a:cubicBezTo>
                <a:cubicBezTo>
                  <a:pt x="457966" y="51089"/>
                  <a:pt x="454480" y="51836"/>
                  <a:pt x="451741" y="53329"/>
                </a:cubicBezTo>
                <a:cubicBezTo>
                  <a:pt x="449065" y="54698"/>
                  <a:pt x="447010" y="56192"/>
                  <a:pt x="445641" y="57810"/>
                </a:cubicBezTo>
                <a:lnTo>
                  <a:pt x="434747" y="57810"/>
                </a:lnTo>
                <a:lnTo>
                  <a:pt x="434747" y="1493"/>
                </a:lnTo>
                <a:lnTo>
                  <a:pt x="492701" y="1493"/>
                </a:lnTo>
                <a:lnTo>
                  <a:pt x="492701" y="14374"/>
                </a:lnTo>
                <a:lnTo>
                  <a:pt x="447010" y="14374"/>
                </a:lnTo>
                <a:lnTo>
                  <a:pt x="447010" y="44991"/>
                </a:lnTo>
                <a:cubicBezTo>
                  <a:pt x="449002" y="43498"/>
                  <a:pt x="451430" y="42190"/>
                  <a:pt x="454293" y="41071"/>
                </a:cubicBezTo>
                <a:cubicBezTo>
                  <a:pt x="457218" y="39888"/>
                  <a:pt x="460642" y="39266"/>
                  <a:pt x="464627" y="39266"/>
                </a:cubicBezTo>
                <a:cubicBezTo>
                  <a:pt x="470790" y="39266"/>
                  <a:pt x="476391" y="40572"/>
                  <a:pt x="481372" y="43186"/>
                </a:cubicBezTo>
                <a:cubicBezTo>
                  <a:pt x="486352" y="45675"/>
                  <a:pt x="490273" y="49471"/>
                  <a:pt x="493136" y="54512"/>
                </a:cubicBezTo>
                <a:cubicBezTo>
                  <a:pt x="496124" y="59490"/>
                  <a:pt x="497618" y="65713"/>
                  <a:pt x="497618" y="73181"/>
                </a:cubicBezTo>
                <a:cubicBezTo>
                  <a:pt x="497618" y="80586"/>
                  <a:pt x="496062" y="87058"/>
                  <a:pt x="493011" y="92596"/>
                </a:cubicBezTo>
                <a:cubicBezTo>
                  <a:pt x="490024" y="98196"/>
                  <a:pt x="485729" y="102490"/>
                  <a:pt x="480127" y="105601"/>
                </a:cubicBezTo>
                <a:cubicBezTo>
                  <a:pt x="474586" y="108588"/>
                  <a:pt x="467925" y="110082"/>
                  <a:pt x="460268" y="110082"/>
                </a:cubicBezTo>
                <a:close/>
                <a:moveTo>
                  <a:pt x="542438" y="110082"/>
                </a:moveTo>
                <a:cubicBezTo>
                  <a:pt x="530485" y="110082"/>
                  <a:pt x="520961" y="107530"/>
                  <a:pt x="513865" y="102490"/>
                </a:cubicBezTo>
                <a:lnTo>
                  <a:pt x="513865" y="87804"/>
                </a:lnTo>
                <a:cubicBezTo>
                  <a:pt x="518098" y="91226"/>
                  <a:pt x="522455" y="93778"/>
                  <a:pt x="527061" y="95458"/>
                </a:cubicBezTo>
                <a:cubicBezTo>
                  <a:pt x="531607" y="97014"/>
                  <a:pt x="536773" y="97823"/>
                  <a:pt x="542438" y="97823"/>
                </a:cubicBezTo>
                <a:cubicBezTo>
                  <a:pt x="549783" y="97823"/>
                  <a:pt x="555447" y="95583"/>
                  <a:pt x="559432" y="91102"/>
                </a:cubicBezTo>
                <a:cubicBezTo>
                  <a:pt x="563540" y="86621"/>
                  <a:pt x="565595" y="80772"/>
                  <a:pt x="565595" y="73491"/>
                </a:cubicBezTo>
                <a:cubicBezTo>
                  <a:pt x="565595" y="65713"/>
                  <a:pt x="563602" y="60050"/>
                  <a:pt x="559619" y="56441"/>
                </a:cubicBezTo>
                <a:cubicBezTo>
                  <a:pt x="555634" y="52894"/>
                  <a:pt x="550592" y="51089"/>
                  <a:pt x="544491" y="51089"/>
                </a:cubicBezTo>
                <a:cubicBezTo>
                  <a:pt x="540134" y="51089"/>
                  <a:pt x="536586" y="51836"/>
                  <a:pt x="533909" y="53329"/>
                </a:cubicBezTo>
                <a:cubicBezTo>
                  <a:pt x="531233" y="54698"/>
                  <a:pt x="529178" y="56192"/>
                  <a:pt x="527809" y="57810"/>
                </a:cubicBezTo>
                <a:lnTo>
                  <a:pt x="516853" y="57810"/>
                </a:lnTo>
                <a:lnTo>
                  <a:pt x="516853" y="1493"/>
                </a:lnTo>
                <a:lnTo>
                  <a:pt x="574870" y="1493"/>
                </a:lnTo>
                <a:lnTo>
                  <a:pt x="574870" y="14374"/>
                </a:lnTo>
                <a:lnTo>
                  <a:pt x="529116" y="14374"/>
                </a:lnTo>
                <a:lnTo>
                  <a:pt x="529116" y="44991"/>
                </a:lnTo>
                <a:cubicBezTo>
                  <a:pt x="531108" y="43498"/>
                  <a:pt x="533536" y="42190"/>
                  <a:pt x="536461" y="41071"/>
                </a:cubicBezTo>
                <a:cubicBezTo>
                  <a:pt x="539326" y="39888"/>
                  <a:pt x="542748" y="39266"/>
                  <a:pt x="546733" y="39266"/>
                </a:cubicBezTo>
                <a:cubicBezTo>
                  <a:pt x="552958" y="39266"/>
                  <a:pt x="558497" y="40572"/>
                  <a:pt x="563478" y="43186"/>
                </a:cubicBezTo>
                <a:cubicBezTo>
                  <a:pt x="568458" y="45675"/>
                  <a:pt x="572379" y="49471"/>
                  <a:pt x="575304" y="54512"/>
                </a:cubicBezTo>
                <a:cubicBezTo>
                  <a:pt x="578294" y="59490"/>
                  <a:pt x="579788" y="65713"/>
                  <a:pt x="579788" y="73181"/>
                </a:cubicBezTo>
                <a:cubicBezTo>
                  <a:pt x="579788" y="80586"/>
                  <a:pt x="578231" y="87058"/>
                  <a:pt x="575119" y="92596"/>
                </a:cubicBezTo>
                <a:cubicBezTo>
                  <a:pt x="572131" y="98196"/>
                  <a:pt x="567897" y="102490"/>
                  <a:pt x="562295" y="105601"/>
                </a:cubicBezTo>
                <a:cubicBezTo>
                  <a:pt x="556692" y="108588"/>
                  <a:pt x="550095" y="110082"/>
                  <a:pt x="542438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8" name="Полилиния 947">
            <a:extLst>
              <a:ext uri="{FF2B5EF4-FFF2-40B4-BE49-F238E27FC236}">
                <a16:creationId xmlns:a16="http://schemas.microsoft.com/office/drawing/2014/main" id="{422C79D8-8655-B16C-7E56-1A5613EA8B8B}"/>
              </a:ext>
            </a:extLst>
          </p:cNvPr>
          <p:cNvSpPr/>
          <p:nvPr userDrawn="1"/>
        </p:nvSpPr>
        <p:spPr>
          <a:xfrm>
            <a:off x="9547358" y="4513847"/>
            <a:ext cx="2557159" cy="726227"/>
          </a:xfrm>
          <a:custGeom>
            <a:avLst/>
            <a:gdLst>
              <a:gd name="connsiteX0" fmla="*/ 2604 w 2191162"/>
              <a:gd name="connsiteY0" fmla="*/ 1122 h 622284"/>
              <a:gd name="connsiteX1" fmla="*/ 2193767 w 2191162"/>
              <a:gd name="connsiteY1" fmla="*/ 1122 h 622284"/>
              <a:gd name="connsiteX2" fmla="*/ 2193767 w 2191162"/>
              <a:gd name="connsiteY2" fmla="*/ 623406 h 622284"/>
              <a:gd name="connsiteX3" fmla="*/ 2604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122"/>
                </a:moveTo>
                <a:lnTo>
                  <a:pt x="2193767" y="1122"/>
                </a:lnTo>
                <a:lnTo>
                  <a:pt x="2193767" y="623406"/>
                </a:lnTo>
                <a:lnTo>
                  <a:pt x="2604" y="623406"/>
                </a:lnTo>
                <a:close/>
              </a:path>
            </a:pathLst>
          </a:custGeom>
          <a:solidFill>
            <a:srgbClr val="0032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9" name="Полилиния 948">
            <a:extLst>
              <a:ext uri="{FF2B5EF4-FFF2-40B4-BE49-F238E27FC236}">
                <a16:creationId xmlns:a16="http://schemas.microsoft.com/office/drawing/2014/main" id="{D25952C4-BB97-63E6-20F7-B04F3155A7FB}"/>
              </a:ext>
            </a:extLst>
          </p:cNvPr>
          <p:cNvSpPr/>
          <p:nvPr userDrawn="1"/>
        </p:nvSpPr>
        <p:spPr>
          <a:xfrm>
            <a:off x="9670565" y="4815595"/>
            <a:ext cx="678736" cy="128468"/>
          </a:xfrm>
          <a:custGeom>
            <a:avLst/>
            <a:gdLst>
              <a:gd name="connsiteX0" fmla="*/ 22099 w 581591"/>
              <a:gd name="connsiteY0" fmla="*/ 108588 h 110081"/>
              <a:gd name="connsiteX1" fmla="*/ 10147 w 581591"/>
              <a:gd name="connsiteY1" fmla="*/ 108588 h 110081"/>
              <a:gd name="connsiteX2" fmla="*/ 16435 w 581591"/>
              <a:gd name="connsiteY2" fmla="*/ 77661 h 110081"/>
              <a:gd name="connsiteX3" fmla="*/ 0 w 581591"/>
              <a:gd name="connsiteY3" fmla="*/ 77661 h 110081"/>
              <a:gd name="connsiteX4" fmla="*/ 0 w 581591"/>
              <a:gd name="connsiteY4" fmla="*/ 67206 h 110081"/>
              <a:gd name="connsiteX5" fmla="*/ 18675 w 581591"/>
              <a:gd name="connsiteY5" fmla="*/ 67206 h 110081"/>
              <a:gd name="connsiteX6" fmla="*/ 24216 w 581591"/>
              <a:gd name="connsiteY6" fmla="*/ 40012 h 110081"/>
              <a:gd name="connsiteX7" fmla="*/ 4047 w 581591"/>
              <a:gd name="connsiteY7" fmla="*/ 40012 h 110081"/>
              <a:gd name="connsiteX8" fmla="*/ 4047 w 581591"/>
              <a:gd name="connsiteY8" fmla="*/ 29559 h 110081"/>
              <a:gd name="connsiteX9" fmla="*/ 26269 w 581591"/>
              <a:gd name="connsiteY9" fmla="*/ 29559 h 110081"/>
              <a:gd name="connsiteX10" fmla="*/ 32121 w 581591"/>
              <a:gd name="connsiteY10" fmla="*/ 1493 h 110081"/>
              <a:gd name="connsiteX11" fmla="*/ 44073 w 581591"/>
              <a:gd name="connsiteY11" fmla="*/ 1493 h 110081"/>
              <a:gd name="connsiteX12" fmla="*/ 38222 w 581591"/>
              <a:gd name="connsiteY12" fmla="*/ 29559 h 110081"/>
              <a:gd name="connsiteX13" fmla="*/ 60630 w 581591"/>
              <a:gd name="connsiteY13" fmla="*/ 29559 h 110081"/>
              <a:gd name="connsiteX14" fmla="*/ 66481 w 581591"/>
              <a:gd name="connsiteY14" fmla="*/ 1493 h 110081"/>
              <a:gd name="connsiteX15" fmla="*/ 78434 w 581591"/>
              <a:gd name="connsiteY15" fmla="*/ 1493 h 110081"/>
              <a:gd name="connsiteX16" fmla="*/ 72583 w 581591"/>
              <a:gd name="connsiteY16" fmla="*/ 29559 h 110081"/>
              <a:gd name="connsiteX17" fmla="*/ 89328 w 581591"/>
              <a:gd name="connsiteY17" fmla="*/ 29559 h 110081"/>
              <a:gd name="connsiteX18" fmla="*/ 89328 w 581591"/>
              <a:gd name="connsiteY18" fmla="*/ 40012 h 110081"/>
              <a:gd name="connsiteX19" fmla="*/ 70529 w 581591"/>
              <a:gd name="connsiteY19" fmla="*/ 40012 h 110081"/>
              <a:gd name="connsiteX20" fmla="*/ 64988 w 581591"/>
              <a:gd name="connsiteY20" fmla="*/ 67206 h 110081"/>
              <a:gd name="connsiteX21" fmla="*/ 85281 w 581591"/>
              <a:gd name="connsiteY21" fmla="*/ 67206 h 110081"/>
              <a:gd name="connsiteX22" fmla="*/ 85281 w 581591"/>
              <a:gd name="connsiteY22" fmla="*/ 77661 h 110081"/>
              <a:gd name="connsiteX23" fmla="*/ 62747 w 581591"/>
              <a:gd name="connsiteY23" fmla="*/ 77661 h 110081"/>
              <a:gd name="connsiteX24" fmla="*/ 56460 w 581591"/>
              <a:gd name="connsiteY24" fmla="*/ 108588 h 110081"/>
              <a:gd name="connsiteX25" fmla="*/ 44509 w 581591"/>
              <a:gd name="connsiteY25" fmla="*/ 108588 h 110081"/>
              <a:gd name="connsiteX26" fmla="*/ 50796 w 581591"/>
              <a:gd name="connsiteY26" fmla="*/ 77661 h 110081"/>
              <a:gd name="connsiteX27" fmla="*/ 28386 w 581591"/>
              <a:gd name="connsiteY27" fmla="*/ 77661 h 110081"/>
              <a:gd name="connsiteX28" fmla="*/ 22099 w 581591"/>
              <a:gd name="connsiteY28" fmla="*/ 108588 h 110081"/>
              <a:gd name="connsiteX29" fmla="*/ 30626 w 581591"/>
              <a:gd name="connsiteY29" fmla="*/ 67206 h 110081"/>
              <a:gd name="connsiteX30" fmla="*/ 53036 w 581591"/>
              <a:gd name="connsiteY30" fmla="*/ 67206 h 110081"/>
              <a:gd name="connsiteX31" fmla="*/ 58577 w 581591"/>
              <a:gd name="connsiteY31" fmla="*/ 40012 h 110081"/>
              <a:gd name="connsiteX32" fmla="*/ 36167 w 581591"/>
              <a:gd name="connsiteY32" fmla="*/ 40012 h 110081"/>
              <a:gd name="connsiteX33" fmla="*/ 30626 w 581591"/>
              <a:gd name="connsiteY33" fmla="*/ 67206 h 110081"/>
              <a:gd name="connsiteX34" fmla="*/ 136636 w 581591"/>
              <a:gd name="connsiteY34" fmla="*/ 110082 h 110081"/>
              <a:gd name="connsiteX35" fmla="*/ 118460 w 581591"/>
              <a:gd name="connsiteY35" fmla="*/ 104233 h 110081"/>
              <a:gd name="connsiteX36" fmla="*/ 105761 w 581591"/>
              <a:gd name="connsiteY36" fmla="*/ 86311 h 110081"/>
              <a:gd name="connsiteX37" fmla="*/ 101279 w 581591"/>
              <a:gd name="connsiteY37" fmla="*/ 54947 h 110081"/>
              <a:gd name="connsiteX38" fmla="*/ 105761 w 581591"/>
              <a:gd name="connsiteY38" fmla="*/ 23584 h 110081"/>
              <a:gd name="connsiteX39" fmla="*/ 118460 w 581591"/>
              <a:gd name="connsiteY39" fmla="*/ 5849 h 110081"/>
              <a:gd name="connsiteX40" fmla="*/ 136636 w 581591"/>
              <a:gd name="connsiteY40" fmla="*/ 186 h 110081"/>
              <a:gd name="connsiteX41" fmla="*/ 154752 w 581591"/>
              <a:gd name="connsiteY41" fmla="*/ 5849 h 110081"/>
              <a:gd name="connsiteX42" fmla="*/ 167139 w 581591"/>
              <a:gd name="connsiteY42" fmla="*/ 23584 h 110081"/>
              <a:gd name="connsiteX43" fmla="*/ 171621 w 581591"/>
              <a:gd name="connsiteY43" fmla="*/ 54698 h 110081"/>
              <a:gd name="connsiteX44" fmla="*/ 167139 w 581591"/>
              <a:gd name="connsiteY44" fmla="*/ 86062 h 110081"/>
              <a:gd name="connsiteX45" fmla="*/ 154752 w 581591"/>
              <a:gd name="connsiteY45" fmla="*/ 104233 h 110081"/>
              <a:gd name="connsiteX46" fmla="*/ 136636 w 581591"/>
              <a:gd name="connsiteY46" fmla="*/ 110082 h 110081"/>
              <a:gd name="connsiteX47" fmla="*/ 136512 w 581591"/>
              <a:gd name="connsiteY47" fmla="*/ 98258 h 110081"/>
              <a:gd name="connsiteX48" fmla="*/ 147841 w 581591"/>
              <a:gd name="connsiteY48" fmla="*/ 94275 h 110081"/>
              <a:gd name="connsiteX49" fmla="*/ 155063 w 581591"/>
              <a:gd name="connsiteY49" fmla="*/ 80648 h 110081"/>
              <a:gd name="connsiteX50" fmla="*/ 157552 w 581591"/>
              <a:gd name="connsiteY50" fmla="*/ 55134 h 110081"/>
              <a:gd name="connsiteX51" fmla="*/ 155186 w 581591"/>
              <a:gd name="connsiteY51" fmla="*/ 29745 h 110081"/>
              <a:gd name="connsiteX52" fmla="*/ 148028 w 581591"/>
              <a:gd name="connsiteY52" fmla="*/ 16117 h 110081"/>
              <a:gd name="connsiteX53" fmla="*/ 136636 w 581591"/>
              <a:gd name="connsiteY53" fmla="*/ 11947 h 110081"/>
              <a:gd name="connsiteX54" fmla="*/ 125183 w 581591"/>
              <a:gd name="connsiteY54" fmla="*/ 16117 h 110081"/>
              <a:gd name="connsiteX55" fmla="*/ 117837 w 581591"/>
              <a:gd name="connsiteY55" fmla="*/ 29745 h 110081"/>
              <a:gd name="connsiteX56" fmla="*/ 115285 w 581591"/>
              <a:gd name="connsiteY56" fmla="*/ 55134 h 110081"/>
              <a:gd name="connsiteX57" fmla="*/ 117714 w 581591"/>
              <a:gd name="connsiteY57" fmla="*/ 80648 h 110081"/>
              <a:gd name="connsiteX58" fmla="*/ 124996 w 581591"/>
              <a:gd name="connsiteY58" fmla="*/ 94275 h 110081"/>
              <a:gd name="connsiteX59" fmla="*/ 136512 w 581591"/>
              <a:gd name="connsiteY59" fmla="*/ 98258 h 110081"/>
              <a:gd name="connsiteX60" fmla="*/ 218806 w 581591"/>
              <a:gd name="connsiteY60" fmla="*/ 110082 h 110081"/>
              <a:gd name="connsiteX61" fmla="*/ 200566 w 581591"/>
              <a:gd name="connsiteY61" fmla="*/ 104233 h 110081"/>
              <a:gd name="connsiteX62" fmla="*/ 187867 w 581591"/>
              <a:gd name="connsiteY62" fmla="*/ 86311 h 110081"/>
              <a:gd name="connsiteX63" fmla="*/ 183385 w 581591"/>
              <a:gd name="connsiteY63" fmla="*/ 54947 h 110081"/>
              <a:gd name="connsiteX64" fmla="*/ 187867 w 581591"/>
              <a:gd name="connsiteY64" fmla="*/ 23584 h 110081"/>
              <a:gd name="connsiteX65" fmla="*/ 200566 w 581591"/>
              <a:gd name="connsiteY65" fmla="*/ 5849 h 110081"/>
              <a:gd name="connsiteX66" fmla="*/ 218806 w 581591"/>
              <a:gd name="connsiteY66" fmla="*/ 186 h 110081"/>
              <a:gd name="connsiteX67" fmla="*/ 236858 w 581591"/>
              <a:gd name="connsiteY67" fmla="*/ 5849 h 110081"/>
              <a:gd name="connsiteX68" fmla="*/ 249245 w 581591"/>
              <a:gd name="connsiteY68" fmla="*/ 23584 h 110081"/>
              <a:gd name="connsiteX69" fmla="*/ 253727 w 581591"/>
              <a:gd name="connsiteY69" fmla="*/ 54698 h 110081"/>
              <a:gd name="connsiteX70" fmla="*/ 249245 w 581591"/>
              <a:gd name="connsiteY70" fmla="*/ 86062 h 110081"/>
              <a:gd name="connsiteX71" fmla="*/ 236858 w 581591"/>
              <a:gd name="connsiteY71" fmla="*/ 104233 h 110081"/>
              <a:gd name="connsiteX72" fmla="*/ 218806 w 581591"/>
              <a:gd name="connsiteY72" fmla="*/ 110082 h 110081"/>
              <a:gd name="connsiteX73" fmla="*/ 218619 w 581591"/>
              <a:gd name="connsiteY73" fmla="*/ 98258 h 110081"/>
              <a:gd name="connsiteX74" fmla="*/ 230010 w 581591"/>
              <a:gd name="connsiteY74" fmla="*/ 94275 h 110081"/>
              <a:gd name="connsiteX75" fmla="*/ 237169 w 581591"/>
              <a:gd name="connsiteY75" fmla="*/ 80648 h 110081"/>
              <a:gd name="connsiteX76" fmla="*/ 239721 w 581591"/>
              <a:gd name="connsiteY76" fmla="*/ 55134 h 110081"/>
              <a:gd name="connsiteX77" fmla="*/ 237294 w 581591"/>
              <a:gd name="connsiteY77" fmla="*/ 29745 h 110081"/>
              <a:gd name="connsiteX78" fmla="*/ 230134 w 581591"/>
              <a:gd name="connsiteY78" fmla="*/ 16117 h 110081"/>
              <a:gd name="connsiteX79" fmla="*/ 218806 w 581591"/>
              <a:gd name="connsiteY79" fmla="*/ 11947 h 110081"/>
              <a:gd name="connsiteX80" fmla="*/ 207289 w 581591"/>
              <a:gd name="connsiteY80" fmla="*/ 16117 h 110081"/>
              <a:gd name="connsiteX81" fmla="*/ 199944 w 581591"/>
              <a:gd name="connsiteY81" fmla="*/ 29745 h 110081"/>
              <a:gd name="connsiteX82" fmla="*/ 197453 w 581591"/>
              <a:gd name="connsiteY82" fmla="*/ 55134 h 110081"/>
              <a:gd name="connsiteX83" fmla="*/ 199820 w 581591"/>
              <a:gd name="connsiteY83" fmla="*/ 80648 h 110081"/>
              <a:gd name="connsiteX84" fmla="*/ 207165 w 581591"/>
              <a:gd name="connsiteY84" fmla="*/ 94275 h 110081"/>
              <a:gd name="connsiteX85" fmla="*/ 218619 w 581591"/>
              <a:gd name="connsiteY85" fmla="*/ 98258 h 110081"/>
              <a:gd name="connsiteX86" fmla="*/ 284353 w 581591"/>
              <a:gd name="connsiteY86" fmla="*/ 58992 h 110081"/>
              <a:gd name="connsiteX87" fmla="*/ 284353 w 581591"/>
              <a:gd name="connsiteY87" fmla="*/ 46298 h 110081"/>
              <a:gd name="connsiteX88" fmla="*/ 298670 w 581591"/>
              <a:gd name="connsiteY88" fmla="*/ 46298 h 110081"/>
              <a:gd name="connsiteX89" fmla="*/ 312303 w 581591"/>
              <a:gd name="connsiteY89" fmla="*/ 41817 h 110081"/>
              <a:gd name="connsiteX90" fmla="*/ 317657 w 581591"/>
              <a:gd name="connsiteY90" fmla="*/ 28812 h 110081"/>
              <a:gd name="connsiteX91" fmla="*/ 312739 w 581591"/>
              <a:gd name="connsiteY91" fmla="*/ 16864 h 110081"/>
              <a:gd name="connsiteX92" fmla="*/ 298546 w 581591"/>
              <a:gd name="connsiteY92" fmla="*/ 12383 h 110081"/>
              <a:gd name="connsiteX93" fmla="*/ 283918 w 581591"/>
              <a:gd name="connsiteY93" fmla="*/ 15246 h 110081"/>
              <a:gd name="connsiteX94" fmla="*/ 269850 w 581591"/>
              <a:gd name="connsiteY94" fmla="*/ 24331 h 110081"/>
              <a:gd name="connsiteX95" fmla="*/ 269850 w 581591"/>
              <a:gd name="connsiteY95" fmla="*/ 9707 h 110081"/>
              <a:gd name="connsiteX96" fmla="*/ 298670 w 581591"/>
              <a:gd name="connsiteY96" fmla="*/ 0 h 110081"/>
              <a:gd name="connsiteX97" fmla="*/ 322761 w 581591"/>
              <a:gd name="connsiteY97" fmla="*/ 7779 h 110081"/>
              <a:gd name="connsiteX98" fmla="*/ 331538 w 581591"/>
              <a:gd name="connsiteY98" fmla="*/ 28065 h 110081"/>
              <a:gd name="connsiteX99" fmla="*/ 325874 w 581591"/>
              <a:gd name="connsiteY99" fmla="*/ 44244 h 110081"/>
              <a:gd name="connsiteX100" fmla="*/ 312614 w 581591"/>
              <a:gd name="connsiteY100" fmla="*/ 52147 h 110081"/>
              <a:gd name="connsiteX101" fmla="*/ 324068 w 581591"/>
              <a:gd name="connsiteY101" fmla="*/ 56441 h 110081"/>
              <a:gd name="connsiteX102" fmla="*/ 332783 w 581591"/>
              <a:gd name="connsiteY102" fmla="*/ 65153 h 110081"/>
              <a:gd name="connsiteX103" fmla="*/ 336020 w 581591"/>
              <a:gd name="connsiteY103" fmla="*/ 77661 h 110081"/>
              <a:gd name="connsiteX104" fmla="*/ 331102 w 581591"/>
              <a:gd name="connsiteY104" fmla="*/ 94836 h 110081"/>
              <a:gd name="connsiteX105" fmla="*/ 317532 w 581591"/>
              <a:gd name="connsiteY105" fmla="*/ 106224 h 110081"/>
              <a:gd name="connsiteX106" fmla="*/ 297675 w 581591"/>
              <a:gd name="connsiteY106" fmla="*/ 110082 h 110081"/>
              <a:gd name="connsiteX107" fmla="*/ 267172 w 581591"/>
              <a:gd name="connsiteY107" fmla="*/ 100997 h 110081"/>
              <a:gd name="connsiteX108" fmla="*/ 267172 w 581591"/>
              <a:gd name="connsiteY108" fmla="*/ 86062 h 110081"/>
              <a:gd name="connsiteX109" fmla="*/ 280930 w 581591"/>
              <a:gd name="connsiteY109" fmla="*/ 94711 h 110081"/>
              <a:gd name="connsiteX110" fmla="*/ 297800 w 581591"/>
              <a:gd name="connsiteY110" fmla="*/ 97823 h 110081"/>
              <a:gd name="connsiteX111" fmla="*/ 315105 w 581591"/>
              <a:gd name="connsiteY111" fmla="*/ 92596 h 110081"/>
              <a:gd name="connsiteX112" fmla="*/ 321579 w 581591"/>
              <a:gd name="connsiteY112" fmla="*/ 77972 h 110081"/>
              <a:gd name="connsiteX113" fmla="*/ 315726 w 581591"/>
              <a:gd name="connsiteY113" fmla="*/ 64095 h 110081"/>
              <a:gd name="connsiteX114" fmla="*/ 298111 w 581591"/>
              <a:gd name="connsiteY114" fmla="*/ 58992 h 110081"/>
              <a:gd name="connsiteX115" fmla="*/ 284353 w 581591"/>
              <a:gd name="connsiteY115" fmla="*/ 58992 h 110081"/>
              <a:gd name="connsiteX116" fmla="*/ 417317 w 581591"/>
              <a:gd name="connsiteY116" fmla="*/ 108588 h 110081"/>
              <a:gd name="connsiteX117" fmla="*/ 349030 w 581591"/>
              <a:gd name="connsiteY117" fmla="*/ 108588 h 110081"/>
              <a:gd name="connsiteX118" fmla="*/ 349030 w 581591"/>
              <a:gd name="connsiteY118" fmla="*/ 94400 h 110081"/>
              <a:gd name="connsiteX119" fmla="*/ 375175 w 581591"/>
              <a:gd name="connsiteY119" fmla="*/ 72433 h 110081"/>
              <a:gd name="connsiteX120" fmla="*/ 391173 w 581591"/>
              <a:gd name="connsiteY120" fmla="*/ 56628 h 110081"/>
              <a:gd name="connsiteX121" fmla="*/ 399203 w 581591"/>
              <a:gd name="connsiteY121" fmla="*/ 43933 h 110081"/>
              <a:gd name="connsiteX122" fmla="*/ 401630 w 581591"/>
              <a:gd name="connsiteY122" fmla="*/ 32109 h 110081"/>
              <a:gd name="connsiteX123" fmla="*/ 396091 w 581591"/>
              <a:gd name="connsiteY123" fmla="*/ 17610 h 110081"/>
              <a:gd name="connsiteX124" fmla="*/ 380839 w 581591"/>
              <a:gd name="connsiteY124" fmla="*/ 12383 h 110081"/>
              <a:gd name="connsiteX125" fmla="*/ 351831 w 581591"/>
              <a:gd name="connsiteY125" fmla="*/ 27194 h 110081"/>
              <a:gd name="connsiteX126" fmla="*/ 351831 w 581591"/>
              <a:gd name="connsiteY126" fmla="*/ 12134 h 110081"/>
              <a:gd name="connsiteX127" fmla="*/ 381275 w 581591"/>
              <a:gd name="connsiteY127" fmla="*/ 0 h 110081"/>
              <a:gd name="connsiteX128" fmla="*/ 406673 w 581591"/>
              <a:gd name="connsiteY128" fmla="*/ 8401 h 110081"/>
              <a:gd name="connsiteX129" fmla="*/ 416073 w 581591"/>
              <a:gd name="connsiteY129" fmla="*/ 30803 h 110081"/>
              <a:gd name="connsiteX130" fmla="*/ 413706 w 581591"/>
              <a:gd name="connsiteY130" fmla="*/ 44804 h 110081"/>
              <a:gd name="connsiteX131" fmla="*/ 405615 w 581591"/>
              <a:gd name="connsiteY131" fmla="*/ 58681 h 110081"/>
              <a:gd name="connsiteX132" fmla="*/ 389928 w 581591"/>
              <a:gd name="connsiteY132" fmla="*/ 74860 h 110081"/>
              <a:gd name="connsiteX133" fmla="*/ 364530 w 581591"/>
              <a:gd name="connsiteY133" fmla="*/ 95769 h 110081"/>
              <a:gd name="connsiteX134" fmla="*/ 417317 w 581591"/>
              <a:gd name="connsiteY134" fmla="*/ 95769 h 110081"/>
              <a:gd name="connsiteX135" fmla="*/ 417317 w 581591"/>
              <a:gd name="connsiteY135" fmla="*/ 108588 h 110081"/>
              <a:gd name="connsiteX136" fmla="*/ 465373 w 581591"/>
              <a:gd name="connsiteY136" fmla="*/ 110082 h 110081"/>
              <a:gd name="connsiteX137" fmla="*/ 446699 w 581591"/>
              <a:gd name="connsiteY137" fmla="*/ 106473 h 110081"/>
              <a:gd name="connsiteX138" fmla="*/ 433999 w 581591"/>
              <a:gd name="connsiteY138" fmla="*/ 96205 h 110081"/>
              <a:gd name="connsiteX139" fmla="*/ 429331 w 581591"/>
              <a:gd name="connsiteY139" fmla="*/ 79777 h 110081"/>
              <a:gd name="connsiteX140" fmla="*/ 434747 w 581591"/>
              <a:gd name="connsiteY140" fmla="*/ 62291 h 110081"/>
              <a:gd name="connsiteX141" fmla="*/ 449499 w 581591"/>
              <a:gd name="connsiteY141" fmla="*/ 51711 h 110081"/>
              <a:gd name="connsiteX142" fmla="*/ 437548 w 581591"/>
              <a:gd name="connsiteY142" fmla="*/ 42564 h 110081"/>
              <a:gd name="connsiteX143" fmla="*/ 433253 w 581591"/>
              <a:gd name="connsiteY143" fmla="*/ 27504 h 110081"/>
              <a:gd name="connsiteX144" fmla="*/ 437423 w 581591"/>
              <a:gd name="connsiteY144" fmla="*/ 12570 h 110081"/>
              <a:gd name="connsiteX145" fmla="*/ 448940 w 581591"/>
              <a:gd name="connsiteY145" fmla="*/ 3298 h 110081"/>
              <a:gd name="connsiteX146" fmla="*/ 465373 w 581591"/>
              <a:gd name="connsiteY146" fmla="*/ 186 h 110081"/>
              <a:gd name="connsiteX147" fmla="*/ 481496 w 581591"/>
              <a:gd name="connsiteY147" fmla="*/ 3298 h 110081"/>
              <a:gd name="connsiteX148" fmla="*/ 492824 w 581591"/>
              <a:gd name="connsiteY148" fmla="*/ 12259 h 110081"/>
              <a:gd name="connsiteX149" fmla="*/ 497183 w 581591"/>
              <a:gd name="connsiteY149" fmla="*/ 27194 h 110081"/>
              <a:gd name="connsiteX150" fmla="*/ 492701 w 581591"/>
              <a:gd name="connsiteY150" fmla="*/ 42439 h 110081"/>
              <a:gd name="connsiteX151" fmla="*/ 480873 w 581591"/>
              <a:gd name="connsiteY151" fmla="*/ 51711 h 110081"/>
              <a:gd name="connsiteX152" fmla="*/ 495253 w 581591"/>
              <a:gd name="connsiteY152" fmla="*/ 61855 h 110081"/>
              <a:gd name="connsiteX153" fmla="*/ 500792 w 581591"/>
              <a:gd name="connsiteY153" fmla="*/ 79341 h 110081"/>
              <a:gd name="connsiteX154" fmla="*/ 496124 w 581591"/>
              <a:gd name="connsiteY154" fmla="*/ 95893 h 110081"/>
              <a:gd name="connsiteX155" fmla="*/ 483426 w 581591"/>
              <a:gd name="connsiteY155" fmla="*/ 106473 h 110081"/>
              <a:gd name="connsiteX156" fmla="*/ 465373 w 581591"/>
              <a:gd name="connsiteY156" fmla="*/ 110082 h 110081"/>
              <a:gd name="connsiteX157" fmla="*/ 465373 w 581591"/>
              <a:gd name="connsiteY157" fmla="*/ 46298 h 110081"/>
              <a:gd name="connsiteX158" fmla="*/ 478384 w 581591"/>
              <a:gd name="connsiteY158" fmla="*/ 41817 h 110081"/>
              <a:gd name="connsiteX159" fmla="*/ 483612 w 581591"/>
              <a:gd name="connsiteY159" fmla="*/ 29122 h 110081"/>
              <a:gd name="connsiteX160" fmla="*/ 478384 w 581591"/>
              <a:gd name="connsiteY160" fmla="*/ 16615 h 110081"/>
              <a:gd name="connsiteX161" fmla="*/ 465373 w 581591"/>
              <a:gd name="connsiteY161" fmla="*/ 11947 h 110081"/>
              <a:gd name="connsiteX162" fmla="*/ 452053 w 581591"/>
              <a:gd name="connsiteY162" fmla="*/ 16615 h 110081"/>
              <a:gd name="connsiteX163" fmla="*/ 446823 w 581591"/>
              <a:gd name="connsiteY163" fmla="*/ 29122 h 110081"/>
              <a:gd name="connsiteX164" fmla="*/ 452053 w 581591"/>
              <a:gd name="connsiteY164" fmla="*/ 41817 h 110081"/>
              <a:gd name="connsiteX165" fmla="*/ 465373 w 581591"/>
              <a:gd name="connsiteY165" fmla="*/ 46298 h 110081"/>
              <a:gd name="connsiteX166" fmla="*/ 465373 w 581591"/>
              <a:gd name="connsiteY166" fmla="*/ 98258 h 110081"/>
              <a:gd name="connsiteX167" fmla="*/ 480749 w 581591"/>
              <a:gd name="connsiteY167" fmla="*/ 92907 h 110081"/>
              <a:gd name="connsiteX168" fmla="*/ 487036 w 581591"/>
              <a:gd name="connsiteY168" fmla="*/ 77536 h 110081"/>
              <a:gd name="connsiteX169" fmla="*/ 480749 w 581591"/>
              <a:gd name="connsiteY169" fmla="*/ 62291 h 110081"/>
              <a:gd name="connsiteX170" fmla="*/ 465373 w 581591"/>
              <a:gd name="connsiteY170" fmla="*/ 56752 h 110081"/>
              <a:gd name="connsiteX171" fmla="*/ 449375 w 581591"/>
              <a:gd name="connsiteY171" fmla="*/ 62291 h 110081"/>
              <a:gd name="connsiteX172" fmla="*/ 443088 w 581591"/>
              <a:gd name="connsiteY172" fmla="*/ 77536 h 110081"/>
              <a:gd name="connsiteX173" fmla="*/ 449375 w 581591"/>
              <a:gd name="connsiteY173" fmla="*/ 92907 h 110081"/>
              <a:gd name="connsiteX174" fmla="*/ 465373 w 581591"/>
              <a:gd name="connsiteY174" fmla="*/ 98258 h 110081"/>
              <a:gd name="connsiteX175" fmla="*/ 581592 w 581591"/>
              <a:gd name="connsiteY175" fmla="*/ 108588 h 110081"/>
              <a:gd name="connsiteX176" fmla="*/ 513305 w 581591"/>
              <a:gd name="connsiteY176" fmla="*/ 108588 h 110081"/>
              <a:gd name="connsiteX177" fmla="*/ 513305 w 581591"/>
              <a:gd name="connsiteY177" fmla="*/ 94400 h 110081"/>
              <a:gd name="connsiteX178" fmla="*/ 539450 w 581591"/>
              <a:gd name="connsiteY178" fmla="*/ 72433 h 110081"/>
              <a:gd name="connsiteX179" fmla="*/ 555447 w 581591"/>
              <a:gd name="connsiteY179" fmla="*/ 56628 h 110081"/>
              <a:gd name="connsiteX180" fmla="*/ 563478 w 581591"/>
              <a:gd name="connsiteY180" fmla="*/ 43933 h 110081"/>
              <a:gd name="connsiteX181" fmla="*/ 565906 w 581591"/>
              <a:gd name="connsiteY181" fmla="*/ 32109 h 110081"/>
              <a:gd name="connsiteX182" fmla="*/ 560365 w 581591"/>
              <a:gd name="connsiteY182" fmla="*/ 17610 h 110081"/>
              <a:gd name="connsiteX183" fmla="*/ 545114 w 581591"/>
              <a:gd name="connsiteY183" fmla="*/ 12383 h 110081"/>
              <a:gd name="connsiteX184" fmla="*/ 516107 w 581591"/>
              <a:gd name="connsiteY184" fmla="*/ 27194 h 110081"/>
              <a:gd name="connsiteX185" fmla="*/ 516107 w 581591"/>
              <a:gd name="connsiteY185" fmla="*/ 12134 h 110081"/>
              <a:gd name="connsiteX186" fmla="*/ 545551 w 581591"/>
              <a:gd name="connsiteY186" fmla="*/ 0 h 110081"/>
              <a:gd name="connsiteX187" fmla="*/ 570947 w 581591"/>
              <a:gd name="connsiteY187" fmla="*/ 8401 h 110081"/>
              <a:gd name="connsiteX188" fmla="*/ 580347 w 581591"/>
              <a:gd name="connsiteY188" fmla="*/ 30803 h 110081"/>
              <a:gd name="connsiteX189" fmla="*/ 577982 w 581591"/>
              <a:gd name="connsiteY189" fmla="*/ 44804 h 110081"/>
              <a:gd name="connsiteX190" fmla="*/ 569889 w 581591"/>
              <a:gd name="connsiteY190" fmla="*/ 58681 h 110081"/>
              <a:gd name="connsiteX191" fmla="*/ 554203 w 581591"/>
              <a:gd name="connsiteY191" fmla="*/ 74860 h 110081"/>
              <a:gd name="connsiteX192" fmla="*/ 528805 w 581591"/>
              <a:gd name="connsiteY192" fmla="*/ 95769 h 110081"/>
              <a:gd name="connsiteX193" fmla="*/ 581592 w 581591"/>
              <a:gd name="connsiteY193" fmla="*/ 95769 h 110081"/>
              <a:gd name="connsiteX194" fmla="*/ 581592 w 581591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91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284353" y="58992"/>
                </a:moveTo>
                <a:lnTo>
                  <a:pt x="284353" y="46298"/>
                </a:lnTo>
                <a:lnTo>
                  <a:pt x="298670" y="46298"/>
                </a:lnTo>
                <a:cubicBezTo>
                  <a:pt x="304274" y="46298"/>
                  <a:pt x="308818" y="44804"/>
                  <a:pt x="312303" y="41817"/>
                </a:cubicBezTo>
                <a:cubicBezTo>
                  <a:pt x="315851" y="38768"/>
                  <a:pt x="317657" y="34412"/>
                  <a:pt x="317657" y="28812"/>
                </a:cubicBezTo>
                <a:cubicBezTo>
                  <a:pt x="317657" y="23771"/>
                  <a:pt x="316038" y="19788"/>
                  <a:pt x="312739" y="16864"/>
                </a:cubicBezTo>
                <a:cubicBezTo>
                  <a:pt x="309439" y="13877"/>
                  <a:pt x="304708" y="12383"/>
                  <a:pt x="298546" y="12383"/>
                </a:cubicBezTo>
                <a:cubicBezTo>
                  <a:pt x="293380" y="12383"/>
                  <a:pt x="288462" y="13379"/>
                  <a:pt x="283918" y="15246"/>
                </a:cubicBezTo>
                <a:cubicBezTo>
                  <a:pt x="279436" y="17113"/>
                  <a:pt x="274768" y="20162"/>
                  <a:pt x="269850" y="24331"/>
                </a:cubicBezTo>
                <a:lnTo>
                  <a:pt x="269850" y="9707"/>
                </a:lnTo>
                <a:cubicBezTo>
                  <a:pt x="277818" y="3235"/>
                  <a:pt x="287465" y="0"/>
                  <a:pt x="298670" y="0"/>
                </a:cubicBezTo>
                <a:cubicBezTo>
                  <a:pt x="308942" y="0"/>
                  <a:pt x="316971" y="2613"/>
                  <a:pt x="322761" y="7779"/>
                </a:cubicBezTo>
                <a:cubicBezTo>
                  <a:pt x="328612" y="12943"/>
                  <a:pt x="331538" y="19726"/>
                  <a:pt x="331538" y="28065"/>
                </a:cubicBezTo>
                <a:cubicBezTo>
                  <a:pt x="331538" y="34848"/>
                  <a:pt x="329670" y="40262"/>
                  <a:pt x="325874" y="44244"/>
                </a:cubicBezTo>
                <a:cubicBezTo>
                  <a:pt x="322201" y="48227"/>
                  <a:pt x="317781" y="50840"/>
                  <a:pt x="312614" y="52147"/>
                </a:cubicBezTo>
                <a:cubicBezTo>
                  <a:pt x="316786" y="52707"/>
                  <a:pt x="320582" y="54201"/>
                  <a:pt x="324068" y="56441"/>
                </a:cubicBezTo>
                <a:cubicBezTo>
                  <a:pt x="327679" y="58681"/>
                  <a:pt x="330543" y="61543"/>
                  <a:pt x="332783" y="65153"/>
                </a:cubicBezTo>
                <a:cubicBezTo>
                  <a:pt x="334962" y="68700"/>
                  <a:pt x="336020" y="72869"/>
                  <a:pt x="336020" y="77661"/>
                </a:cubicBezTo>
                <a:cubicBezTo>
                  <a:pt x="336020" y="84257"/>
                  <a:pt x="334401" y="89982"/>
                  <a:pt x="331102" y="94836"/>
                </a:cubicBezTo>
                <a:cubicBezTo>
                  <a:pt x="327804" y="99752"/>
                  <a:pt x="323321" y="103486"/>
                  <a:pt x="317532" y="106224"/>
                </a:cubicBezTo>
                <a:cubicBezTo>
                  <a:pt x="311868" y="108775"/>
                  <a:pt x="305207" y="110082"/>
                  <a:pt x="297675" y="110082"/>
                </a:cubicBezTo>
                <a:cubicBezTo>
                  <a:pt x="284477" y="110082"/>
                  <a:pt x="274332" y="107033"/>
                  <a:pt x="267172" y="100997"/>
                </a:cubicBezTo>
                <a:lnTo>
                  <a:pt x="267172" y="86062"/>
                </a:lnTo>
                <a:cubicBezTo>
                  <a:pt x="270970" y="89733"/>
                  <a:pt x="275514" y="92596"/>
                  <a:pt x="280930" y="94711"/>
                </a:cubicBezTo>
                <a:cubicBezTo>
                  <a:pt x="286283" y="96765"/>
                  <a:pt x="291948" y="97823"/>
                  <a:pt x="297800" y="97823"/>
                </a:cubicBezTo>
                <a:cubicBezTo>
                  <a:pt x="305144" y="97823"/>
                  <a:pt x="310933" y="96080"/>
                  <a:pt x="315105" y="92596"/>
                </a:cubicBezTo>
                <a:cubicBezTo>
                  <a:pt x="319400" y="89048"/>
                  <a:pt x="321579" y="84132"/>
                  <a:pt x="321579" y="77972"/>
                </a:cubicBezTo>
                <a:cubicBezTo>
                  <a:pt x="321579" y="71998"/>
                  <a:pt x="319587" y="67393"/>
                  <a:pt x="315726" y="64095"/>
                </a:cubicBezTo>
                <a:cubicBezTo>
                  <a:pt x="311930" y="60673"/>
                  <a:pt x="306078" y="58992"/>
                  <a:pt x="298111" y="58992"/>
                </a:cubicBezTo>
                <a:lnTo>
                  <a:pt x="284353" y="58992"/>
                </a:lnTo>
                <a:close/>
                <a:moveTo>
                  <a:pt x="417317" y="108588"/>
                </a:moveTo>
                <a:lnTo>
                  <a:pt x="349030" y="108588"/>
                </a:lnTo>
                <a:lnTo>
                  <a:pt x="349030" y="94400"/>
                </a:lnTo>
                <a:cubicBezTo>
                  <a:pt x="359675" y="85812"/>
                  <a:pt x="368389" y="78532"/>
                  <a:pt x="375175" y="72433"/>
                </a:cubicBezTo>
                <a:cubicBezTo>
                  <a:pt x="382023" y="66397"/>
                  <a:pt x="387375" y="61108"/>
                  <a:pt x="391173" y="56628"/>
                </a:cubicBezTo>
                <a:cubicBezTo>
                  <a:pt x="395032" y="52023"/>
                  <a:pt x="397709" y="47791"/>
                  <a:pt x="399203" y="43933"/>
                </a:cubicBezTo>
                <a:cubicBezTo>
                  <a:pt x="400822" y="40012"/>
                  <a:pt x="401630" y="36092"/>
                  <a:pt x="401630" y="32109"/>
                </a:cubicBezTo>
                <a:cubicBezTo>
                  <a:pt x="401630" y="25949"/>
                  <a:pt x="399763" y="21095"/>
                  <a:pt x="396091" y="17610"/>
                </a:cubicBezTo>
                <a:cubicBezTo>
                  <a:pt x="392418" y="14125"/>
                  <a:pt x="387313" y="12383"/>
                  <a:pt x="380839" y="12383"/>
                </a:cubicBezTo>
                <a:cubicBezTo>
                  <a:pt x="370506" y="12383"/>
                  <a:pt x="360795" y="17361"/>
                  <a:pt x="351831" y="27194"/>
                </a:cubicBezTo>
                <a:lnTo>
                  <a:pt x="351831" y="12134"/>
                </a:lnTo>
                <a:cubicBezTo>
                  <a:pt x="360111" y="4044"/>
                  <a:pt x="369945" y="0"/>
                  <a:pt x="381275" y="0"/>
                </a:cubicBezTo>
                <a:cubicBezTo>
                  <a:pt x="392044" y="0"/>
                  <a:pt x="400510" y="2800"/>
                  <a:pt x="406673" y="8401"/>
                </a:cubicBezTo>
                <a:cubicBezTo>
                  <a:pt x="412960" y="13877"/>
                  <a:pt x="416073" y="21344"/>
                  <a:pt x="416073" y="30803"/>
                </a:cubicBezTo>
                <a:cubicBezTo>
                  <a:pt x="416073" y="35657"/>
                  <a:pt x="415325" y="40324"/>
                  <a:pt x="413706" y="44804"/>
                </a:cubicBezTo>
                <a:cubicBezTo>
                  <a:pt x="412212" y="49222"/>
                  <a:pt x="409536" y="53827"/>
                  <a:pt x="405615" y="58681"/>
                </a:cubicBezTo>
                <a:cubicBezTo>
                  <a:pt x="401880" y="63473"/>
                  <a:pt x="396650" y="68887"/>
                  <a:pt x="389928" y="74860"/>
                </a:cubicBezTo>
                <a:cubicBezTo>
                  <a:pt x="383267" y="80835"/>
                  <a:pt x="374801" y="87804"/>
                  <a:pt x="364530" y="95769"/>
                </a:cubicBezTo>
                <a:lnTo>
                  <a:pt x="417317" y="95769"/>
                </a:lnTo>
                <a:lnTo>
                  <a:pt x="417317" y="108588"/>
                </a:lnTo>
                <a:close/>
                <a:moveTo>
                  <a:pt x="465373" y="110082"/>
                </a:moveTo>
                <a:cubicBezTo>
                  <a:pt x="458402" y="110082"/>
                  <a:pt x="452177" y="108900"/>
                  <a:pt x="446699" y="106473"/>
                </a:cubicBezTo>
                <a:cubicBezTo>
                  <a:pt x="441284" y="104108"/>
                  <a:pt x="437050" y="100685"/>
                  <a:pt x="433999" y="96205"/>
                </a:cubicBezTo>
                <a:cubicBezTo>
                  <a:pt x="430887" y="91600"/>
                  <a:pt x="429331" y="86124"/>
                  <a:pt x="429331" y="79777"/>
                </a:cubicBezTo>
                <a:cubicBezTo>
                  <a:pt x="429331" y="72869"/>
                  <a:pt x="431136" y="67082"/>
                  <a:pt x="434747" y="62291"/>
                </a:cubicBezTo>
                <a:cubicBezTo>
                  <a:pt x="438419" y="57437"/>
                  <a:pt x="443337" y="53889"/>
                  <a:pt x="449499" y="51711"/>
                </a:cubicBezTo>
                <a:cubicBezTo>
                  <a:pt x="444521" y="49720"/>
                  <a:pt x="440536" y="46671"/>
                  <a:pt x="437548" y="42564"/>
                </a:cubicBezTo>
                <a:cubicBezTo>
                  <a:pt x="434685" y="38519"/>
                  <a:pt x="433253" y="33479"/>
                  <a:pt x="433253" y="27504"/>
                </a:cubicBezTo>
                <a:cubicBezTo>
                  <a:pt x="433253" y="21593"/>
                  <a:pt x="434623" y="16615"/>
                  <a:pt x="437423" y="12570"/>
                </a:cubicBezTo>
                <a:cubicBezTo>
                  <a:pt x="440224" y="8463"/>
                  <a:pt x="444022" y="5414"/>
                  <a:pt x="448940" y="3298"/>
                </a:cubicBezTo>
                <a:cubicBezTo>
                  <a:pt x="453796" y="1182"/>
                  <a:pt x="459273" y="186"/>
                  <a:pt x="465373" y="186"/>
                </a:cubicBezTo>
                <a:cubicBezTo>
                  <a:pt x="471349" y="186"/>
                  <a:pt x="476703" y="1182"/>
                  <a:pt x="481496" y="3298"/>
                </a:cubicBezTo>
                <a:cubicBezTo>
                  <a:pt x="486290" y="5289"/>
                  <a:pt x="490086" y="8276"/>
                  <a:pt x="492824" y="12259"/>
                </a:cubicBezTo>
                <a:cubicBezTo>
                  <a:pt x="495751" y="16242"/>
                  <a:pt x="497183" y="21219"/>
                  <a:pt x="497183" y="27194"/>
                </a:cubicBezTo>
                <a:cubicBezTo>
                  <a:pt x="497183" y="33292"/>
                  <a:pt x="495689" y="38332"/>
                  <a:pt x="492701" y="42439"/>
                </a:cubicBezTo>
                <a:cubicBezTo>
                  <a:pt x="489712" y="46484"/>
                  <a:pt x="485791" y="49596"/>
                  <a:pt x="480873" y="51711"/>
                </a:cubicBezTo>
                <a:cubicBezTo>
                  <a:pt x="486849" y="53765"/>
                  <a:pt x="491642" y="57188"/>
                  <a:pt x="495253" y="61855"/>
                </a:cubicBezTo>
                <a:cubicBezTo>
                  <a:pt x="498926" y="66522"/>
                  <a:pt x="500792" y="72372"/>
                  <a:pt x="500792" y="79341"/>
                </a:cubicBezTo>
                <a:cubicBezTo>
                  <a:pt x="500792" y="85688"/>
                  <a:pt x="499236" y="91226"/>
                  <a:pt x="496124" y="95893"/>
                </a:cubicBezTo>
                <a:cubicBezTo>
                  <a:pt x="493074" y="100498"/>
                  <a:pt x="488841" y="103983"/>
                  <a:pt x="483426" y="106473"/>
                </a:cubicBezTo>
                <a:cubicBezTo>
                  <a:pt x="478135" y="108900"/>
                  <a:pt x="472159" y="110082"/>
                  <a:pt x="465373" y="110082"/>
                </a:cubicBezTo>
                <a:close/>
                <a:moveTo>
                  <a:pt x="465373" y="46298"/>
                </a:moveTo>
                <a:cubicBezTo>
                  <a:pt x="470665" y="46298"/>
                  <a:pt x="474960" y="44804"/>
                  <a:pt x="478384" y="41817"/>
                </a:cubicBezTo>
                <a:cubicBezTo>
                  <a:pt x="481870" y="38768"/>
                  <a:pt x="483612" y="34536"/>
                  <a:pt x="483612" y="29122"/>
                </a:cubicBezTo>
                <a:cubicBezTo>
                  <a:pt x="483612" y="23771"/>
                  <a:pt x="481870" y="19601"/>
                  <a:pt x="478384" y="16615"/>
                </a:cubicBezTo>
                <a:cubicBezTo>
                  <a:pt x="474960" y="13503"/>
                  <a:pt x="470665" y="11947"/>
                  <a:pt x="465373" y="11947"/>
                </a:cubicBezTo>
                <a:cubicBezTo>
                  <a:pt x="460083" y="11947"/>
                  <a:pt x="455662" y="13503"/>
                  <a:pt x="452053" y="16615"/>
                </a:cubicBezTo>
                <a:cubicBezTo>
                  <a:pt x="448566" y="19601"/>
                  <a:pt x="446823" y="23771"/>
                  <a:pt x="446823" y="29122"/>
                </a:cubicBezTo>
                <a:cubicBezTo>
                  <a:pt x="446823" y="34536"/>
                  <a:pt x="448566" y="38768"/>
                  <a:pt x="452053" y="41817"/>
                </a:cubicBezTo>
                <a:cubicBezTo>
                  <a:pt x="455662" y="44804"/>
                  <a:pt x="460083" y="46298"/>
                  <a:pt x="465373" y="46298"/>
                </a:cubicBezTo>
                <a:close/>
                <a:moveTo>
                  <a:pt x="465373" y="98258"/>
                </a:moveTo>
                <a:cubicBezTo>
                  <a:pt x="471536" y="98258"/>
                  <a:pt x="476641" y="96516"/>
                  <a:pt x="480749" y="92907"/>
                </a:cubicBezTo>
                <a:cubicBezTo>
                  <a:pt x="484920" y="89235"/>
                  <a:pt x="487036" y="84071"/>
                  <a:pt x="487036" y="77536"/>
                </a:cubicBezTo>
                <a:cubicBezTo>
                  <a:pt x="487036" y="70940"/>
                  <a:pt x="484920" y="65900"/>
                  <a:pt x="480749" y="62291"/>
                </a:cubicBezTo>
                <a:cubicBezTo>
                  <a:pt x="476641" y="58619"/>
                  <a:pt x="471536" y="56752"/>
                  <a:pt x="465373" y="56752"/>
                </a:cubicBezTo>
                <a:cubicBezTo>
                  <a:pt x="458961" y="56752"/>
                  <a:pt x="453671" y="58619"/>
                  <a:pt x="449375" y="62291"/>
                </a:cubicBezTo>
                <a:cubicBezTo>
                  <a:pt x="445205" y="65900"/>
                  <a:pt x="443088" y="70940"/>
                  <a:pt x="443088" y="77536"/>
                </a:cubicBezTo>
                <a:cubicBezTo>
                  <a:pt x="443088" y="84071"/>
                  <a:pt x="445205" y="89235"/>
                  <a:pt x="449375" y="92907"/>
                </a:cubicBezTo>
                <a:cubicBezTo>
                  <a:pt x="453671" y="96516"/>
                  <a:pt x="458961" y="98258"/>
                  <a:pt x="465373" y="98258"/>
                </a:cubicBezTo>
                <a:close/>
                <a:moveTo>
                  <a:pt x="581592" y="108588"/>
                </a:moveTo>
                <a:lnTo>
                  <a:pt x="513305" y="108588"/>
                </a:lnTo>
                <a:lnTo>
                  <a:pt x="513305" y="94400"/>
                </a:lnTo>
                <a:cubicBezTo>
                  <a:pt x="523949" y="85812"/>
                  <a:pt x="532665" y="78532"/>
                  <a:pt x="539450" y="72433"/>
                </a:cubicBezTo>
                <a:cubicBezTo>
                  <a:pt x="546297" y="66397"/>
                  <a:pt x="551651" y="61108"/>
                  <a:pt x="555447" y="56628"/>
                </a:cubicBezTo>
                <a:cubicBezTo>
                  <a:pt x="559307" y="52023"/>
                  <a:pt x="561984" y="47791"/>
                  <a:pt x="563478" y="43933"/>
                </a:cubicBezTo>
                <a:cubicBezTo>
                  <a:pt x="565096" y="40012"/>
                  <a:pt x="565906" y="36092"/>
                  <a:pt x="565906" y="32109"/>
                </a:cubicBezTo>
                <a:cubicBezTo>
                  <a:pt x="565906" y="25949"/>
                  <a:pt x="564038" y="21095"/>
                  <a:pt x="560365" y="17610"/>
                </a:cubicBezTo>
                <a:cubicBezTo>
                  <a:pt x="556692" y="14125"/>
                  <a:pt x="551589" y="12383"/>
                  <a:pt x="545114" y="12383"/>
                </a:cubicBezTo>
                <a:cubicBezTo>
                  <a:pt x="534782" y="12383"/>
                  <a:pt x="525071" y="17361"/>
                  <a:pt x="516107" y="27194"/>
                </a:cubicBezTo>
                <a:lnTo>
                  <a:pt x="516107" y="12134"/>
                </a:lnTo>
                <a:cubicBezTo>
                  <a:pt x="524385" y="4044"/>
                  <a:pt x="534221" y="0"/>
                  <a:pt x="545551" y="0"/>
                </a:cubicBezTo>
                <a:cubicBezTo>
                  <a:pt x="556320" y="0"/>
                  <a:pt x="564785" y="2800"/>
                  <a:pt x="570947" y="8401"/>
                </a:cubicBezTo>
                <a:cubicBezTo>
                  <a:pt x="577234" y="13877"/>
                  <a:pt x="580347" y="21344"/>
                  <a:pt x="580347" y="30803"/>
                </a:cubicBezTo>
                <a:cubicBezTo>
                  <a:pt x="580347" y="35657"/>
                  <a:pt x="579601" y="40324"/>
                  <a:pt x="577982" y="44804"/>
                </a:cubicBezTo>
                <a:cubicBezTo>
                  <a:pt x="576488" y="49222"/>
                  <a:pt x="573810" y="53827"/>
                  <a:pt x="569889" y="58681"/>
                </a:cubicBezTo>
                <a:cubicBezTo>
                  <a:pt x="566154" y="63473"/>
                  <a:pt x="560926" y="68887"/>
                  <a:pt x="554203" y="74860"/>
                </a:cubicBezTo>
                <a:cubicBezTo>
                  <a:pt x="547542" y="80835"/>
                  <a:pt x="539077" y="87804"/>
                  <a:pt x="528805" y="95769"/>
                </a:cubicBezTo>
                <a:lnTo>
                  <a:pt x="581592" y="95769"/>
                </a:lnTo>
                <a:lnTo>
                  <a:pt x="581592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0" name="Полилиния 949">
            <a:extLst>
              <a:ext uri="{FF2B5EF4-FFF2-40B4-BE49-F238E27FC236}">
                <a16:creationId xmlns:a16="http://schemas.microsoft.com/office/drawing/2014/main" id="{AB463912-8AE4-C482-BEBB-5C000BED7C6D}"/>
              </a:ext>
            </a:extLst>
          </p:cNvPr>
          <p:cNvSpPr/>
          <p:nvPr userDrawn="1"/>
        </p:nvSpPr>
        <p:spPr>
          <a:xfrm>
            <a:off x="9547358" y="5240073"/>
            <a:ext cx="2557159" cy="726227"/>
          </a:xfrm>
          <a:custGeom>
            <a:avLst/>
            <a:gdLst>
              <a:gd name="connsiteX0" fmla="*/ 2604 w 2191162"/>
              <a:gd name="connsiteY0" fmla="*/ 1222 h 622284"/>
              <a:gd name="connsiteX1" fmla="*/ 2193767 w 2191162"/>
              <a:gd name="connsiteY1" fmla="*/ 1222 h 622284"/>
              <a:gd name="connsiteX2" fmla="*/ 2193767 w 2191162"/>
              <a:gd name="connsiteY2" fmla="*/ 623506 h 622284"/>
              <a:gd name="connsiteX3" fmla="*/ 2604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222"/>
                </a:moveTo>
                <a:lnTo>
                  <a:pt x="2193767" y="1222"/>
                </a:lnTo>
                <a:lnTo>
                  <a:pt x="2193767" y="623506"/>
                </a:lnTo>
                <a:lnTo>
                  <a:pt x="2604" y="623506"/>
                </a:lnTo>
                <a:close/>
              </a:path>
            </a:pathLst>
          </a:custGeom>
          <a:solidFill>
            <a:srgbClr val="0046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1" name="Полилиния 950">
            <a:extLst>
              <a:ext uri="{FF2B5EF4-FFF2-40B4-BE49-F238E27FC236}">
                <a16:creationId xmlns:a16="http://schemas.microsoft.com/office/drawing/2014/main" id="{523923EE-04AA-1AF3-05D3-87222E0710FC}"/>
              </a:ext>
            </a:extLst>
          </p:cNvPr>
          <p:cNvSpPr/>
          <p:nvPr userDrawn="1"/>
        </p:nvSpPr>
        <p:spPr>
          <a:xfrm>
            <a:off x="9670565" y="5541820"/>
            <a:ext cx="706342" cy="128468"/>
          </a:xfrm>
          <a:custGeom>
            <a:avLst/>
            <a:gdLst>
              <a:gd name="connsiteX0" fmla="*/ 22099 w 605246"/>
              <a:gd name="connsiteY0" fmla="*/ 108588 h 110081"/>
              <a:gd name="connsiteX1" fmla="*/ 10147 w 605246"/>
              <a:gd name="connsiteY1" fmla="*/ 108588 h 110081"/>
              <a:gd name="connsiteX2" fmla="*/ 16435 w 605246"/>
              <a:gd name="connsiteY2" fmla="*/ 77661 h 110081"/>
              <a:gd name="connsiteX3" fmla="*/ 0 w 605246"/>
              <a:gd name="connsiteY3" fmla="*/ 77661 h 110081"/>
              <a:gd name="connsiteX4" fmla="*/ 0 w 605246"/>
              <a:gd name="connsiteY4" fmla="*/ 67206 h 110081"/>
              <a:gd name="connsiteX5" fmla="*/ 18675 w 605246"/>
              <a:gd name="connsiteY5" fmla="*/ 67206 h 110081"/>
              <a:gd name="connsiteX6" fmla="*/ 24216 w 605246"/>
              <a:gd name="connsiteY6" fmla="*/ 40012 h 110081"/>
              <a:gd name="connsiteX7" fmla="*/ 4047 w 605246"/>
              <a:gd name="connsiteY7" fmla="*/ 40012 h 110081"/>
              <a:gd name="connsiteX8" fmla="*/ 4047 w 605246"/>
              <a:gd name="connsiteY8" fmla="*/ 29559 h 110081"/>
              <a:gd name="connsiteX9" fmla="*/ 26269 w 605246"/>
              <a:gd name="connsiteY9" fmla="*/ 29559 h 110081"/>
              <a:gd name="connsiteX10" fmla="*/ 32121 w 605246"/>
              <a:gd name="connsiteY10" fmla="*/ 1493 h 110081"/>
              <a:gd name="connsiteX11" fmla="*/ 44073 w 605246"/>
              <a:gd name="connsiteY11" fmla="*/ 1493 h 110081"/>
              <a:gd name="connsiteX12" fmla="*/ 38222 w 605246"/>
              <a:gd name="connsiteY12" fmla="*/ 29559 h 110081"/>
              <a:gd name="connsiteX13" fmla="*/ 60630 w 605246"/>
              <a:gd name="connsiteY13" fmla="*/ 29559 h 110081"/>
              <a:gd name="connsiteX14" fmla="*/ 66481 w 605246"/>
              <a:gd name="connsiteY14" fmla="*/ 1493 h 110081"/>
              <a:gd name="connsiteX15" fmla="*/ 78434 w 605246"/>
              <a:gd name="connsiteY15" fmla="*/ 1493 h 110081"/>
              <a:gd name="connsiteX16" fmla="*/ 72583 w 605246"/>
              <a:gd name="connsiteY16" fmla="*/ 29559 h 110081"/>
              <a:gd name="connsiteX17" fmla="*/ 89328 w 605246"/>
              <a:gd name="connsiteY17" fmla="*/ 29559 h 110081"/>
              <a:gd name="connsiteX18" fmla="*/ 89328 w 605246"/>
              <a:gd name="connsiteY18" fmla="*/ 40012 h 110081"/>
              <a:gd name="connsiteX19" fmla="*/ 70529 w 605246"/>
              <a:gd name="connsiteY19" fmla="*/ 40012 h 110081"/>
              <a:gd name="connsiteX20" fmla="*/ 64988 w 605246"/>
              <a:gd name="connsiteY20" fmla="*/ 67206 h 110081"/>
              <a:gd name="connsiteX21" fmla="*/ 85281 w 605246"/>
              <a:gd name="connsiteY21" fmla="*/ 67206 h 110081"/>
              <a:gd name="connsiteX22" fmla="*/ 85281 w 605246"/>
              <a:gd name="connsiteY22" fmla="*/ 77661 h 110081"/>
              <a:gd name="connsiteX23" fmla="*/ 62747 w 605246"/>
              <a:gd name="connsiteY23" fmla="*/ 77661 h 110081"/>
              <a:gd name="connsiteX24" fmla="*/ 56460 w 605246"/>
              <a:gd name="connsiteY24" fmla="*/ 108588 h 110081"/>
              <a:gd name="connsiteX25" fmla="*/ 44509 w 605246"/>
              <a:gd name="connsiteY25" fmla="*/ 108588 h 110081"/>
              <a:gd name="connsiteX26" fmla="*/ 50796 w 605246"/>
              <a:gd name="connsiteY26" fmla="*/ 77661 h 110081"/>
              <a:gd name="connsiteX27" fmla="*/ 28386 w 605246"/>
              <a:gd name="connsiteY27" fmla="*/ 77661 h 110081"/>
              <a:gd name="connsiteX28" fmla="*/ 22099 w 605246"/>
              <a:gd name="connsiteY28" fmla="*/ 108588 h 110081"/>
              <a:gd name="connsiteX29" fmla="*/ 30626 w 605246"/>
              <a:gd name="connsiteY29" fmla="*/ 67206 h 110081"/>
              <a:gd name="connsiteX30" fmla="*/ 53036 w 605246"/>
              <a:gd name="connsiteY30" fmla="*/ 67206 h 110081"/>
              <a:gd name="connsiteX31" fmla="*/ 58577 w 605246"/>
              <a:gd name="connsiteY31" fmla="*/ 40012 h 110081"/>
              <a:gd name="connsiteX32" fmla="*/ 36167 w 605246"/>
              <a:gd name="connsiteY32" fmla="*/ 40012 h 110081"/>
              <a:gd name="connsiteX33" fmla="*/ 30626 w 605246"/>
              <a:gd name="connsiteY33" fmla="*/ 67206 h 110081"/>
              <a:gd name="connsiteX34" fmla="*/ 136636 w 605246"/>
              <a:gd name="connsiteY34" fmla="*/ 110082 h 110081"/>
              <a:gd name="connsiteX35" fmla="*/ 118460 w 605246"/>
              <a:gd name="connsiteY35" fmla="*/ 104233 h 110081"/>
              <a:gd name="connsiteX36" fmla="*/ 105761 w 605246"/>
              <a:gd name="connsiteY36" fmla="*/ 86311 h 110081"/>
              <a:gd name="connsiteX37" fmla="*/ 101279 w 605246"/>
              <a:gd name="connsiteY37" fmla="*/ 54947 h 110081"/>
              <a:gd name="connsiteX38" fmla="*/ 105761 w 605246"/>
              <a:gd name="connsiteY38" fmla="*/ 23584 h 110081"/>
              <a:gd name="connsiteX39" fmla="*/ 118460 w 605246"/>
              <a:gd name="connsiteY39" fmla="*/ 5849 h 110081"/>
              <a:gd name="connsiteX40" fmla="*/ 136636 w 605246"/>
              <a:gd name="connsiteY40" fmla="*/ 186 h 110081"/>
              <a:gd name="connsiteX41" fmla="*/ 154752 w 605246"/>
              <a:gd name="connsiteY41" fmla="*/ 5849 h 110081"/>
              <a:gd name="connsiteX42" fmla="*/ 167139 w 605246"/>
              <a:gd name="connsiteY42" fmla="*/ 23584 h 110081"/>
              <a:gd name="connsiteX43" fmla="*/ 171621 w 605246"/>
              <a:gd name="connsiteY43" fmla="*/ 54698 h 110081"/>
              <a:gd name="connsiteX44" fmla="*/ 167139 w 605246"/>
              <a:gd name="connsiteY44" fmla="*/ 86062 h 110081"/>
              <a:gd name="connsiteX45" fmla="*/ 154752 w 605246"/>
              <a:gd name="connsiteY45" fmla="*/ 104233 h 110081"/>
              <a:gd name="connsiteX46" fmla="*/ 136636 w 605246"/>
              <a:gd name="connsiteY46" fmla="*/ 110082 h 110081"/>
              <a:gd name="connsiteX47" fmla="*/ 136512 w 605246"/>
              <a:gd name="connsiteY47" fmla="*/ 98258 h 110081"/>
              <a:gd name="connsiteX48" fmla="*/ 147841 w 605246"/>
              <a:gd name="connsiteY48" fmla="*/ 94275 h 110081"/>
              <a:gd name="connsiteX49" fmla="*/ 155063 w 605246"/>
              <a:gd name="connsiteY49" fmla="*/ 80648 h 110081"/>
              <a:gd name="connsiteX50" fmla="*/ 157552 w 605246"/>
              <a:gd name="connsiteY50" fmla="*/ 55134 h 110081"/>
              <a:gd name="connsiteX51" fmla="*/ 155186 w 605246"/>
              <a:gd name="connsiteY51" fmla="*/ 29745 h 110081"/>
              <a:gd name="connsiteX52" fmla="*/ 148028 w 605246"/>
              <a:gd name="connsiteY52" fmla="*/ 16117 h 110081"/>
              <a:gd name="connsiteX53" fmla="*/ 136636 w 605246"/>
              <a:gd name="connsiteY53" fmla="*/ 11947 h 110081"/>
              <a:gd name="connsiteX54" fmla="*/ 125183 w 605246"/>
              <a:gd name="connsiteY54" fmla="*/ 16117 h 110081"/>
              <a:gd name="connsiteX55" fmla="*/ 117837 w 605246"/>
              <a:gd name="connsiteY55" fmla="*/ 29745 h 110081"/>
              <a:gd name="connsiteX56" fmla="*/ 115285 w 605246"/>
              <a:gd name="connsiteY56" fmla="*/ 55134 h 110081"/>
              <a:gd name="connsiteX57" fmla="*/ 117714 w 605246"/>
              <a:gd name="connsiteY57" fmla="*/ 80648 h 110081"/>
              <a:gd name="connsiteX58" fmla="*/ 124996 w 605246"/>
              <a:gd name="connsiteY58" fmla="*/ 94275 h 110081"/>
              <a:gd name="connsiteX59" fmla="*/ 136512 w 605246"/>
              <a:gd name="connsiteY59" fmla="*/ 98258 h 110081"/>
              <a:gd name="connsiteX60" fmla="*/ 218806 w 605246"/>
              <a:gd name="connsiteY60" fmla="*/ 110082 h 110081"/>
              <a:gd name="connsiteX61" fmla="*/ 200566 w 605246"/>
              <a:gd name="connsiteY61" fmla="*/ 104233 h 110081"/>
              <a:gd name="connsiteX62" fmla="*/ 187867 w 605246"/>
              <a:gd name="connsiteY62" fmla="*/ 86311 h 110081"/>
              <a:gd name="connsiteX63" fmla="*/ 183385 w 605246"/>
              <a:gd name="connsiteY63" fmla="*/ 54947 h 110081"/>
              <a:gd name="connsiteX64" fmla="*/ 187867 w 605246"/>
              <a:gd name="connsiteY64" fmla="*/ 23584 h 110081"/>
              <a:gd name="connsiteX65" fmla="*/ 200566 w 605246"/>
              <a:gd name="connsiteY65" fmla="*/ 5849 h 110081"/>
              <a:gd name="connsiteX66" fmla="*/ 218806 w 605246"/>
              <a:gd name="connsiteY66" fmla="*/ 186 h 110081"/>
              <a:gd name="connsiteX67" fmla="*/ 236858 w 605246"/>
              <a:gd name="connsiteY67" fmla="*/ 5849 h 110081"/>
              <a:gd name="connsiteX68" fmla="*/ 249245 w 605246"/>
              <a:gd name="connsiteY68" fmla="*/ 23584 h 110081"/>
              <a:gd name="connsiteX69" fmla="*/ 253727 w 605246"/>
              <a:gd name="connsiteY69" fmla="*/ 54698 h 110081"/>
              <a:gd name="connsiteX70" fmla="*/ 249245 w 605246"/>
              <a:gd name="connsiteY70" fmla="*/ 86062 h 110081"/>
              <a:gd name="connsiteX71" fmla="*/ 236858 w 605246"/>
              <a:gd name="connsiteY71" fmla="*/ 104233 h 110081"/>
              <a:gd name="connsiteX72" fmla="*/ 218806 w 605246"/>
              <a:gd name="connsiteY72" fmla="*/ 110082 h 110081"/>
              <a:gd name="connsiteX73" fmla="*/ 218619 w 605246"/>
              <a:gd name="connsiteY73" fmla="*/ 98258 h 110081"/>
              <a:gd name="connsiteX74" fmla="*/ 230010 w 605246"/>
              <a:gd name="connsiteY74" fmla="*/ 94275 h 110081"/>
              <a:gd name="connsiteX75" fmla="*/ 237169 w 605246"/>
              <a:gd name="connsiteY75" fmla="*/ 80648 h 110081"/>
              <a:gd name="connsiteX76" fmla="*/ 239721 w 605246"/>
              <a:gd name="connsiteY76" fmla="*/ 55134 h 110081"/>
              <a:gd name="connsiteX77" fmla="*/ 237294 w 605246"/>
              <a:gd name="connsiteY77" fmla="*/ 29745 h 110081"/>
              <a:gd name="connsiteX78" fmla="*/ 230134 w 605246"/>
              <a:gd name="connsiteY78" fmla="*/ 16117 h 110081"/>
              <a:gd name="connsiteX79" fmla="*/ 218806 w 605246"/>
              <a:gd name="connsiteY79" fmla="*/ 11947 h 110081"/>
              <a:gd name="connsiteX80" fmla="*/ 207289 w 605246"/>
              <a:gd name="connsiteY80" fmla="*/ 16117 h 110081"/>
              <a:gd name="connsiteX81" fmla="*/ 199944 w 605246"/>
              <a:gd name="connsiteY81" fmla="*/ 29745 h 110081"/>
              <a:gd name="connsiteX82" fmla="*/ 197453 w 605246"/>
              <a:gd name="connsiteY82" fmla="*/ 55134 h 110081"/>
              <a:gd name="connsiteX83" fmla="*/ 199820 w 605246"/>
              <a:gd name="connsiteY83" fmla="*/ 80648 h 110081"/>
              <a:gd name="connsiteX84" fmla="*/ 207165 w 605246"/>
              <a:gd name="connsiteY84" fmla="*/ 94275 h 110081"/>
              <a:gd name="connsiteX85" fmla="*/ 218619 w 605246"/>
              <a:gd name="connsiteY85" fmla="*/ 98258 h 110081"/>
              <a:gd name="connsiteX86" fmla="*/ 323073 w 605246"/>
              <a:gd name="connsiteY86" fmla="*/ 108588 h 110081"/>
              <a:gd name="connsiteX87" fmla="*/ 309875 w 605246"/>
              <a:gd name="connsiteY87" fmla="*/ 108588 h 110081"/>
              <a:gd name="connsiteX88" fmla="*/ 309875 w 605246"/>
              <a:gd name="connsiteY88" fmla="*/ 83199 h 110081"/>
              <a:gd name="connsiteX89" fmla="*/ 263563 w 605246"/>
              <a:gd name="connsiteY89" fmla="*/ 83199 h 110081"/>
              <a:gd name="connsiteX90" fmla="*/ 263563 w 605246"/>
              <a:gd name="connsiteY90" fmla="*/ 73927 h 110081"/>
              <a:gd name="connsiteX91" fmla="*/ 305394 w 605246"/>
              <a:gd name="connsiteY91" fmla="*/ 1493 h 110081"/>
              <a:gd name="connsiteX92" fmla="*/ 323073 w 605246"/>
              <a:gd name="connsiteY92" fmla="*/ 1493 h 110081"/>
              <a:gd name="connsiteX93" fmla="*/ 323073 w 605246"/>
              <a:gd name="connsiteY93" fmla="*/ 71873 h 110081"/>
              <a:gd name="connsiteX94" fmla="*/ 337514 w 605246"/>
              <a:gd name="connsiteY94" fmla="*/ 71873 h 110081"/>
              <a:gd name="connsiteX95" fmla="*/ 337514 w 605246"/>
              <a:gd name="connsiteY95" fmla="*/ 83199 h 110081"/>
              <a:gd name="connsiteX96" fmla="*/ 323073 w 605246"/>
              <a:gd name="connsiteY96" fmla="*/ 83199 h 110081"/>
              <a:gd name="connsiteX97" fmla="*/ 323073 w 605246"/>
              <a:gd name="connsiteY97" fmla="*/ 108588 h 110081"/>
              <a:gd name="connsiteX98" fmla="*/ 277195 w 605246"/>
              <a:gd name="connsiteY98" fmla="*/ 71873 h 110081"/>
              <a:gd name="connsiteX99" fmla="*/ 309875 w 605246"/>
              <a:gd name="connsiteY99" fmla="*/ 71873 h 110081"/>
              <a:gd name="connsiteX100" fmla="*/ 309875 w 605246"/>
              <a:gd name="connsiteY100" fmla="*/ 16117 h 110081"/>
              <a:gd name="connsiteX101" fmla="*/ 277195 w 605246"/>
              <a:gd name="connsiteY101" fmla="*/ 71873 h 110081"/>
              <a:gd name="connsiteX102" fmla="*/ 419682 w 605246"/>
              <a:gd name="connsiteY102" fmla="*/ 73491 h 110081"/>
              <a:gd name="connsiteX103" fmla="*/ 414890 w 605246"/>
              <a:gd name="connsiteY103" fmla="*/ 92782 h 110081"/>
              <a:gd name="connsiteX104" fmla="*/ 402191 w 605246"/>
              <a:gd name="connsiteY104" fmla="*/ 105601 h 110081"/>
              <a:gd name="connsiteX105" fmla="*/ 384138 w 605246"/>
              <a:gd name="connsiteY105" fmla="*/ 110082 h 110081"/>
              <a:gd name="connsiteX106" fmla="*/ 362476 w 605246"/>
              <a:gd name="connsiteY106" fmla="*/ 104108 h 110081"/>
              <a:gd name="connsiteX107" fmla="*/ 350337 w 605246"/>
              <a:gd name="connsiteY107" fmla="*/ 87555 h 110081"/>
              <a:gd name="connsiteX108" fmla="*/ 346602 w 605246"/>
              <a:gd name="connsiteY108" fmla="*/ 63161 h 110081"/>
              <a:gd name="connsiteX109" fmla="*/ 351085 w 605246"/>
              <a:gd name="connsiteY109" fmla="*/ 30181 h 110081"/>
              <a:gd name="connsiteX110" fmla="*/ 365153 w 605246"/>
              <a:gd name="connsiteY110" fmla="*/ 8089 h 110081"/>
              <a:gd name="connsiteX111" fmla="*/ 389679 w 605246"/>
              <a:gd name="connsiteY111" fmla="*/ 0 h 110081"/>
              <a:gd name="connsiteX112" fmla="*/ 412212 w 605246"/>
              <a:gd name="connsiteY112" fmla="*/ 5538 h 110081"/>
              <a:gd name="connsiteX113" fmla="*/ 412212 w 605246"/>
              <a:gd name="connsiteY113" fmla="*/ 18855 h 110081"/>
              <a:gd name="connsiteX114" fmla="*/ 389679 w 605246"/>
              <a:gd name="connsiteY114" fmla="*/ 12259 h 110081"/>
              <a:gd name="connsiteX115" fmla="*/ 374117 w 605246"/>
              <a:gd name="connsiteY115" fmla="*/ 17361 h 110081"/>
              <a:gd name="connsiteX116" fmla="*/ 364281 w 605246"/>
              <a:gd name="connsiteY116" fmla="*/ 31238 h 110081"/>
              <a:gd name="connsiteX117" fmla="*/ 360048 w 605246"/>
              <a:gd name="connsiteY117" fmla="*/ 50778 h 110081"/>
              <a:gd name="connsiteX118" fmla="*/ 371439 w 605246"/>
              <a:gd name="connsiteY118" fmla="*/ 40759 h 110081"/>
              <a:gd name="connsiteX119" fmla="*/ 385445 w 605246"/>
              <a:gd name="connsiteY119" fmla="*/ 37523 h 110081"/>
              <a:gd name="connsiteX120" fmla="*/ 402813 w 605246"/>
              <a:gd name="connsiteY120" fmla="*/ 41693 h 110081"/>
              <a:gd name="connsiteX121" fmla="*/ 415076 w 605246"/>
              <a:gd name="connsiteY121" fmla="*/ 53952 h 110081"/>
              <a:gd name="connsiteX122" fmla="*/ 419682 w 605246"/>
              <a:gd name="connsiteY122" fmla="*/ 73491 h 110081"/>
              <a:gd name="connsiteX123" fmla="*/ 383703 w 605246"/>
              <a:gd name="connsiteY123" fmla="*/ 98134 h 110081"/>
              <a:gd name="connsiteX124" fmla="*/ 394410 w 605246"/>
              <a:gd name="connsiteY124" fmla="*/ 95458 h 110081"/>
              <a:gd name="connsiteX125" fmla="*/ 402378 w 605246"/>
              <a:gd name="connsiteY125" fmla="*/ 87244 h 110081"/>
              <a:gd name="connsiteX126" fmla="*/ 405491 w 605246"/>
              <a:gd name="connsiteY126" fmla="*/ 73803 h 110081"/>
              <a:gd name="connsiteX127" fmla="*/ 402503 w 605246"/>
              <a:gd name="connsiteY127" fmla="*/ 60174 h 110081"/>
              <a:gd name="connsiteX128" fmla="*/ 394907 w 605246"/>
              <a:gd name="connsiteY128" fmla="*/ 51961 h 110081"/>
              <a:gd name="connsiteX129" fmla="*/ 385197 w 605246"/>
              <a:gd name="connsiteY129" fmla="*/ 49160 h 110081"/>
              <a:gd name="connsiteX130" fmla="*/ 368576 w 605246"/>
              <a:gd name="connsiteY130" fmla="*/ 55570 h 110081"/>
              <a:gd name="connsiteX131" fmla="*/ 362041 w 605246"/>
              <a:gd name="connsiteY131" fmla="*/ 74114 h 110081"/>
              <a:gd name="connsiteX132" fmla="*/ 367830 w 605246"/>
              <a:gd name="connsiteY132" fmla="*/ 91538 h 110081"/>
              <a:gd name="connsiteX133" fmla="*/ 383703 w 605246"/>
              <a:gd name="connsiteY133" fmla="*/ 98134 h 110081"/>
              <a:gd name="connsiteX134" fmla="*/ 524198 w 605246"/>
              <a:gd name="connsiteY134" fmla="*/ 108588 h 110081"/>
              <a:gd name="connsiteX135" fmla="*/ 509259 w 605246"/>
              <a:gd name="connsiteY135" fmla="*/ 108588 h 110081"/>
              <a:gd name="connsiteX136" fmla="*/ 498241 w 605246"/>
              <a:gd name="connsiteY136" fmla="*/ 77972 h 110081"/>
              <a:gd name="connsiteX137" fmla="*/ 450869 w 605246"/>
              <a:gd name="connsiteY137" fmla="*/ 77972 h 110081"/>
              <a:gd name="connsiteX138" fmla="*/ 439975 w 605246"/>
              <a:gd name="connsiteY138" fmla="*/ 108588 h 110081"/>
              <a:gd name="connsiteX139" fmla="*/ 426841 w 605246"/>
              <a:gd name="connsiteY139" fmla="*/ 108588 h 110081"/>
              <a:gd name="connsiteX140" fmla="*/ 464937 w 605246"/>
              <a:gd name="connsiteY140" fmla="*/ 1493 h 110081"/>
              <a:gd name="connsiteX141" fmla="*/ 485853 w 605246"/>
              <a:gd name="connsiteY141" fmla="*/ 1493 h 110081"/>
              <a:gd name="connsiteX142" fmla="*/ 524198 w 605246"/>
              <a:gd name="connsiteY142" fmla="*/ 108588 h 110081"/>
              <a:gd name="connsiteX143" fmla="*/ 455475 w 605246"/>
              <a:gd name="connsiteY143" fmla="*/ 65278 h 110081"/>
              <a:gd name="connsiteX144" fmla="*/ 493759 w 605246"/>
              <a:gd name="connsiteY144" fmla="*/ 65278 h 110081"/>
              <a:gd name="connsiteX145" fmla="*/ 474648 w 605246"/>
              <a:gd name="connsiteY145" fmla="*/ 11947 h 110081"/>
              <a:gd name="connsiteX146" fmla="*/ 455475 w 605246"/>
              <a:gd name="connsiteY146" fmla="*/ 65278 h 110081"/>
              <a:gd name="connsiteX147" fmla="*/ 539823 w 605246"/>
              <a:gd name="connsiteY147" fmla="*/ 1493 h 110081"/>
              <a:gd name="connsiteX148" fmla="*/ 605246 w 605246"/>
              <a:gd name="connsiteY148" fmla="*/ 1493 h 110081"/>
              <a:gd name="connsiteX149" fmla="*/ 605246 w 605246"/>
              <a:gd name="connsiteY149" fmla="*/ 14374 h 110081"/>
              <a:gd name="connsiteX150" fmla="*/ 553891 w 605246"/>
              <a:gd name="connsiteY150" fmla="*/ 14374 h 110081"/>
              <a:gd name="connsiteX151" fmla="*/ 553891 w 605246"/>
              <a:gd name="connsiteY151" fmla="*/ 49907 h 110081"/>
              <a:gd name="connsiteX152" fmla="*/ 597465 w 605246"/>
              <a:gd name="connsiteY152" fmla="*/ 49907 h 110081"/>
              <a:gd name="connsiteX153" fmla="*/ 597465 w 605246"/>
              <a:gd name="connsiteY153" fmla="*/ 62601 h 110081"/>
              <a:gd name="connsiteX154" fmla="*/ 553891 w 605246"/>
              <a:gd name="connsiteY154" fmla="*/ 62601 h 110081"/>
              <a:gd name="connsiteX155" fmla="*/ 553891 w 605246"/>
              <a:gd name="connsiteY155" fmla="*/ 108588 h 110081"/>
              <a:gd name="connsiteX156" fmla="*/ 539823 w 605246"/>
              <a:gd name="connsiteY156" fmla="*/ 108588 h 110081"/>
              <a:gd name="connsiteX157" fmla="*/ 539823 w 605246"/>
              <a:gd name="connsiteY157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605246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23073" y="108588"/>
                </a:moveTo>
                <a:lnTo>
                  <a:pt x="309875" y="108588"/>
                </a:lnTo>
                <a:lnTo>
                  <a:pt x="309875" y="83199"/>
                </a:lnTo>
                <a:lnTo>
                  <a:pt x="263563" y="83199"/>
                </a:lnTo>
                <a:lnTo>
                  <a:pt x="263563" y="73927"/>
                </a:lnTo>
                <a:lnTo>
                  <a:pt x="305394" y="1493"/>
                </a:lnTo>
                <a:lnTo>
                  <a:pt x="323073" y="1493"/>
                </a:lnTo>
                <a:lnTo>
                  <a:pt x="323073" y="71873"/>
                </a:lnTo>
                <a:lnTo>
                  <a:pt x="337514" y="71873"/>
                </a:lnTo>
                <a:lnTo>
                  <a:pt x="337514" y="83199"/>
                </a:lnTo>
                <a:lnTo>
                  <a:pt x="323073" y="83199"/>
                </a:lnTo>
                <a:lnTo>
                  <a:pt x="323073" y="108588"/>
                </a:lnTo>
                <a:close/>
                <a:moveTo>
                  <a:pt x="277195" y="71873"/>
                </a:moveTo>
                <a:lnTo>
                  <a:pt x="309875" y="71873"/>
                </a:lnTo>
                <a:lnTo>
                  <a:pt x="309875" y="16117"/>
                </a:lnTo>
                <a:lnTo>
                  <a:pt x="277195" y="71873"/>
                </a:lnTo>
                <a:close/>
                <a:moveTo>
                  <a:pt x="419682" y="73491"/>
                </a:moveTo>
                <a:cubicBezTo>
                  <a:pt x="419682" y="80772"/>
                  <a:pt x="418065" y="87182"/>
                  <a:pt x="414890" y="92782"/>
                </a:cubicBezTo>
                <a:cubicBezTo>
                  <a:pt x="411840" y="98258"/>
                  <a:pt x="407606" y="102490"/>
                  <a:pt x="402191" y="105601"/>
                </a:cubicBezTo>
                <a:cubicBezTo>
                  <a:pt x="396837" y="108588"/>
                  <a:pt x="390799" y="110082"/>
                  <a:pt x="384138" y="110082"/>
                </a:cubicBezTo>
                <a:cubicBezTo>
                  <a:pt x="375175" y="110082"/>
                  <a:pt x="367954" y="108091"/>
                  <a:pt x="362476" y="104108"/>
                </a:cubicBezTo>
                <a:cubicBezTo>
                  <a:pt x="356998" y="100125"/>
                  <a:pt x="352951" y="94587"/>
                  <a:pt x="350337" y="87555"/>
                </a:cubicBezTo>
                <a:cubicBezTo>
                  <a:pt x="347848" y="80461"/>
                  <a:pt x="346602" y="72372"/>
                  <a:pt x="346602" y="63161"/>
                </a:cubicBezTo>
                <a:cubicBezTo>
                  <a:pt x="346602" y="50653"/>
                  <a:pt x="348096" y="39639"/>
                  <a:pt x="351085" y="30181"/>
                </a:cubicBezTo>
                <a:cubicBezTo>
                  <a:pt x="354197" y="20722"/>
                  <a:pt x="358866" y="13379"/>
                  <a:pt x="365153" y="8089"/>
                </a:cubicBezTo>
                <a:cubicBezTo>
                  <a:pt x="371501" y="2675"/>
                  <a:pt x="379719" y="0"/>
                  <a:pt x="389679" y="0"/>
                </a:cubicBezTo>
                <a:cubicBezTo>
                  <a:pt x="398206" y="0"/>
                  <a:pt x="405738" y="1866"/>
                  <a:pt x="412212" y="5538"/>
                </a:cubicBezTo>
                <a:lnTo>
                  <a:pt x="412212" y="18855"/>
                </a:lnTo>
                <a:cubicBezTo>
                  <a:pt x="405738" y="14437"/>
                  <a:pt x="398206" y="12259"/>
                  <a:pt x="389679" y="12259"/>
                </a:cubicBezTo>
                <a:cubicBezTo>
                  <a:pt x="383454" y="12259"/>
                  <a:pt x="378287" y="13939"/>
                  <a:pt x="374117" y="17361"/>
                </a:cubicBezTo>
                <a:cubicBezTo>
                  <a:pt x="369945" y="20722"/>
                  <a:pt x="366647" y="25327"/>
                  <a:pt x="364281" y="31238"/>
                </a:cubicBezTo>
                <a:cubicBezTo>
                  <a:pt x="361979" y="37026"/>
                  <a:pt x="360545" y="43498"/>
                  <a:pt x="360048" y="50778"/>
                </a:cubicBezTo>
                <a:cubicBezTo>
                  <a:pt x="363348" y="46298"/>
                  <a:pt x="367144" y="42999"/>
                  <a:pt x="371439" y="40759"/>
                </a:cubicBezTo>
                <a:cubicBezTo>
                  <a:pt x="375735" y="38581"/>
                  <a:pt x="380404" y="37523"/>
                  <a:pt x="385445" y="37523"/>
                </a:cubicBezTo>
                <a:cubicBezTo>
                  <a:pt x="391919" y="37523"/>
                  <a:pt x="397709" y="38893"/>
                  <a:pt x="402813" y="41693"/>
                </a:cubicBezTo>
                <a:cubicBezTo>
                  <a:pt x="407980" y="44493"/>
                  <a:pt x="412088" y="48538"/>
                  <a:pt x="415076" y="53952"/>
                </a:cubicBezTo>
                <a:cubicBezTo>
                  <a:pt x="418126" y="59179"/>
                  <a:pt x="419682" y="65713"/>
                  <a:pt x="419682" y="73491"/>
                </a:cubicBezTo>
                <a:close/>
                <a:moveTo>
                  <a:pt x="383703" y="98134"/>
                </a:moveTo>
                <a:cubicBezTo>
                  <a:pt x="387562" y="98134"/>
                  <a:pt x="391173" y="97263"/>
                  <a:pt x="394410" y="95458"/>
                </a:cubicBezTo>
                <a:cubicBezTo>
                  <a:pt x="397709" y="93529"/>
                  <a:pt x="400386" y="90791"/>
                  <a:pt x="402378" y="87244"/>
                </a:cubicBezTo>
                <a:cubicBezTo>
                  <a:pt x="404431" y="83635"/>
                  <a:pt x="405491" y="79154"/>
                  <a:pt x="405491" y="73803"/>
                </a:cubicBezTo>
                <a:cubicBezTo>
                  <a:pt x="405491" y="68389"/>
                  <a:pt x="404494" y="63908"/>
                  <a:pt x="402503" y="60174"/>
                </a:cubicBezTo>
                <a:cubicBezTo>
                  <a:pt x="400510" y="56503"/>
                  <a:pt x="397957" y="53765"/>
                  <a:pt x="394907" y="51961"/>
                </a:cubicBezTo>
                <a:cubicBezTo>
                  <a:pt x="391795" y="50093"/>
                  <a:pt x="388557" y="49160"/>
                  <a:pt x="385197" y="49160"/>
                </a:cubicBezTo>
                <a:cubicBezTo>
                  <a:pt x="378599" y="49160"/>
                  <a:pt x="373058" y="51276"/>
                  <a:pt x="368576" y="55570"/>
                </a:cubicBezTo>
                <a:cubicBezTo>
                  <a:pt x="364219" y="59739"/>
                  <a:pt x="362041" y="65900"/>
                  <a:pt x="362041" y="74114"/>
                </a:cubicBezTo>
                <a:cubicBezTo>
                  <a:pt x="362041" y="81270"/>
                  <a:pt x="363969" y="87058"/>
                  <a:pt x="367830" y="91538"/>
                </a:cubicBezTo>
                <a:cubicBezTo>
                  <a:pt x="371751" y="95956"/>
                  <a:pt x="376980" y="98134"/>
                  <a:pt x="383703" y="98134"/>
                </a:cubicBezTo>
                <a:close/>
                <a:moveTo>
                  <a:pt x="524198" y="108588"/>
                </a:moveTo>
                <a:lnTo>
                  <a:pt x="509259" y="108588"/>
                </a:lnTo>
                <a:lnTo>
                  <a:pt x="498241" y="77972"/>
                </a:lnTo>
                <a:lnTo>
                  <a:pt x="450869" y="77972"/>
                </a:lnTo>
                <a:lnTo>
                  <a:pt x="439975" y="108588"/>
                </a:lnTo>
                <a:lnTo>
                  <a:pt x="426841" y="108588"/>
                </a:lnTo>
                <a:lnTo>
                  <a:pt x="464937" y="1493"/>
                </a:lnTo>
                <a:lnTo>
                  <a:pt x="485853" y="1493"/>
                </a:lnTo>
                <a:lnTo>
                  <a:pt x="524198" y="108588"/>
                </a:lnTo>
                <a:close/>
                <a:moveTo>
                  <a:pt x="455475" y="65278"/>
                </a:moveTo>
                <a:lnTo>
                  <a:pt x="493759" y="65278"/>
                </a:lnTo>
                <a:lnTo>
                  <a:pt x="474648" y="11947"/>
                </a:lnTo>
                <a:lnTo>
                  <a:pt x="455475" y="65278"/>
                </a:lnTo>
                <a:close/>
                <a:moveTo>
                  <a:pt x="539823" y="1493"/>
                </a:moveTo>
                <a:lnTo>
                  <a:pt x="605246" y="1493"/>
                </a:lnTo>
                <a:lnTo>
                  <a:pt x="605246" y="14374"/>
                </a:lnTo>
                <a:lnTo>
                  <a:pt x="553891" y="14374"/>
                </a:lnTo>
                <a:lnTo>
                  <a:pt x="553891" y="49907"/>
                </a:lnTo>
                <a:lnTo>
                  <a:pt x="597465" y="49907"/>
                </a:lnTo>
                <a:lnTo>
                  <a:pt x="597465" y="62601"/>
                </a:lnTo>
                <a:lnTo>
                  <a:pt x="553891" y="62601"/>
                </a:lnTo>
                <a:lnTo>
                  <a:pt x="553891" y="108588"/>
                </a:lnTo>
                <a:lnTo>
                  <a:pt x="539823" y="108588"/>
                </a:lnTo>
                <a:lnTo>
                  <a:pt x="53982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2" name="Полилиния 951">
            <a:extLst>
              <a:ext uri="{FF2B5EF4-FFF2-40B4-BE49-F238E27FC236}">
                <a16:creationId xmlns:a16="http://schemas.microsoft.com/office/drawing/2014/main" id="{9645F3A0-6E46-0BC0-CB6C-35E27686C5F9}"/>
              </a:ext>
            </a:extLst>
          </p:cNvPr>
          <p:cNvSpPr/>
          <p:nvPr userDrawn="1"/>
        </p:nvSpPr>
        <p:spPr>
          <a:xfrm>
            <a:off x="9547358" y="5966300"/>
            <a:ext cx="2557159" cy="726227"/>
          </a:xfrm>
          <a:custGeom>
            <a:avLst/>
            <a:gdLst>
              <a:gd name="connsiteX0" fmla="*/ 2604 w 2191162"/>
              <a:gd name="connsiteY0" fmla="*/ 1322 h 622284"/>
              <a:gd name="connsiteX1" fmla="*/ 2193767 w 2191162"/>
              <a:gd name="connsiteY1" fmla="*/ 1322 h 622284"/>
              <a:gd name="connsiteX2" fmla="*/ 2193767 w 2191162"/>
              <a:gd name="connsiteY2" fmla="*/ 623606 h 622284"/>
              <a:gd name="connsiteX3" fmla="*/ 2604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322"/>
                </a:moveTo>
                <a:lnTo>
                  <a:pt x="2193767" y="1322"/>
                </a:lnTo>
                <a:lnTo>
                  <a:pt x="2193767" y="623606"/>
                </a:lnTo>
                <a:lnTo>
                  <a:pt x="2604" y="623606"/>
                </a:lnTo>
                <a:close/>
              </a:path>
            </a:pathLst>
          </a:custGeom>
          <a:solidFill>
            <a:srgbClr val="0064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3" name="Полилиния 952">
            <a:extLst>
              <a:ext uri="{FF2B5EF4-FFF2-40B4-BE49-F238E27FC236}">
                <a16:creationId xmlns:a16="http://schemas.microsoft.com/office/drawing/2014/main" id="{5A001ED3-780B-1B93-7935-A4630E3ED456}"/>
              </a:ext>
            </a:extLst>
          </p:cNvPr>
          <p:cNvSpPr/>
          <p:nvPr userDrawn="1"/>
        </p:nvSpPr>
        <p:spPr>
          <a:xfrm>
            <a:off x="9670565" y="6268047"/>
            <a:ext cx="705978" cy="128468"/>
          </a:xfrm>
          <a:custGeom>
            <a:avLst/>
            <a:gdLst>
              <a:gd name="connsiteX0" fmla="*/ 22099 w 604934"/>
              <a:gd name="connsiteY0" fmla="*/ 108588 h 110081"/>
              <a:gd name="connsiteX1" fmla="*/ 10147 w 604934"/>
              <a:gd name="connsiteY1" fmla="*/ 108588 h 110081"/>
              <a:gd name="connsiteX2" fmla="*/ 16435 w 604934"/>
              <a:gd name="connsiteY2" fmla="*/ 77661 h 110081"/>
              <a:gd name="connsiteX3" fmla="*/ 0 w 604934"/>
              <a:gd name="connsiteY3" fmla="*/ 77661 h 110081"/>
              <a:gd name="connsiteX4" fmla="*/ 0 w 604934"/>
              <a:gd name="connsiteY4" fmla="*/ 67206 h 110081"/>
              <a:gd name="connsiteX5" fmla="*/ 18675 w 604934"/>
              <a:gd name="connsiteY5" fmla="*/ 67206 h 110081"/>
              <a:gd name="connsiteX6" fmla="*/ 24216 w 604934"/>
              <a:gd name="connsiteY6" fmla="*/ 40012 h 110081"/>
              <a:gd name="connsiteX7" fmla="*/ 4047 w 604934"/>
              <a:gd name="connsiteY7" fmla="*/ 40012 h 110081"/>
              <a:gd name="connsiteX8" fmla="*/ 4047 w 604934"/>
              <a:gd name="connsiteY8" fmla="*/ 29559 h 110081"/>
              <a:gd name="connsiteX9" fmla="*/ 26269 w 604934"/>
              <a:gd name="connsiteY9" fmla="*/ 29559 h 110081"/>
              <a:gd name="connsiteX10" fmla="*/ 32121 w 604934"/>
              <a:gd name="connsiteY10" fmla="*/ 1493 h 110081"/>
              <a:gd name="connsiteX11" fmla="*/ 44073 w 604934"/>
              <a:gd name="connsiteY11" fmla="*/ 1493 h 110081"/>
              <a:gd name="connsiteX12" fmla="*/ 38222 w 604934"/>
              <a:gd name="connsiteY12" fmla="*/ 29559 h 110081"/>
              <a:gd name="connsiteX13" fmla="*/ 60630 w 604934"/>
              <a:gd name="connsiteY13" fmla="*/ 29559 h 110081"/>
              <a:gd name="connsiteX14" fmla="*/ 66481 w 604934"/>
              <a:gd name="connsiteY14" fmla="*/ 1493 h 110081"/>
              <a:gd name="connsiteX15" fmla="*/ 78434 w 604934"/>
              <a:gd name="connsiteY15" fmla="*/ 1493 h 110081"/>
              <a:gd name="connsiteX16" fmla="*/ 72583 w 604934"/>
              <a:gd name="connsiteY16" fmla="*/ 29559 h 110081"/>
              <a:gd name="connsiteX17" fmla="*/ 89328 w 604934"/>
              <a:gd name="connsiteY17" fmla="*/ 29559 h 110081"/>
              <a:gd name="connsiteX18" fmla="*/ 89328 w 604934"/>
              <a:gd name="connsiteY18" fmla="*/ 40012 h 110081"/>
              <a:gd name="connsiteX19" fmla="*/ 70529 w 604934"/>
              <a:gd name="connsiteY19" fmla="*/ 40012 h 110081"/>
              <a:gd name="connsiteX20" fmla="*/ 64988 w 604934"/>
              <a:gd name="connsiteY20" fmla="*/ 67206 h 110081"/>
              <a:gd name="connsiteX21" fmla="*/ 85281 w 604934"/>
              <a:gd name="connsiteY21" fmla="*/ 67206 h 110081"/>
              <a:gd name="connsiteX22" fmla="*/ 85281 w 604934"/>
              <a:gd name="connsiteY22" fmla="*/ 77661 h 110081"/>
              <a:gd name="connsiteX23" fmla="*/ 62747 w 604934"/>
              <a:gd name="connsiteY23" fmla="*/ 77661 h 110081"/>
              <a:gd name="connsiteX24" fmla="*/ 56460 w 604934"/>
              <a:gd name="connsiteY24" fmla="*/ 108588 h 110081"/>
              <a:gd name="connsiteX25" fmla="*/ 44509 w 604934"/>
              <a:gd name="connsiteY25" fmla="*/ 108588 h 110081"/>
              <a:gd name="connsiteX26" fmla="*/ 50796 w 604934"/>
              <a:gd name="connsiteY26" fmla="*/ 77661 h 110081"/>
              <a:gd name="connsiteX27" fmla="*/ 28386 w 604934"/>
              <a:gd name="connsiteY27" fmla="*/ 77661 h 110081"/>
              <a:gd name="connsiteX28" fmla="*/ 22099 w 604934"/>
              <a:gd name="connsiteY28" fmla="*/ 108588 h 110081"/>
              <a:gd name="connsiteX29" fmla="*/ 30626 w 604934"/>
              <a:gd name="connsiteY29" fmla="*/ 67206 h 110081"/>
              <a:gd name="connsiteX30" fmla="*/ 53036 w 604934"/>
              <a:gd name="connsiteY30" fmla="*/ 67206 h 110081"/>
              <a:gd name="connsiteX31" fmla="*/ 58577 w 604934"/>
              <a:gd name="connsiteY31" fmla="*/ 40012 h 110081"/>
              <a:gd name="connsiteX32" fmla="*/ 36167 w 604934"/>
              <a:gd name="connsiteY32" fmla="*/ 40012 h 110081"/>
              <a:gd name="connsiteX33" fmla="*/ 30626 w 604934"/>
              <a:gd name="connsiteY33" fmla="*/ 67206 h 110081"/>
              <a:gd name="connsiteX34" fmla="*/ 136636 w 604934"/>
              <a:gd name="connsiteY34" fmla="*/ 110082 h 110081"/>
              <a:gd name="connsiteX35" fmla="*/ 118460 w 604934"/>
              <a:gd name="connsiteY35" fmla="*/ 104233 h 110081"/>
              <a:gd name="connsiteX36" fmla="*/ 105761 w 604934"/>
              <a:gd name="connsiteY36" fmla="*/ 86311 h 110081"/>
              <a:gd name="connsiteX37" fmla="*/ 101279 w 604934"/>
              <a:gd name="connsiteY37" fmla="*/ 54947 h 110081"/>
              <a:gd name="connsiteX38" fmla="*/ 105761 w 604934"/>
              <a:gd name="connsiteY38" fmla="*/ 23584 h 110081"/>
              <a:gd name="connsiteX39" fmla="*/ 118460 w 604934"/>
              <a:gd name="connsiteY39" fmla="*/ 5849 h 110081"/>
              <a:gd name="connsiteX40" fmla="*/ 136636 w 604934"/>
              <a:gd name="connsiteY40" fmla="*/ 186 h 110081"/>
              <a:gd name="connsiteX41" fmla="*/ 154752 w 604934"/>
              <a:gd name="connsiteY41" fmla="*/ 5849 h 110081"/>
              <a:gd name="connsiteX42" fmla="*/ 167139 w 604934"/>
              <a:gd name="connsiteY42" fmla="*/ 23584 h 110081"/>
              <a:gd name="connsiteX43" fmla="*/ 171621 w 604934"/>
              <a:gd name="connsiteY43" fmla="*/ 54698 h 110081"/>
              <a:gd name="connsiteX44" fmla="*/ 167139 w 604934"/>
              <a:gd name="connsiteY44" fmla="*/ 86062 h 110081"/>
              <a:gd name="connsiteX45" fmla="*/ 154752 w 604934"/>
              <a:gd name="connsiteY45" fmla="*/ 104233 h 110081"/>
              <a:gd name="connsiteX46" fmla="*/ 136636 w 604934"/>
              <a:gd name="connsiteY46" fmla="*/ 110082 h 110081"/>
              <a:gd name="connsiteX47" fmla="*/ 136512 w 604934"/>
              <a:gd name="connsiteY47" fmla="*/ 98258 h 110081"/>
              <a:gd name="connsiteX48" fmla="*/ 147841 w 604934"/>
              <a:gd name="connsiteY48" fmla="*/ 94275 h 110081"/>
              <a:gd name="connsiteX49" fmla="*/ 155063 w 604934"/>
              <a:gd name="connsiteY49" fmla="*/ 80648 h 110081"/>
              <a:gd name="connsiteX50" fmla="*/ 157552 w 604934"/>
              <a:gd name="connsiteY50" fmla="*/ 55134 h 110081"/>
              <a:gd name="connsiteX51" fmla="*/ 155186 w 604934"/>
              <a:gd name="connsiteY51" fmla="*/ 29745 h 110081"/>
              <a:gd name="connsiteX52" fmla="*/ 148028 w 604934"/>
              <a:gd name="connsiteY52" fmla="*/ 16117 h 110081"/>
              <a:gd name="connsiteX53" fmla="*/ 136636 w 604934"/>
              <a:gd name="connsiteY53" fmla="*/ 11947 h 110081"/>
              <a:gd name="connsiteX54" fmla="*/ 125183 w 604934"/>
              <a:gd name="connsiteY54" fmla="*/ 16117 h 110081"/>
              <a:gd name="connsiteX55" fmla="*/ 117837 w 604934"/>
              <a:gd name="connsiteY55" fmla="*/ 29745 h 110081"/>
              <a:gd name="connsiteX56" fmla="*/ 115285 w 604934"/>
              <a:gd name="connsiteY56" fmla="*/ 55134 h 110081"/>
              <a:gd name="connsiteX57" fmla="*/ 117714 w 604934"/>
              <a:gd name="connsiteY57" fmla="*/ 80648 h 110081"/>
              <a:gd name="connsiteX58" fmla="*/ 124996 w 604934"/>
              <a:gd name="connsiteY58" fmla="*/ 94275 h 110081"/>
              <a:gd name="connsiteX59" fmla="*/ 136512 w 604934"/>
              <a:gd name="connsiteY59" fmla="*/ 98258 h 110081"/>
              <a:gd name="connsiteX60" fmla="*/ 218806 w 604934"/>
              <a:gd name="connsiteY60" fmla="*/ 110082 h 110081"/>
              <a:gd name="connsiteX61" fmla="*/ 200566 w 604934"/>
              <a:gd name="connsiteY61" fmla="*/ 104233 h 110081"/>
              <a:gd name="connsiteX62" fmla="*/ 187867 w 604934"/>
              <a:gd name="connsiteY62" fmla="*/ 86311 h 110081"/>
              <a:gd name="connsiteX63" fmla="*/ 183385 w 604934"/>
              <a:gd name="connsiteY63" fmla="*/ 54947 h 110081"/>
              <a:gd name="connsiteX64" fmla="*/ 187867 w 604934"/>
              <a:gd name="connsiteY64" fmla="*/ 23584 h 110081"/>
              <a:gd name="connsiteX65" fmla="*/ 200566 w 604934"/>
              <a:gd name="connsiteY65" fmla="*/ 5849 h 110081"/>
              <a:gd name="connsiteX66" fmla="*/ 218806 w 604934"/>
              <a:gd name="connsiteY66" fmla="*/ 186 h 110081"/>
              <a:gd name="connsiteX67" fmla="*/ 236858 w 604934"/>
              <a:gd name="connsiteY67" fmla="*/ 5849 h 110081"/>
              <a:gd name="connsiteX68" fmla="*/ 249245 w 604934"/>
              <a:gd name="connsiteY68" fmla="*/ 23584 h 110081"/>
              <a:gd name="connsiteX69" fmla="*/ 253727 w 604934"/>
              <a:gd name="connsiteY69" fmla="*/ 54698 h 110081"/>
              <a:gd name="connsiteX70" fmla="*/ 249245 w 604934"/>
              <a:gd name="connsiteY70" fmla="*/ 86062 h 110081"/>
              <a:gd name="connsiteX71" fmla="*/ 236858 w 604934"/>
              <a:gd name="connsiteY71" fmla="*/ 104233 h 110081"/>
              <a:gd name="connsiteX72" fmla="*/ 218806 w 604934"/>
              <a:gd name="connsiteY72" fmla="*/ 110082 h 110081"/>
              <a:gd name="connsiteX73" fmla="*/ 218619 w 604934"/>
              <a:gd name="connsiteY73" fmla="*/ 98258 h 110081"/>
              <a:gd name="connsiteX74" fmla="*/ 230010 w 604934"/>
              <a:gd name="connsiteY74" fmla="*/ 94275 h 110081"/>
              <a:gd name="connsiteX75" fmla="*/ 237169 w 604934"/>
              <a:gd name="connsiteY75" fmla="*/ 80648 h 110081"/>
              <a:gd name="connsiteX76" fmla="*/ 239721 w 604934"/>
              <a:gd name="connsiteY76" fmla="*/ 55134 h 110081"/>
              <a:gd name="connsiteX77" fmla="*/ 237294 w 604934"/>
              <a:gd name="connsiteY77" fmla="*/ 29745 h 110081"/>
              <a:gd name="connsiteX78" fmla="*/ 230134 w 604934"/>
              <a:gd name="connsiteY78" fmla="*/ 16117 h 110081"/>
              <a:gd name="connsiteX79" fmla="*/ 218806 w 604934"/>
              <a:gd name="connsiteY79" fmla="*/ 11947 h 110081"/>
              <a:gd name="connsiteX80" fmla="*/ 207289 w 604934"/>
              <a:gd name="connsiteY80" fmla="*/ 16117 h 110081"/>
              <a:gd name="connsiteX81" fmla="*/ 199944 w 604934"/>
              <a:gd name="connsiteY81" fmla="*/ 29745 h 110081"/>
              <a:gd name="connsiteX82" fmla="*/ 197453 w 604934"/>
              <a:gd name="connsiteY82" fmla="*/ 55134 h 110081"/>
              <a:gd name="connsiteX83" fmla="*/ 199820 w 604934"/>
              <a:gd name="connsiteY83" fmla="*/ 80648 h 110081"/>
              <a:gd name="connsiteX84" fmla="*/ 207165 w 604934"/>
              <a:gd name="connsiteY84" fmla="*/ 94275 h 110081"/>
              <a:gd name="connsiteX85" fmla="*/ 218619 w 604934"/>
              <a:gd name="connsiteY85" fmla="*/ 98258 h 110081"/>
              <a:gd name="connsiteX86" fmla="*/ 337514 w 604934"/>
              <a:gd name="connsiteY86" fmla="*/ 73491 h 110081"/>
              <a:gd name="connsiteX87" fmla="*/ 332783 w 604934"/>
              <a:gd name="connsiteY87" fmla="*/ 92782 h 110081"/>
              <a:gd name="connsiteX88" fmla="*/ 320084 w 604934"/>
              <a:gd name="connsiteY88" fmla="*/ 105601 h 110081"/>
              <a:gd name="connsiteX89" fmla="*/ 301970 w 604934"/>
              <a:gd name="connsiteY89" fmla="*/ 110082 h 110081"/>
              <a:gd name="connsiteX90" fmla="*/ 280307 w 604934"/>
              <a:gd name="connsiteY90" fmla="*/ 104108 h 110081"/>
              <a:gd name="connsiteX91" fmla="*/ 268231 w 604934"/>
              <a:gd name="connsiteY91" fmla="*/ 87555 h 110081"/>
              <a:gd name="connsiteX92" fmla="*/ 264496 w 604934"/>
              <a:gd name="connsiteY92" fmla="*/ 63161 h 110081"/>
              <a:gd name="connsiteX93" fmla="*/ 268977 w 604934"/>
              <a:gd name="connsiteY93" fmla="*/ 30181 h 110081"/>
              <a:gd name="connsiteX94" fmla="*/ 282983 w 604934"/>
              <a:gd name="connsiteY94" fmla="*/ 8089 h 110081"/>
              <a:gd name="connsiteX95" fmla="*/ 307511 w 604934"/>
              <a:gd name="connsiteY95" fmla="*/ 0 h 110081"/>
              <a:gd name="connsiteX96" fmla="*/ 330044 w 604934"/>
              <a:gd name="connsiteY96" fmla="*/ 5538 h 110081"/>
              <a:gd name="connsiteX97" fmla="*/ 330044 w 604934"/>
              <a:gd name="connsiteY97" fmla="*/ 18855 h 110081"/>
              <a:gd name="connsiteX98" fmla="*/ 307511 w 604934"/>
              <a:gd name="connsiteY98" fmla="*/ 12259 h 110081"/>
              <a:gd name="connsiteX99" fmla="*/ 291948 w 604934"/>
              <a:gd name="connsiteY99" fmla="*/ 17361 h 110081"/>
              <a:gd name="connsiteX100" fmla="*/ 282113 w 604934"/>
              <a:gd name="connsiteY100" fmla="*/ 31238 h 110081"/>
              <a:gd name="connsiteX101" fmla="*/ 277942 w 604934"/>
              <a:gd name="connsiteY101" fmla="*/ 50778 h 110081"/>
              <a:gd name="connsiteX102" fmla="*/ 289271 w 604934"/>
              <a:gd name="connsiteY102" fmla="*/ 40759 h 110081"/>
              <a:gd name="connsiteX103" fmla="*/ 303339 w 604934"/>
              <a:gd name="connsiteY103" fmla="*/ 37523 h 110081"/>
              <a:gd name="connsiteX104" fmla="*/ 320644 w 604934"/>
              <a:gd name="connsiteY104" fmla="*/ 41693 h 110081"/>
              <a:gd name="connsiteX105" fmla="*/ 332907 w 604934"/>
              <a:gd name="connsiteY105" fmla="*/ 53952 h 110081"/>
              <a:gd name="connsiteX106" fmla="*/ 337514 w 604934"/>
              <a:gd name="connsiteY106" fmla="*/ 73491 h 110081"/>
              <a:gd name="connsiteX107" fmla="*/ 301534 w 604934"/>
              <a:gd name="connsiteY107" fmla="*/ 98134 h 110081"/>
              <a:gd name="connsiteX108" fmla="*/ 312303 w 604934"/>
              <a:gd name="connsiteY108" fmla="*/ 95458 h 110081"/>
              <a:gd name="connsiteX109" fmla="*/ 320208 w 604934"/>
              <a:gd name="connsiteY109" fmla="*/ 87244 h 110081"/>
              <a:gd name="connsiteX110" fmla="*/ 323321 w 604934"/>
              <a:gd name="connsiteY110" fmla="*/ 73803 h 110081"/>
              <a:gd name="connsiteX111" fmla="*/ 320333 w 604934"/>
              <a:gd name="connsiteY111" fmla="*/ 60174 h 110081"/>
              <a:gd name="connsiteX112" fmla="*/ 312739 w 604934"/>
              <a:gd name="connsiteY112" fmla="*/ 51961 h 110081"/>
              <a:gd name="connsiteX113" fmla="*/ 303027 w 604934"/>
              <a:gd name="connsiteY113" fmla="*/ 49160 h 110081"/>
              <a:gd name="connsiteX114" fmla="*/ 286470 w 604934"/>
              <a:gd name="connsiteY114" fmla="*/ 55570 h 110081"/>
              <a:gd name="connsiteX115" fmla="*/ 279871 w 604934"/>
              <a:gd name="connsiteY115" fmla="*/ 74114 h 110081"/>
              <a:gd name="connsiteX116" fmla="*/ 285724 w 604934"/>
              <a:gd name="connsiteY116" fmla="*/ 91538 h 110081"/>
              <a:gd name="connsiteX117" fmla="*/ 301534 w 604934"/>
              <a:gd name="connsiteY117" fmla="*/ 98134 h 110081"/>
              <a:gd name="connsiteX118" fmla="*/ 405179 w 604934"/>
              <a:gd name="connsiteY118" fmla="*/ 108588 h 110081"/>
              <a:gd name="connsiteX119" fmla="*/ 392044 w 604934"/>
              <a:gd name="connsiteY119" fmla="*/ 108588 h 110081"/>
              <a:gd name="connsiteX120" fmla="*/ 392044 w 604934"/>
              <a:gd name="connsiteY120" fmla="*/ 83199 h 110081"/>
              <a:gd name="connsiteX121" fmla="*/ 345731 w 604934"/>
              <a:gd name="connsiteY121" fmla="*/ 83199 h 110081"/>
              <a:gd name="connsiteX122" fmla="*/ 345731 w 604934"/>
              <a:gd name="connsiteY122" fmla="*/ 73927 h 110081"/>
              <a:gd name="connsiteX123" fmla="*/ 387562 w 604934"/>
              <a:gd name="connsiteY123" fmla="*/ 1493 h 110081"/>
              <a:gd name="connsiteX124" fmla="*/ 405179 w 604934"/>
              <a:gd name="connsiteY124" fmla="*/ 1493 h 110081"/>
              <a:gd name="connsiteX125" fmla="*/ 405179 w 604934"/>
              <a:gd name="connsiteY125" fmla="*/ 71873 h 110081"/>
              <a:gd name="connsiteX126" fmla="*/ 419682 w 604934"/>
              <a:gd name="connsiteY126" fmla="*/ 71873 h 110081"/>
              <a:gd name="connsiteX127" fmla="*/ 419682 w 604934"/>
              <a:gd name="connsiteY127" fmla="*/ 83199 h 110081"/>
              <a:gd name="connsiteX128" fmla="*/ 405179 w 604934"/>
              <a:gd name="connsiteY128" fmla="*/ 83199 h 110081"/>
              <a:gd name="connsiteX129" fmla="*/ 405179 w 604934"/>
              <a:gd name="connsiteY129" fmla="*/ 108588 h 110081"/>
              <a:gd name="connsiteX130" fmla="*/ 359301 w 604934"/>
              <a:gd name="connsiteY130" fmla="*/ 71873 h 110081"/>
              <a:gd name="connsiteX131" fmla="*/ 392044 w 604934"/>
              <a:gd name="connsiteY131" fmla="*/ 71873 h 110081"/>
              <a:gd name="connsiteX132" fmla="*/ 392044 w 604934"/>
              <a:gd name="connsiteY132" fmla="*/ 16117 h 110081"/>
              <a:gd name="connsiteX133" fmla="*/ 359301 w 604934"/>
              <a:gd name="connsiteY133" fmla="*/ 71873 h 110081"/>
              <a:gd name="connsiteX134" fmla="*/ 436366 w 604934"/>
              <a:gd name="connsiteY134" fmla="*/ 1493 h 110081"/>
              <a:gd name="connsiteX135" fmla="*/ 472408 w 604934"/>
              <a:gd name="connsiteY135" fmla="*/ 1493 h 110081"/>
              <a:gd name="connsiteX136" fmla="*/ 492390 w 604934"/>
              <a:gd name="connsiteY136" fmla="*/ 4044 h 110081"/>
              <a:gd name="connsiteX137" fmla="*/ 508511 w 604934"/>
              <a:gd name="connsiteY137" fmla="*/ 12383 h 110081"/>
              <a:gd name="connsiteX138" fmla="*/ 519280 w 604934"/>
              <a:gd name="connsiteY138" fmla="*/ 27629 h 110081"/>
              <a:gd name="connsiteX139" fmla="*/ 523203 w 604934"/>
              <a:gd name="connsiteY139" fmla="*/ 51401 h 110081"/>
              <a:gd name="connsiteX140" fmla="*/ 516292 w 604934"/>
              <a:gd name="connsiteY140" fmla="*/ 83075 h 110081"/>
              <a:gd name="connsiteX141" fmla="*/ 497805 w 604934"/>
              <a:gd name="connsiteY141" fmla="*/ 102179 h 110081"/>
              <a:gd name="connsiteX142" fmla="*/ 470727 w 604934"/>
              <a:gd name="connsiteY142" fmla="*/ 108588 h 110081"/>
              <a:gd name="connsiteX143" fmla="*/ 436366 w 604934"/>
              <a:gd name="connsiteY143" fmla="*/ 108588 h 110081"/>
              <a:gd name="connsiteX144" fmla="*/ 436366 w 604934"/>
              <a:gd name="connsiteY144" fmla="*/ 1493 h 110081"/>
              <a:gd name="connsiteX145" fmla="*/ 470727 w 604934"/>
              <a:gd name="connsiteY145" fmla="*/ 95893 h 110081"/>
              <a:gd name="connsiteX146" fmla="*/ 490148 w 604934"/>
              <a:gd name="connsiteY146" fmla="*/ 91413 h 110081"/>
              <a:gd name="connsiteX147" fmla="*/ 503159 w 604934"/>
              <a:gd name="connsiteY147" fmla="*/ 77225 h 110081"/>
              <a:gd name="connsiteX148" fmla="*/ 507952 w 604934"/>
              <a:gd name="connsiteY148" fmla="*/ 52458 h 110081"/>
              <a:gd name="connsiteX149" fmla="*/ 503283 w 604934"/>
              <a:gd name="connsiteY149" fmla="*/ 29122 h 110081"/>
              <a:gd name="connsiteX150" fmla="*/ 490584 w 604934"/>
              <a:gd name="connsiteY150" fmla="*/ 17610 h 110081"/>
              <a:gd name="connsiteX151" fmla="*/ 472408 w 604934"/>
              <a:gd name="connsiteY151" fmla="*/ 14374 h 110081"/>
              <a:gd name="connsiteX152" fmla="*/ 450434 w 604934"/>
              <a:gd name="connsiteY152" fmla="*/ 14374 h 110081"/>
              <a:gd name="connsiteX153" fmla="*/ 450434 w 604934"/>
              <a:gd name="connsiteY153" fmla="*/ 95893 h 110081"/>
              <a:gd name="connsiteX154" fmla="*/ 470727 w 604934"/>
              <a:gd name="connsiteY154" fmla="*/ 95893 h 110081"/>
              <a:gd name="connsiteX155" fmla="*/ 604935 w 604934"/>
              <a:gd name="connsiteY155" fmla="*/ 108588 h 110081"/>
              <a:gd name="connsiteX156" fmla="*/ 536648 w 604934"/>
              <a:gd name="connsiteY156" fmla="*/ 108588 h 110081"/>
              <a:gd name="connsiteX157" fmla="*/ 536648 w 604934"/>
              <a:gd name="connsiteY157" fmla="*/ 94400 h 110081"/>
              <a:gd name="connsiteX158" fmla="*/ 562794 w 604934"/>
              <a:gd name="connsiteY158" fmla="*/ 72433 h 110081"/>
              <a:gd name="connsiteX159" fmla="*/ 578791 w 604934"/>
              <a:gd name="connsiteY159" fmla="*/ 56628 h 110081"/>
              <a:gd name="connsiteX160" fmla="*/ 586821 w 604934"/>
              <a:gd name="connsiteY160" fmla="*/ 43933 h 110081"/>
              <a:gd name="connsiteX161" fmla="*/ 589250 w 604934"/>
              <a:gd name="connsiteY161" fmla="*/ 32109 h 110081"/>
              <a:gd name="connsiteX162" fmla="*/ 583709 w 604934"/>
              <a:gd name="connsiteY162" fmla="*/ 17610 h 110081"/>
              <a:gd name="connsiteX163" fmla="*/ 568458 w 604934"/>
              <a:gd name="connsiteY163" fmla="*/ 12383 h 110081"/>
              <a:gd name="connsiteX164" fmla="*/ 539450 w 604934"/>
              <a:gd name="connsiteY164" fmla="*/ 27194 h 110081"/>
              <a:gd name="connsiteX165" fmla="*/ 539450 w 604934"/>
              <a:gd name="connsiteY165" fmla="*/ 12134 h 110081"/>
              <a:gd name="connsiteX166" fmla="*/ 568894 w 604934"/>
              <a:gd name="connsiteY166" fmla="*/ 0 h 110081"/>
              <a:gd name="connsiteX167" fmla="*/ 594291 w 604934"/>
              <a:gd name="connsiteY167" fmla="*/ 8401 h 110081"/>
              <a:gd name="connsiteX168" fmla="*/ 603690 w 604934"/>
              <a:gd name="connsiteY168" fmla="*/ 30803 h 110081"/>
              <a:gd name="connsiteX169" fmla="*/ 601325 w 604934"/>
              <a:gd name="connsiteY169" fmla="*/ 44804 h 110081"/>
              <a:gd name="connsiteX170" fmla="*/ 593233 w 604934"/>
              <a:gd name="connsiteY170" fmla="*/ 58681 h 110081"/>
              <a:gd name="connsiteX171" fmla="*/ 577546 w 604934"/>
              <a:gd name="connsiteY171" fmla="*/ 74860 h 110081"/>
              <a:gd name="connsiteX172" fmla="*/ 552148 w 604934"/>
              <a:gd name="connsiteY172" fmla="*/ 95769 h 110081"/>
              <a:gd name="connsiteX173" fmla="*/ 604935 w 604934"/>
              <a:gd name="connsiteY173" fmla="*/ 95769 h 110081"/>
              <a:gd name="connsiteX174" fmla="*/ 604935 w 604934"/>
              <a:gd name="connsiteY17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04934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37514" y="73491"/>
                </a:moveTo>
                <a:cubicBezTo>
                  <a:pt x="337514" y="80772"/>
                  <a:pt x="335957" y="87182"/>
                  <a:pt x="332783" y="92782"/>
                </a:cubicBezTo>
                <a:cubicBezTo>
                  <a:pt x="329670" y="98258"/>
                  <a:pt x="325438" y="102490"/>
                  <a:pt x="320084" y="105601"/>
                </a:cubicBezTo>
                <a:cubicBezTo>
                  <a:pt x="314669" y="108588"/>
                  <a:pt x="308631" y="110082"/>
                  <a:pt x="301970" y="110082"/>
                </a:cubicBezTo>
                <a:cubicBezTo>
                  <a:pt x="293006" y="110082"/>
                  <a:pt x="285786" y="108091"/>
                  <a:pt x="280307" y="104108"/>
                </a:cubicBezTo>
                <a:cubicBezTo>
                  <a:pt x="274830" y="100125"/>
                  <a:pt x="270783" y="94587"/>
                  <a:pt x="268231" y="87555"/>
                </a:cubicBezTo>
                <a:cubicBezTo>
                  <a:pt x="265740" y="80461"/>
                  <a:pt x="264496" y="72372"/>
                  <a:pt x="264496" y="63161"/>
                </a:cubicBezTo>
                <a:cubicBezTo>
                  <a:pt x="264496" y="50653"/>
                  <a:pt x="265990" y="39639"/>
                  <a:pt x="268977" y="30181"/>
                </a:cubicBezTo>
                <a:cubicBezTo>
                  <a:pt x="272028" y="20722"/>
                  <a:pt x="276759" y="13379"/>
                  <a:pt x="282983" y="8089"/>
                </a:cubicBezTo>
                <a:cubicBezTo>
                  <a:pt x="289395" y="2675"/>
                  <a:pt x="297550" y="0"/>
                  <a:pt x="307511" y="0"/>
                </a:cubicBezTo>
                <a:cubicBezTo>
                  <a:pt x="316100" y="0"/>
                  <a:pt x="323570" y="1866"/>
                  <a:pt x="330044" y="5538"/>
                </a:cubicBezTo>
                <a:lnTo>
                  <a:pt x="330044" y="18855"/>
                </a:lnTo>
                <a:cubicBezTo>
                  <a:pt x="323570" y="14437"/>
                  <a:pt x="316100" y="12259"/>
                  <a:pt x="307511" y="12259"/>
                </a:cubicBezTo>
                <a:cubicBezTo>
                  <a:pt x="301348" y="12259"/>
                  <a:pt x="296181" y="13939"/>
                  <a:pt x="291948" y="17361"/>
                </a:cubicBezTo>
                <a:cubicBezTo>
                  <a:pt x="287777" y="20722"/>
                  <a:pt x="284477" y="25327"/>
                  <a:pt x="282113" y="31238"/>
                </a:cubicBezTo>
                <a:cubicBezTo>
                  <a:pt x="279809" y="37026"/>
                  <a:pt x="278439" y="43498"/>
                  <a:pt x="277942" y="50778"/>
                </a:cubicBezTo>
                <a:cubicBezTo>
                  <a:pt x="281240" y="46298"/>
                  <a:pt x="284976" y="42999"/>
                  <a:pt x="289271" y="40759"/>
                </a:cubicBezTo>
                <a:cubicBezTo>
                  <a:pt x="293567" y="38581"/>
                  <a:pt x="298236" y="37523"/>
                  <a:pt x="303339" y="37523"/>
                </a:cubicBezTo>
                <a:cubicBezTo>
                  <a:pt x="309813" y="37523"/>
                  <a:pt x="315602" y="38893"/>
                  <a:pt x="320644" y="41693"/>
                </a:cubicBezTo>
                <a:cubicBezTo>
                  <a:pt x="325812" y="44493"/>
                  <a:pt x="329919" y="48538"/>
                  <a:pt x="332907" y="53952"/>
                </a:cubicBezTo>
                <a:cubicBezTo>
                  <a:pt x="336020" y="59179"/>
                  <a:pt x="337514" y="65713"/>
                  <a:pt x="337514" y="73491"/>
                </a:cubicBezTo>
                <a:close/>
                <a:moveTo>
                  <a:pt x="301534" y="98134"/>
                </a:moveTo>
                <a:cubicBezTo>
                  <a:pt x="305394" y="98134"/>
                  <a:pt x="309005" y="97263"/>
                  <a:pt x="312303" y="95458"/>
                </a:cubicBezTo>
                <a:cubicBezTo>
                  <a:pt x="315602" y="93529"/>
                  <a:pt x="318217" y="90791"/>
                  <a:pt x="320208" y="87244"/>
                </a:cubicBezTo>
                <a:cubicBezTo>
                  <a:pt x="322325" y="83635"/>
                  <a:pt x="323321" y="79154"/>
                  <a:pt x="323321" y="73803"/>
                </a:cubicBezTo>
                <a:cubicBezTo>
                  <a:pt x="323321" y="68389"/>
                  <a:pt x="322325" y="63908"/>
                  <a:pt x="320333" y="60174"/>
                </a:cubicBezTo>
                <a:cubicBezTo>
                  <a:pt x="318342" y="56503"/>
                  <a:pt x="315851" y="53765"/>
                  <a:pt x="312739" y="51961"/>
                </a:cubicBezTo>
                <a:cubicBezTo>
                  <a:pt x="309626" y="50093"/>
                  <a:pt x="306389" y="49160"/>
                  <a:pt x="303027" y="49160"/>
                </a:cubicBezTo>
                <a:cubicBezTo>
                  <a:pt x="296430" y="49160"/>
                  <a:pt x="290952" y="51276"/>
                  <a:pt x="286470" y="55570"/>
                </a:cubicBezTo>
                <a:cubicBezTo>
                  <a:pt x="282050" y="59739"/>
                  <a:pt x="279871" y="65900"/>
                  <a:pt x="279871" y="74114"/>
                </a:cubicBezTo>
                <a:cubicBezTo>
                  <a:pt x="279871" y="81270"/>
                  <a:pt x="281801" y="87058"/>
                  <a:pt x="285724" y="91538"/>
                </a:cubicBezTo>
                <a:cubicBezTo>
                  <a:pt x="289582" y="95956"/>
                  <a:pt x="294874" y="98134"/>
                  <a:pt x="301534" y="98134"/>
                </a:cubicBezTo>
                <a:close/>
                <a:moveTo>
                  <a:pt x="405179" y="108588"/>
                </a:moveTo>
                <a:lnTo>
                  <a:pt x="392044" y="108588"/>
                </a:lnTo>
                <a:lnTo>
                  <a:pt x="392044" y="83199"/>
                </a:lnTo>
                <a:lnTo>
                  <a:pt x="345731" y="83199"/>
                </a:lnTo>
                <a:lnTo>
                  <a:pt x="345731" y="73927"/>
                </a:lnTo>
                <a:lnTo>
                  <a:pt x="387562" y="1493"/>
                </a:lnTo>
                <a:lnTo>
                  <a:pt x="405179" y="1493"/>
                </a:lnTo>
                <a:lnTo>
                  <a:pt x="405179" y="71873"/>
                </a:lnTo>
                <a:lnTo>
                  <a:pt x="419682" y="71873"/>
                </a:lnTo>
                <a:lnTo>
                  <a:pt x="419682" y="83199"/>
                </a:lnTo>
                <a:lnTo>
                  <a:pt x="405179" y="83199"/>
                </a:lnTo>
                <a:lnTo>
                  <a:pt x="405179" y="108588"/>
                </a:lnTo>
                <a:close/>
                <a:moveTo>
                  <a:pt x="359301" y="71873"/>
                </a:moveTo>
                <a:lnTo>
                  <a:pt x="392044" y="71873"/>
                </a:lnTo>
                <a:lnTo>
                  <a:pt x="392044" y="16117"/>
                </a:lnTo>
                <a:lnTo>
                  <a:pt x="359301" y="71873"/>
                </a:lnTo>
                <a:close/>
                <a:moveTo>
                  <a:pt x="436366" y="1493"/>
                </a:moveTo>
                <a:lnTo>
                  <a:pt x="472408" y="1493"/>
                </a:lnTo>
                <a:cubicBezTo>
                  <a:pt x="479566" y="1493"/>
                  <a:pt x="486227" y="2365"/>
                  <a:pt x="492390" y="4044"/>
                </a:cubicBezTo>
                <a:cubicBezTo>
                  <a:pt x="498552" y="5725"/>
                  <a:pt x="503967" y="8525"/>
                  <a:pt x="508511" y="12383"/>
                </a:cubicBezTo>
                <a:cubicBezTo>
                  <a:pt x="513118" y="16179"/>
                  <a:pt x="516729" y="21282"/>
                  <a:pt x="519280" y="27629"/>
                </a:cubicBezTo>
                <a:cubicBezTo>
                  <a:pt x="521896" y="34039"/>
                  <a:pt x="523203" y="41942"/>
                  <a:pt x="523203" y="51401"/>
                </a:cubicBezTo>
                <a:cubicBezTo>
                  <a:pt x="523203" y="63908"/>
                  <a:pt x="520899" y="74487"/>
                  <a:pt x="516292" y="83075"/>
                </a:cubicBezTo>
                <a:cubicBezTo>
                  <a:pt x="511811" y="91538"/>
                  <a:pt x="505648" y="97885"/>
                  <a:pt x="497805" y="102179"/>
                </a:cubicBezTo>
                <a:cubicBezTo>
                  <a:pt x="489899" y="106473"/>
                  <a:pt x="480873" y="108588"/>
                  <a:pt x="470727" y="108588"/>
                </a:cubicBez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470727" y="95893"/>
                </a:moveTo>
                <a:cubicBezTo>
                  <a:pt x="478135" y="95893"/>
                  <a:pt x="484609" y="94400"/>
                  <a:pt x="490148" y="91413"/>
                </a:cubicBezTo>
                <a:cubicBezTo>
                  <a:pt x="495751" y="88302"/>
                  <a:pt x="500046" y="83572"/>
                  <a:pt x="503159" y="77225"/>
                </a:cubicBezTo>
                <a:cubicBezTo>
                  <a:pt x="506334" y="70754"/>
                  <a:pt x="507952" y="62477"/>
                  <a:pt x="507952" y="52458"/>
                </a:cubicBezTo>
                <a:cubicBezTo>
                  <a:pt x="507952" y="42377"/>
                  <a:pt x="506396" y="34599"/>
                  <a:pt x="503283" y="29122"/>
                </a:cubicBezTo>
                <a:cubicBezTo>
                  <a:pt x="500233" y="23646"/>
                  <a:pt x="495999" y="19851"/>
                  <a:pt x="490584" y="17610"/>
                </a:cubicBezTo>
                <a:cubicBezTo>
                  <a:pt x="485355" y="15433"/>
                  <a:pt x="479255" y="14374"/>
                  <a:pt x="472408" y="14374"/>
                </a:cubicBezTo>
                <a:lnTo>
                  <a:pt x="450434" y="14374"/>
                </a:lnTo>
                <a:lnTo>
                  <a:pt x="450434" y="95893"/>
                </a:lnTo>
                <a:lnTo>
                  <a:pt x="470727" y="95893"/>
                </a:lnTo>
                <a:close/>
                <a:moveTo>
                  <a:pt x="604935" y="108588"/>
                </a:moveTo>
                <a:lnTo>
                  <a:pt x="536648" y="108588"/>
                </a:lnTo>
                <a:lnTo>
                  <a:pt x="536648" y="94400"/>
                </a:lnTo>
                <a:cubicBezTo>
                  <a:pt x="547292" y="85812"/>
                  <a:pt x="556008" y="78532"/>
                  <a:pt x="562794" y="72433"/>
                </a:cubicBezTo>
                <a:cubicBezTo>
                  <a:pt x="569640" y="66397"/>
                  <a:pt x="574994" y="61108"/>
                  <a:pt x="578791" y="56628"/>
                </a:cubicBezTo>
                <a:cubicBezTo>
                  <a:pt x="582651" y="52023"/>
                  <a:pt x="585327" y="47791"/>
                  <a:pt x="586821" y="43933"/>
                </a:cubicBezTo>
                <a:cubicBezTo>
                  <a:pt x="588440" y="40012"/>
                  <a:pt x="589250" y="36092"/>
                  <a:pt x="589250" y="32109"/>
                </a:cubicBezTo>
                <a:cubicBezTo>
                  <a:pt x="589250" y="25949"/>
                  <a:pt x="587382" y="21095"/>
                  <a:pt x="583709" y="17610"/>
                </a:cubicBezTo>
                <a:cubicBezTo>
                  <a:pt x="580035" y="14125"/>
                  <a:pt x="574932" y="12383"/>
                  <a:pt x="568458" y="12383"/>
                </a:cubicBezTo>
                <a:cubicBezTo>
                  <a:pt x="558125" y="12383"/>
                  <a:pt x="548414" y="17361"/>
                  <a:pt x="539450" y="27194"/>
                </a:cubicBezTo>
                <a:lnTo>
                  <a:pt x="539450" y="12134"/>
                </a:lnTo>
                <a:cubicBezTo>
                  <a:pt x="547728" y="4044"/>
                  <a:pt x="557564" y="0"/>
                  <a:pt x="568894" y="0"/>
                </a:cubicBezTo>
                <a:cubicBezTo>
                  <a:pt x="579663" y="0"/>
                  <a:pt x="588128" y="2800"/>
                  <a:pt x="594291" y="8401"/>
                </a:cubicBezTo>
                <a:cubicBezTo>
                  <a:pt x="600578" y="13877"/>
                  <a:pt x="603690" y="21344"/>
                  <a:pt x="603690" y="30803"/>
                </a:cubicBezTo>
                <a:cubicBezTo>
                  <a:pt x="603690" y="35657"/>
                  <a:pt x="602944" y="40324"/>
                  <a:pt x="601325" y="44804"/>
                </a:cubicBezTo>
                <a:cubicBezTo>
                  <a:pt x="599832" y="49222"/>
                  <a:pt x="597154" y="53827"/>
                  <a:pt x="593233" y="58681"/>
                </a:cubicBezTo>
                <a:cubicBezTo>
                  <a:pt x="589497" y="63473"/>
                  <a:pt x="584269" y="68887"/>
                  <a:pt x="577546" y="74860"/>
                </a:cubicBezTo>
                <a:cubicBezTo>
                  <a:pt x="570885" y="80835"/>
                  <a:pt x="562420" y="87804"/>
                  <a:pt x="552148" y="95769"/>
                </a:cubicBezTo>
                <a:lnTo>
                  <a:pt x="604935" y="95769"/>
                </a:lnTo>
                <a:lnTo>
                  <a:pt x="604935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4" name="Полилиния 953">
            <a:extLst>
              <a:ext uri="{FF2B5EF4-FFF2-40B4-BE49-F238E27FC236}">
                <a16:creationId xmlns:a16="http://schemas.microsoft.com/office/drawing/2014/main" id="{7FD02029-3CEF-32EC-0528-4EF6E751B45A}"/>
              </a:ext>
            </a:extLst>
          </p:cNvPr>
          <p:cNvSpPr/>
          <p:nvPr userDrawn="1"/>
        </p:nvSpPr>
        <p:spPr>
          <a:xfrm>
            <a:off x="9547358" y="6692525"/>
            <a:ext cx="2557159" cy="726227"/>
          </a:xfrm>
          <a:custGeom>
            <a:avLst/>
            <a:gdLst>
              <a:gd name="connsiteX0" fmla="*/ 2604 w 2191162"/>
              <a:gd name="connsiteY0" fmla="*/ 1422 h 622284"/>
              <a:gd name="connsiteX1" fmla="*/ 2193767 w 2191162"/>
              <a:gd name="connsiteY1" fmla="*/ 1422 h 622284"/>
              <a:gd name="connsiteX2" fmla="*/ 2193767 w 2191162"/>
              <a:gd name="connsiteY2" fmla="*/ 623706 h 622284"/>
              <a:gd name="connsiteX3" fmla="*/ 2604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422"/>
                </a:moveTo>
                <a:lnTo>
                  <a:pt x="2193767" y="1422"/>
                </a:lnTo>
                <a:lnTo>
                  <a:pt x="2193767" y="623706"/>
                </a:lnTo>
                <a:lnTo>
                  <a:pt x="2604" y="623706"/>
                </a:lnTo>
                <a:close/>
              </a:path>
            </a:pathLst>
          </a:custGeom>
          <a:solidFill>
            <a:srgbClr val="0F7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5" name="Полилиния 954">
            <a:extLst>
              <a:ext uri="{FF2B5EF4-FFF2-40B4-BE49-F238E27FC236}">
                <a16:creationId xmlns:a16="http://schemas.microsoft.com/office/drawing/2014/main" id="{DE9F5C1C-166D-83CF-0E04-579CE9FD88B6}"/>
              </a:ext>
            </a:extLst>
          </p:cNvPr>
          <p:cNvSpPr/>
          <p:nvPr userDrawn="1"/>
        </p:nvSpPr>
        <p:spPr>
          <a:xfrm>
            <a:off x="9670565" y="6994273"/>
            <a:ext cx="687963" cy="128468"/>
          </a:xfrm>
          <a:custGeom>
            <a:avLst/>
            <a:gdLst>
              <a:gd name="connsiteX0" fmla="*/ 22099 w 589497"/>
              <a:gd name="connsiteY0" fmla="*/ 108588 h 110081"/>
              <a:gd name="connsiteX1" fmla="*/ 10147 w 589497"/>
              <a:gd name="connsiteY1" fmla="*/ 108588 h 110081"/>
              <a:gd name="connsiteX2" fmla="*/ 16435 w 589497"/>
              <a:gd name="connsiteY2" fmla="*/ 77661 h 110081"/>
              <a:gd name="connsiteX3" fmla="*/ 0 w 589497"/>
              <a:gd name="connsiteY3" fmla="*/ 77661 h 110081"/>
              <a:gd name="connsiteX4" fmla="*/ 0 w 589497"/>
              <a:gd name="connsiteY4" fmla="*/ 67206 h 110081"/>
              <a:gd name="connsiteX5" fmla="*/ 18675 w 589497"/>
              <a:gd name="connsiteY5" fmla="*/ 67206 h 110081"/>
              <a:gd name="connsiteX6" fmla="*/ 24216 w 589497"/>
              <a:gd name="connsiteY6" fmla="*/ 40012 h 110081"/>
              <a:gd name="connsiteX7" fmla="*/ 4047 w 589497"/>
              <a:gd name="connsiteY7" fmla="*/ 40012 h 110081"/>
              <a:gd name="connsiteX8" fmla="*/ 4047 w 589497"/>
              <a:gd name="connsiteY8" fmla="*/ 29559 h 110081"/>
              <a:gd name="connsiteX9" fmla="*/ 26269 w 589497"/>
              <a:gd name="connsiteY9" fmla="*/ 29559 h 110081"/>
              <a:gd name="connsiteX10" fmla="*/ 32121 w 589497"/>
              <a:gd name="connsiteY10" fmla="*/ 1493 h 110081"/>
              <a:gd name="connsiteX11" fmla="*/ 44073 w 589497"/>
              <a:gd name="connsiteY11" fmla="*/ 1493 h 110081"/>
              <a:gd name="connsiteX12" fmla="*/ 38222 w 589497"/>
              <a:gd name="connsiteY12" fmla="*/ 29559 h 110081"/>
              <a:gd name="connsiteX13" fmla="*/ 60630 w 589497"/>
              <a:gd name="connsiteY13" fmla="*/ 29559 h 110081"/>
              <a:gd name="connsiteX14" fmla="*/ 66481 w 589497"/>
              <a:gd name="connsiteY14" fmla="*/ 1493 h 110081"/>
              <a:gd name="connsiteX15" fmla="*/ 78434 w 589497"/>
              <a:gd name="connsiteY15" fmla="*/ 1493 h 110081"/>
              <a:gd name="connsiteX16" fmla="*/ 72583 w 589497"/>
              <a:gd name="connsiteY16" fmla="*/ 29559 h 110081"/>
              <a:gd name="connsiteX17" fmla="*/ 89328 w 589497"/>
              <a:gd name="connsiteY17" fmla="*/ 29559 h 110081"/>
              <a:gd name="connsiteX18" fmla="*/ 89328 w 589497"/>
              <a:gd name="connsiteY18" fmla="*/ 40012 h 110081"/>
              <a:gd name="connsiteX19" fmla="*/ 70529 w 589497"/>
              <a:gd name="connsiteY19" fmla="*/ 40012 h 110081"/>
              <a:gd name="connsiteX20" fmla="*/ 64988 w 589497"/>
              <a:gd name="connsiteY20" fmla="*/ 67206 h 110081"/>
              <a:gd name="connsiteX21" fmla="*/ 85281 w 589497"/>
              <a:gd name="connsiteY21" fmla="*/ 67206 h 110081"/>
              <a:gd name="connsiteX22" fmla="*/ 85281 w 589497"/>
              <a:gd name="connsiteY22" fmla="*/ 77661 h 110081"/>
              <a:gd name="connsiteX23" fmla="*/ 62747 w 589497"/>
              <a:gd name="connsiteY23" fmla="*/ 77661 h 110081"/>
              <a:gd name="connsiteX24" fmla="*/ 56460 w 589497"/>
              <a:gd name="connsiteY24" fmla="*/ 108588 h 110081"/>
              <a:gd name="connsiteX25" fmla="*/ 44509 w 589497"/>
              <a:gd name="connsiteY25" fmla="*/ 108588 h 110081"/>
              <a:gd name="connsiteX26" fmla="*/ 50796 w 589497"/>
              <a:gd name="connsiteY26" fmla="*/ 77661 h 110081"/>
              <a:gd name="connsiteX27" fmla="*/ 28386 w 589497"/>
              <a:gd name="connsiteY27" fmla="*/ 77661 h 110081"/>
              <a:gd name="connsiteX28" fmla="*/ 22099 w 589497"/>
              <a:gd name="connsiteY28" fmla="*/ 108588 h 110081"/>
              <a:gd name="connsiteX29" fmla="*/ 30626 w 589497"/>
              <a:gd name="connsiteY29" fmla="*/ 67206 h 110081"/>
              <a:gd name="connsiteX30" fmla="*/ 53036 w 589497"/>
              <a:gd name="connsiteY30" fmla="*/ 67206 h 110081"/>
              <a:gd name="connsiteX31" fmla="*/ 58577 w 589497"/>
              <a:gd name="connsiteY31" fmla="*/ 40012 h 110081"/>
              <a:gd name="connsiteX32" fmla="*/ 36167 w 589497"/>
              <a:gd name="connsiteY32" fmla="*/ 40012 h 110081"/>
              <a:gd name="connsiteX33" fmla="*/ 30626 w 589497"/>
              <a:gd name="connsiteY33" fmla="*/ 67206 h 110081"/>
              <a:gd name="connsiteX34" fmla="*/ 136636 w 589497"/>
              <a:gd name="connsiteY34" fmla="*/ 110082 h 110081"/>
              <a:gd name="connsiteX35" fmla="*/ 118460 w 589497"/>
              <a:gd name="connsiteY35" fmla="*/ 104233 h 110081"/>
              <a:gd name="connsiteX36" fmla="*/ 105761 w 589497"/>
              <a:gd name="connsiteY36" fmla="*/ 86311 h 110081"/>
              <a:gd name="connsiteX37" fmla="*/ 101279 w 589497"/>
              <a:gd name="connsiteY37" fmla="*/ 54947 h 110081"/>
              <a:gd name="connsiteX38" fmla="*/ 105761 w 589497"/>
              <a:gd name="connsiteY38" fmla="*/ 23584 h 110081"/>
              <a:gd name="connsiteX39" fmla="*/ 118460 w 589497"/>
              <a:gd name="connsiteY39" fmla="*/ 5849 h 110081"/>
              <a:gd name="connsiteX40" fmla="*/ 136636 w 589497"/>
              <a:gd name="connsiteY40" fmla="*/ 186 h 110081"/>
              <a:gd name="connsiteX41" fmla="*/ 154752 w 589497"/>
              <a:gd name="connsiteY41" fmla="*/ 5849 h 110081"/>
              <a:gd name="connsiteX42" fmla="*/ 167139 w 589497"/>
              <a:gd name="connsiteY42" fmla="*/ 23584 h 110081"/>
              <a:gd name="connsiteX43" fmla="*/ 171621 w 589497"/>
              <a:gd name="connsiteY43" fmla="*/ 54698 h 110081"/>
              <a:gd name="connsiteX44" fmla="*/ 167139 w 589497"/>
              <a:gd name="connsiteY44" fmla="*/ 86062 h 110081"/>
              <a:gd name="connsiteX45" fmla="*/ 154752 w 589497"/>
              <a:gd name="connsiteY45" fmla="*/ 104233 h 110081"/>
              <a:gd name="connsiteX46" fmla="*/ 136636 w 589497"/>
              <a:gd name="connsiteY46" fmla="*/ 110082 h 110081"/>
              <a:gd name="connsiteX47" fmla="*/ 136512 w 589497"/>
              <a:gd name="connsiteY47" fmla="*/ 98258 h 110081"/>
              <a:gd name="connsiteX48" fmla="*/ 147841 w 589497"/>
              <a:gd name="connsiteY48" fmla="*/ 94275 h 110081"/>
              <a:gd name="connsiteX49" fmla="*/ 155063 w 589497"/>
              <a:gd name="connsiteY49" fmla="*/ 80648 h 110081"/>
              <a:gd name="connsiteX50" fmla="*/ 157552 w 589497"/>
              <a:gd name="connsiteY50" fmla="*/ 55134 h 110081"/>
              <a:gd name="connsiteX51" fmla="*/ 155186 w 589497"/>
              <a:gd name="connsiteY51" fmla="*/ 29745 h 110081"/>
              <a:gd name="connsiteX52" fmla="*/ 148028 w 589497"/>
              <a:gd name="connsiteY52" fmla="*/ 16117 h 110081"/>
              <a:gd name="connsiteX53" fmla="*/ 136636 w 589497"/>
              <a:gd name="connsiteY53" fmla="*/ 11947 h 110081"/>
              <a:gd name="connsiteX54" fmla="*/ 125183 w 589497"/>
              <a:gd name="connsiteY54" fmla="*/ 16117 h 110081"/>
              <a:gd name="connsiteX55" fmla="*/ 117837 w 589497"/>
              <a:gd name="connsiteY55" fmla="*/ 29745 h 110081"/>
              <a:gd name="connsiteX56" fmla="*/ 115285 w 589497"/>
              <a:gd name="connsiteY56" fmla="*/ 55134 h 110081"/>
              <a:gd name="connsiteX57" fmla="*/ 117714 w 589497"/>
              <a:gd name="connsiteY57" fmla="*/ 80648 h 110081"/>
              <a:gd name="connsiteX58" fmla="*/ 124996 w 589497"/>
              <a:gd name="connsiteY58" fmla="*/ 94275 h 110081"/>
              <a:gd name="connsiteX59" fmla="*/ 136512 w 589497"/>
              <a:gd name="connsiteY59" fmla="*/ 98258 h 110081"/>
              <a:gd name="connsiteX60" fmla="*/ 189984 w 589497"/>
              <a:gd name="connsiteY60" fmla="*/ 1493 h 110081"/>
              <a:gd name="connsiteX61" fmla="*/ 255408 w 589497"/>
              <a:gd name="connsiteY61" fmla="*/ 1493 h 110081"/>
              <a:gd name="connsiteX62" fmla="*/ 255408 w 589497"/>
              <a:gd name="connsiteY62" fmla="*/ 14374 h 110081"/>
              <a:gd name="connsiteX63" fmla="*/ 203990 w 589497"/>
              <a:gd name="connsiteY63" fmla="*/ 14374 h 110081"/>
              <a:gd name="connsiteX64" fmla="*/ 203990 w 589497"/>
              <a:gd name="connsiteY64" fmla="*/ 49907 h 110081"/>
              <a:gd name="connsiteX65" fmla="*/ 247627 w 589497"/>
              <a:gd name="connsiteY65" fmla="*/ 49907 h 110081"/>
              <a:gd name="connsiteX66" fmla="*/ 247627 w 589497"/>
              <a:gd name="connsiteY66" fmla="*/ 62601 h 110081"/>
              <a:gd name="connsiteX67" fmla="*/ 203990 w 589497"/>
              <a:gd name="connsiteY67" fmla="*/ 62601 h 110081"/>
              <a:gd name="connsiteX68" fmla="*/ 203990 w 589497"/>
              <a:gd name="connsiteY68" fmla="*/ 108588 h 110081"/>
              <a:gd name="connsiteX69" fmla="*/ 189984 w 589497"/>
              <a:gd name="connsiteY69" fmla="*/ 108588 h 110081"/>
              <a:gd name="connsiteX70" fmla="*/ 189984 w 589497"/>
              <a:gd name="connsiteY70" fmla="*/ 1493 h 110081"/>
              <a:gd name="connsiteX71" fmla="*/ 337950 w 589497"/>
              <a:gd name="connsiteY71" fmla="*/ 13628 h 110081"/>
              <a:gd name="connsiteX72" fmla="*/ 292508 w 589497"/>
              <a:gd name="connsiteY72" fmla="*/ 108588 h 110081"/>
              <a:gd name="connsiteX73" fmla="*/ 277880 w 589497"/>
              <a:gd name="connsiteY73" fmla="*/ 108588 h 110081"/>
              <a:gd name="connsiteX74" fmla="*/ 323570 w 589497"/>
              <a:gd name="connsiteY74" fmla="*/ 14374 h 110081"/>
              <a:gd name="connsiteX75" fmla="*/ 269040 w 589497"/>
              <a:gd name="connsiteY75" fmla="*/ 14374 h 110081"/>
              <a:gd name="connsiteX76" fmla="*/ 269040 w 589497"/>
              <a:gd name="connsiteY76" fmla="*/ 1493 h 110081"/>
              <a:gd name="connsiteX77" fmla="*/ 337950 w 589497"/>
              <a:gd name="connsiteY77" fmla="*/ 1493 h 110081"/>
              <a:gd name="connsiteX78" fmla="*/ 337950 w 589497"/>
              <a:gd name="connsiteY78" fmla="*/ 13628 h 110081"/>
              <a:gd name="connsiteX79" fmla="*/ 369261 w 589497"/>
              <a:gd name="connsiteY79" fmla="*/ 58992 h 110081"/>
              <a:gd name="connsiteX80" fmla="*/ 369261 w 589497"/>
              <a:gd name="connsiteY80" fmla="*/ 46298 h 110081"/>
              <a:gd name="connsiteX81" fmla="*/ 383579 w 589497"/>
              <a:gd name="connsiteY81" fmla="*/ 46298 h 110081"/>
              <a:gd name="connsiteX82" fmla="*/ 397211 w 589497"/>
              <a:gd name="connsiteY82" fmla="*/ 41817 h 110081"/>
              <a:gd name="connsiteX83" fmla="*/ 402563 w 589497"/>
              <a:gd name="connsiteY83" fmla="*/ 28812 h 110081"/>
              <a:gd name="connsiteX84" fmla="*/ 397647 w 589497"/>
              <a:gd name="connsiteY84" fmla="*/ 16864 h 110081"/>
              <a:gd name="connsiteX85" fmla="*/ 383454 w 589497"/>
              <a:gd name="connsiteY85" fmla="*/ 12383 h 110081"/>
              <a:gd name="connsiteX86" fmla="*/ 368825 w 589497"/>
              <a:gd name="connsiteY86" fmla="*/ 15246 h 110081"/>
              <a:gd name="connsiteX87" fmla="*/ 354757 w 589497"/>
              <a:gd name="connsiteY87" fmla="*/ 24331 h 110081"/>
              <a:gd name="connsiteX88" fmla="*/ 354757 w 589497"/>
              <a:gd name="connsiteY88" fmla="*/ 9707 h 110081"/>
              <a:gd name="connsiteX89" fmla="*/ 383579 w 589497"/>
              <a:gd name="connsiteY89" fmla="*/ 0 h 110081"/>
              <a:gd name="connsiteX90" fmla="*/ 407668 w 589497"/>
              <a:gd name="connsiteY90" fmla="*/ 7779 h 110081"/>
              <a:gd name="connsiteX91" fmla="*/ 416446 w 589497"/>
              <a:gd name="connsiteY91" fmla="*/ 28065 h 110081"/>
              <a:gd name="connsiteX92" fmla="*/ 410781 w 589497"/>
              <a:gd name="connsiteY92" fmla="*/ 44244 h 110081"/>
              <a:gd name="connsiteX93" fmla="*/ 397522 w 589497"/>
              <a:gd name="connsiteY93" fmla="*/ 52147 h 110081"/>
              <a:gd name="connsiteX94" fmla="*/ 408975 w 589497"/>
              <a:gd name="connsiteY94" fmla="*/ 56441 h 110081"/>
              <a:gd name="connsiteX95" fmla="*/ 417691 w 589497"/>
              <a:gd name="connsiteY95" fmla="*/ 65153 h 110081"/>
              <a:gd name="connsiteX96" fmla="*/ 420928 w 589497"/>
              <a:gd name="connsiteY96" fmla="*/ 77661 h 110081"/>
              <a:gd name="connsiteX97" fmla="*/ 416010 w 589497"/>
              <a:gd name="connsiteY97" fmla="*/ 94836 h 110081"/>
              <a:gd name="connsiteX98" fmla="*/ 402440 w 589497"/>
              <a:gd name="connsiteY98" fmla="*/ 106224 h 110081"/>
              <a:gd name="connsiteX99" fmla="*/ 382582 w 589497"/>
              <a:gd name="connsiteY99" fmla="*/ 110082 h 110081"/>
              <a:gd name="connsiteX100" fmla="*/ 352080 w 589497"/>
              <a:gd name="connsiteY100" fmla="*/ 100997 h 110081"/>
              <a:gd name="connsiteX101" fmla="*/ 352080 w 589497"/>
              <a:gd name="connsiteY101" fmla="*/ 86062 h 110081"/>
              <a:gd name="connsiteX102" fmla="*/ 365837 w 589497"/>
              <a:gd name="connsiteY102" fmla="*/ 94711 h 110081"/>
              <a:gd name="connsiteX103" fmla="*/ 382706 w 589497"/>
              <a:gd name="connsiteY103" fmla="*/ 97823 h 110081"/>
              <a:gd name="connsiteX104" fmla="*/ 400012 w 589497"/>
              <a:gd name="connsiteY104" fmla="*/ 92596 h 110081"/>
              <a:gd name="connsiteX105" fmla="*/ 406486 w 589497"/>
              <a:gd name="connsiteY105" fmla="*/ 77972 h 110081"/>
              <a:gd name="connsiteX106" fmla="*/ 400635 w 589497"/>
              <a:gd name="connsiteY106" fmla="*/ 64095 h 110081"/>
              <a:gd name="connsiteX107" fmla="*/ 383018 w 589497"/>
              <a:gd name="connsiteY107" fmla="*/ 58992 h 110081"/>
              <a:gd name="connsiteX108" fmla="*/ 369261 w 589497"/>
              <a:gd name="connsiteY108" fmla="*/ 58992 h 110081"/>
              <a:gd name="connsiteX109" fmla="*/ 439167 w 589497"/>
              <a:gd name="connsiteY109" fmla="*/ 1493 h 110081"/>
              <a:gd name="connsiteX110" fmla="*/ 504590 w 589497"/>
              <a:gd name="connsiteY110" fmla="*/ 1493 h 110081"/>
              <a:gd name="connsiteX111" fmla="*/ 504590 w 589497"/>
              <a:gd name="connsiteY111" fmla="*/ 14374 h 110081"/>
              <a:gd name="connsiteX112" fmla="*/ 453173 w 589497"/>
              <a:gd name="connsiteY112" fmla="*/ 14374 h 110081"/>
              <a:gd name="connsiteX113" fmla="*/ 453173 w 589497"/>
              <a:gd name="connsiteY113" fmla="*/ 49907 h 110081"/>
              <a:gd name="connsiteX114" fmla="*/ 496809 w 589497"/>
              <a:gd name="connsiteY114" fmla="*/ 49907 h 110081"/>
              <a:gd name="connsiteX115" fmla="*/ 496809 w 589497"/>
              <a:gd name="connsiteY115" fmla="*/ 62601 h 110081"/>
              <a:gd name="connsiteX116" fmla="*/ 453173 w 589497"/>
              <a:gd name="connsiteY116" fmla="*/ 62601 h 110081"/>
              <a:gd name="connsiteX117" fmla="*/ 453173 w 589497"/>
              <a:gd name="connsiteY117" fmla="*/ 108588 h 110081"/>
              <a:gd name="connsiteX118" fmla="*/ 439167 w 589497"/>
              <a:gd name="connsiteY118" fmla="*/ 108588 h 110081"/>
              <a:gd name="connsiteX119" fmla="*/ 439167 w 589497"/>
              <a:gd name="connsiteY119" fmla="*/ 1493 h 110081"/>
              <a:gd name="connsiteX120" fmla="*/ 524074 w 589497"/>
              <a:gd name="connsiteY120" fmla="*/ 1493 h 110081"/>
              <a:gd name="connsiteX121" fmla="*/ 589497 w 589497"/>
              <a:gd name="connsiteY121" fmla="*/ 1493 h 110081"/>
              <a:gd name="connsiteX122" fmla="*/ 589497 w 589497"/>
              <a:gd name="connsiteY122" fmla="*/ 14374 h 110081"/>
              <a:gd name="connsiteX123" fmla="*/ 538080 w 589497"/>
              <a:gd name="connsiteY123" fmla="*/ 14374 h 110081"/>
              <a:gd name="connsiteX124" fmla="*/ 538080 w 589497"/>
              <a:gd name="connsiteY124" fmla="*/ 49907 h 110081"/>
              <a:gd name="connsiteX125" fmla="*/ 581716 w 589497"/>
              <a:gd name="connsiteY125" fmla="*/ 49907 h 110081"/>
              <a:gd name="connsiteX126" fmla="*/ 581716 w 589497"/>
              <a:gd name="connsiteY126" fmla="*/ 62601 h 110081"/>
              <a:gd name="connsiteX127" fmla="*/ 538080 w 589497"/>
              <a:gd name="connsiteY127" fmla="*/ 62601 h 110081"/>
              <a:gd name="connsiteX128" fmla="*/ 538080 w 589497"/>
              <a:gd name="connsiteY128" fmla="*/ 108588 h 110081"/>
              <a:gd name="connsiteX129" fmla="*/ 524074 w 589497"/>
              <a:gd name="connsiteY129" fmla="*/ 108588 h 110081"/>
              <a:gd name="connsiteX130" fmla="*/ 524074 w 589497"/>
              <a:gd name="connsiteY130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58949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189984" y="1493"/>
                </a:moveTo>
                <a:lnTo>
                  <a:pt x="255408" y="1493"/>
                </a:lnTo>
                <a:lnTo>
                  <a:pt x="255408" y="14374"/>
                </a:lnTo>
                <a:lnTo>
                  <a:pt x="203990" y="14374"/>
                </a:lnTo>
                <a:lnTo>
                  <a:pt x="203990" y="49907"/>
                </a:lnTo>
                <a:lnTo>
                  <a:pt x="247627" y="49907"/>
                </a:lnTo>
                <a:lnTo>
                  <a:pt x="247627" y="62601"/>
                </a:lnTo>
                <a:lnTo>
                  <a:pt x="203990" y="62601"/>
                </a:lnTo>
                <a:lnTo>
                  <a:pt x="203990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37950" y="13628"/>
                </a:moveTo>
                <a:lnTo>
                  <a:pt x="292508" y="108588"/>
                </a:lnTo>
                <a:lnTo>
                  <a:pt x="277880" y="108588"/>
                </a:lnTo>
                <a:lnTo>
                  <a:pt x="323570" y="14374"/>
                </a:lnTo>
                <a:lnTo>
                  <a:pt x="269040" y="14374"/>
                </a:lnTo>
                <a:lnTo>
                  <a:pt x="269040" y="1493"/>
                </a:lnTo>
                <a:lnTo>
                  <a:pt x="337950" y="1493"/>
                </a:lnTo>
                <a:lnTo>
                  <a:pt x="337950" y="13628"/>
                </a:lnTo>
                <a:close/>
                <a:moveTo>
                  <a:pt x="369261" y="58992"/>
                </a:moveTo>
                <a:lnTo>
                  <a:pt x="369261" y="46298"/>
                </a:lnTo>
                <a:lnTo>
                  <a:pt x="383579" y="46298"/>
                </a:lnTo>
                <a:cubicBezTo>
                  <a:pt x="389181" y="46298"/>
                  <a:pt x="393725" y="44804"/>
                  <a:pt x="397211" y="41817"/>
                </a:cubicBezTo>
                <a:cubicBezTo>
                  <a:pt x="400760" y="38768"/>
                  <a:pt x="402563" y="34412"/>
                  <a:pt x="402563" y="28812"/>
                </a:cubicBezTo>
                <a:cubicBezTo>
                  <a:pt x="402563" y="23771"/>
                  <a:pt x="400946" y="19788"/>
                  <a:pt x="397647" y="16864"/>
                </a:cubicBezTo>
                <a:cubicBezTo>
                  <a:pt x="394348" y="13877"/>
                  <a:pt x="389617" y="12383"/>
                  <a:pt x="383454" y="12383"/>
                </a:cubicBezTo>
                <a:cubicBezTo>
                  <a:pt x="378287" y="12383"/>
                  <a:pt x="373369" y="13379"/>
                  <a:pt x="368825" y="15246"/>
                </a:cubicBezTo>
                <a:cubicBezTo>
                  <a:pt x="364343" y="17113"/>
                  <a:pt x="359675" y="20162"/>
                  <a:pt x="354757" y="24331"/>
                </a:cubicBezTo>
                <a:lnTo>
                  <a:pt x="354757" y="9707"/>
                </a:lnTo>
                <a:cubicBezTo>
                  <a:pt x="362725" y="3235"/>
                  <a:pt x="372374" y="0"/>
                  <a:pt x="383579" y="0"/>
                </a:cubicBezTo>
                <a:cubicBezTo>
                  <a:pt x="393849" y="0"/>
                  <a:pt x="401880" y="2613"/>
                  <a:pt x="407668" y="7779"/>
                </a:cubicBezTo>
                <a:cubicBezTo>
                  <a:pt x="413519" y="12943"/>
                  <a:pt x="416446" y="19726"/>
                  <a:pt x="416446" y="28065"/>
                </a:cubicBezTo>
                <a:cubicBezTo>
                  <a:pt x="416446" y="34848"/>
                  <a:pt x="414579" y="40262"/>
                  <a:pt x="410781" y="44244"/>
                </a:cubicBezTo>
                <a:cubicBezTo>
                  <a:pt x="407109" y="48227"/>
                  <a:pt x="402688" y="50840"/>
                  <a:pt x="397522" y="52147"/>
                </a:cubicBezTo>
                <a:cubicBezTo>
                  <a:pt x="401693" y="52707"/>
                  <a:pt x="405491" y="54201"/>
                  <a:pt x="408975" y="56441"/>
                </a:cubicBezTo>
                <a:cubicBezTo>
                  <a:pt x="412586" y="58681"/>
                  <a:pt x="415449" y="61543"/>
                  <a:pt x="417691" y="65153"/>
                </a:cubicBezTo>
                <a:cubicBezTo>
                  <a:pt x="419869" y="68700"/>
                  <a:pt x="420928" y="72869"/>
                  <a:pt x="420928" y="77661"/>
                </a:cubicBezTo>
                <a:cubicBezTo>
                  <a:pt x="420928" y="84257"/>
                  <a:pt x="419310" y="89982"/>
                  <a:pt x="416010" y="94836"/>
                </a:cubicBezTo>
                <a:cubicBezTo>
                  <a:pt x="412711" y="99752"/>
                  <a:pt x="408229" y="103486"/>
                  <a:pt x="402440" y="106224"/>
                </a:cubicBezTo>
                <a:cubicBezTo>
                  <a:pt x="396775" y="108775"/>
                  <a:pt x="390114" y="110082"/>
                  <a:pt x="382582" y="110082"/>
                </a:cubicBezTo>
                <a:cubicBezTo>
                  <a:pt x="369386" y="110082"/>
                  <a:pt x="359238" y="107033"/>
                  <a:pt x="352080" y="100997"/>
                </a:cubicBezTo>
                <a:lnTo>
                  <a:pt x="352080" y="86062"/>
                </a:lnTo>
                <a:cubicBezTo>
                  <a:pt x="355877" y="89733"/>
                  <a:pt x="360422" y="92596"/>
                  <a:pt x="365837" y="94711"/>
                </a:cubicBezTo>
                <a:cubicBezTo>
                  <a:pt x="371191" y="96765"/>
                  <a:pt x="376855" y="97823"/>
                  <a:pt x="382706" y="97823"/>
                </a:cubicBezTo>
                <a:cubicBezTo>
                  <a:pt x="390053" y="97823"/>
                  <a:pt x="395842" y="96080"/>
                  <a:pt x="400012" y="92596"/>
                </a:cubicBezTo>
                <a:cubicBezTo>
                  <a:pt x="404307" y="89048"/>
                  <a:pt x="406486" y="84132"/>
                  <a:pt x="406486" y="77972"/>
                </a:cubicBezTo>
                <a:cubicBezTo>
                  <a:pt x="406486" y="71998"/>
                  <a:pt x="404494" y="67393"/>
                  <a:pt x="400635" y="64095"/>
                </a:cubicBezTo>
                <a:cubicBezTo>
                  <a:pt x="396837" y="60673"/>
                  <a:pt x="390986" y="58992"/>
                  <a:pt x="383018" y="58992"/>
                </a:cubicBezTo>
                <a:lnTo>
                  <a:pt x="369261" y="58992"/>
                </a:lnTo>
                <a:close/>
                <a:moveTo>
                  <a:pt x="439167" y="1493"/>
                </a:moveTo>
                <a:lnTo>
                  <a:pt x="504590" y="1493"/>
                </a:lnTo>
                <a:lnTo>
                  <a:pt x="504590" y="14374"/>
                </a:lnTo>
                <a:lnTo>
                  <a:pt x="453173" y="14374"/>
                </a:lnTo>
                <a:lnTo>
                  <a:pt x="453173" y="49907"/>
                </a:lnTo>
                <a:lnTo>
                  <a:pt x="496809" y="49907"/>
                </a:lnTo>
                <a:lnTo>
                  <a:pt x="496809" y="62601"/>
                </a:lnTo>
                <a:lnTo>
                  <a:pt x="453173" y="62601"/>
                </a:lnTo>
                <a:lnTo>
                  <a:pt x="453173" y="108588"/>
                </a:lnTo>
                <a:lnTo>
                  <a:pt x="439167" y="108588"/>
                </a:lnTo>
                <a:lnTo>
                  <a:pt x="439167" y="1493"/>
                </a:lnTo>
                <a:close/>
                <a:moveTo>
                  <a:pt x="524074" y="1493"/>
                </a:moveTo>
                <a:lnTo>
                  <a:pt x="589497" y="1493"/>
                </a:lnTo>
                <a:lnTo>
                  <a:pt x="589497" y="14374"/>
                </a:lnTo>
                <a:lnTo>
                  <a:pt x="538080" y="14374"/>
                </a:lnTo>
                <a:lnTo>
                  <a:pt x="538080" y="49907"/>
                </a:lnTo>
                <a:lnTo>
                  <a:pt x="581716" y="49907"/>
                </a:lnTo>
                <a:lnTo>
                  <a:pt x="581716" y="62601"/>
                </a:lnTo>
                <a:lnTo>
                  <a:pt x="538080" y="62601"/>
                </a:lnTo>
                <a:lnTo>
                  <a:pt x="538080" y="108588"/>
                </a:lnTo>
                <a:lnTo>
                  <a:pt x="524074" y="108588"/>
                </a:lnTo>
                <a:lnTo>
                  <a:pt x="524074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6" name="Полилиния 955">
            <a:extLst>
              <a:ext uri="{FF2B5EF4-FFF2-40B4-BE49-F238E27FC236}">
                <a16:creationId xmlns:a16="http://schemas.microsoft.com/office/drawing/2014/main" id="{6F6AA4BF-185C-C02F-665B-EF073428C074}"/>
              </a:ext>
            </a:extLst>
          </p:cNvPr>
          <p:cNvSpPr/>
          <p:nvPr userDrawn="1"/>
        </p:nvSpPr>
        <p:spPr>
          <a:xfrm>
            <a:off x="9547358" y="7418752"/>
            <a:ext cx="2557159" cy="726227"/>
          </a:xfrm>
          <a:custGeom>
            <a:avLst/>
            <a:gdLst>
              <a:gd name="connsiteX0" fmla="*/ 2604 w 2191162"/>
              <a:gd name="connsiteY0" fmla="*/ 1522 h 622284"/>
              <a:gd name="connsiteX1" fmla="*/ 2193767 w 2191162"/>
              <a:gd name="connsiteY1" fmla="*/ 1522 h 622284"/>
              <a:gd name="connsiteX2" fmla="*/ 2193767 w 2191162"/>
              <a:gd name="connsiteY2" fmla="*/ 623806 h 622284"/>
              <a:gd name="connsiteX3" fmla="*/ 2604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522"/>
                </a:moveTo>
                <a:lnTo>
                  <a:pt x="2193767" y="1522"/>
                </a:lnTo>
                <a:lnTo>
                  <a:pt x="2193767" y="623806"/>
                </a:lnTo>
                <a:lnTo>
                  <a:pt x="2604" y="623806"/>
                </a:lnTo>
                <a:close/>
              </a:path>
            </a:pathLst>
          </a:custGeom>
          <a:solidFill>
            <a:srgbClr val="3287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7" name="Полилиния 956">
            <a:extLst>
              <a:ext uri="{FF2B5EF4-FFF2-40B4-BE49-F238E27FC236}">
                <a16:creationId xmlns:a16="http://schemas.microsoft.com/office/drawing/2014/main" id="{D58A4BC5-3EE8-2FE6-4DDD-1DCD217B5A0E}"/>
              </a:ext>
            </a:extLst>
          </p:cNvPr>
          <p:cNvSpPr/>
          <p:nvPr userDrawn="1"/>
        </p:nvSpPr>
        <p:spPr>
          <a:xfrm>
            <a:off x="9670565" y="7720500"/>
            <a:ext cx="684765" cy="128468"/>
          </a:xfrm>
          <a:custGeom>
            <a:avLst/>
            <a:gdLst>
              <a:gd name="connsiteX0" fmla="*/ 22099 w 586758"/>
              <a:gd name="connsiteY0" fmla="*/ 108588 h 110081"/>
              <a:gd name="connsiteX1" fmla="*/ 10147 w 586758"/>
              <a:gd name="connsiteY1" fmla="*/ 108588 h 110081"/>
              <a:gd name="connsiteX2" fmla="*/ 16435 w 586758"/>
              <a:gd name="connsiteY2" fmla="*/ 77661 h 110081"/>
              <a:gd name="connsiteX3" fmla="*/ 0 w 586758"/>
              <a:gd name="connsiteY3" fmla="*/ 77661 h 110081"/>
              <a:gd name="connsiteX4" fmla="*/ 0 w 586758"/>
              <a:gd name="connsiteY4" fmla="*/ 67206 h 110081"/>
              <a:gd name="connsiteX5" fmla="*/ 18675 w 586758"/>
              <a:gd name="connsiteY5" fmla="*/ 67206 h 110081"/>
              <a:gd name="connsiteX6" fmla="*/ 24216 w 586758"/>
              <a:gd name="connsiteY6" fmla="*/ 40012 h 110081"/>
              <a:gd name="connsiteX7" fmla="*/ 4047 w 586758"/>
              <a:gd name="connsiteY7" fmla="*/ 40012 h 110081"/>
              <a:gd name="connsiteX8" fmla="*/ 4047 w 586758"/>
              <a:gd name="connsiteY8" fmla="*/ 29559 h 110081"/>
              <a:gd name="connsiteX9" fmla="*/ 26269 w 586758"/>
              <a:gd name="connsiteY9" fmla="*/ 29559 h 110081"/>
              <a:gd name="connsiteX10" fmla="*/ 32121 w 586758"/>
              <a:gd name="connsiteY10" fmla="*/ 1493 h 110081"/>
              <a:gd name="connsiteX11" fmla="*/ 44073 w 586758"/>
              <a:gd name="connsiteY11" fmla="*/ 1493 h 110081"/>
              <a:gd name="connsiteX12" fmla="*/ 38222 w 586758"/>
              <a:gd name="connsiteY12" fmla="*/ 29559 h 110081"/>
              <a:gd name="connsiteX13" fmla="*/ 60630 w 586758"/>
              <a:gd name="connsiteY13" fmla="*/ 29559 h 110081"/>
              <a:gd name="connsiteX14" fmla="*/ 66481 w 586758"/>
              <a:gd name="connsiteY14" fmla="*/ 1493 h 110081"/>
              <a:gd name="connsiteX15" fmla="*/ 78434 w 586758"/>
              <a:gd name="connsiteY15" fmla="*/ 1493 h 110081"/>
              <a:gd name="connsiteX16" fmla="*/ 72583 w 586758"/>
              <a:gd name="connsiteY16" fmla="*/ 29559 h 110081"/>
              <a:gd name="connsiteX17" fmla="*/ 89328 w 586758"/>
              <a:gd name="connsiteY17" fmla="*/ 29559 h 110081"/>
              <a:gd name="connsiteX18" fmla="*/ 89328 w 586758"/>
              <a:gd name="connsiteY18" fmla="*/ 40012 h 110081"/>
              <a:gd name="connsiteX19" fmla="*/ 70529 w 586758"/>
              <a:gd name="connsiteY19" fmla="*/ 40012 h 110081"/>
              <a:gd name="connsiteX20" fmla="*/ 64988 w 586758"/>
              <a:gd name="connsiteY20" fmla="*/ 67206 h 110081"/>
              <a:gd name="connsiteX21" fmla="*/ 85281 w 586758"/>
              <a:gd name="connsiteY21" fmla="*/ 67206 h 110081"/>
              <a:gd name="connsiteX22" fmla="*/ 85281 w 586758"/>
              <a:gd name="connsiteY22" fmla="*/ 77661 h 110081"/>
              <a:gd name="connsiteX23" fmla="*/ 62747 w 586758"/>
              <a:gd name="connsiteY23" fmla="*/ 77661 h 110081"/>
              <a:gd name="connsiteX24" fmla="*/ 56460 w 586758"/>
              <a:gd name="connsiteY24" fmla="*/ 108588 h 110081"/>
              <a:gd name="connsiteX25" fmla="*/ 44509 w 586758"/>
              <a:gd name="connsiteY25" fmla="*/ 108588 h 110081"/>
              <a:gd name="connsiteX26" fmla="*/ 50796 w 586758"/>
              <a:gd name="connsiteY26" fmla="*/ 77661 h 110081"/>
              <a:gd name="connsiteX27" fmla="*/ 28386 w 586758"/>
              <a:gd name="connsiteY27" fmla="*/ 77661 h 110081"/>
              <a:gd name="connsiteX28" fmla="*/ 22099 w 586758"/>
              <a:gd name="connsiteY28" fmla="*/ 108588 h 110081"/>
              <a:gd name="connsiteX29" fmla="*/ 30626 w 586758"/>
              <a:gd name="connsiteY29" fmla="*/ 67206 h 110081"/>
              <a:gd name="connsiteX30" fmla="*/ 53036 w 586758"/>
              <a:gd name="connsiteY30" fmla="*/ 67206 h 110081"/>
              <a:gd name="connsiteX31" fmla="*/ 58577 w 586758"/>
              <a:gd name="connsiteY31" fmla="*/ 40012 h 110081"/>
              <a:gd name="connsiteX32" fmla="*/ 36167 w 586758"/>
              <a:gd name="connsiteY32" fmla="*/ 40012 h 110081"/>
              <a:gd name="connsiteX33" fmla="*/ 30626 w 586758"/>
              <a:gd name="connsiteY33" fmla="*/ 67206 h 110081"/>
              <a:gd name="connsiteX34" fmla="*/ 120078 w 586758"/>
              <a:gd name="connsiteY34" fmla="*/ 58992 h 110081"/>
              <a:gd name="connsiteX35" fmla="*/ 120078 w 586758"/>
              <a:gd name="connsiteY35" fmla="*/ 46298 h 110081"/>
              <a:gd name="connsiteX36" fmla="*/ 134396 w 586758"/>
              <a:gd name="connsiteY36" fmla="*/ 46298 h 110081"/>
              <a:gd name="connsiteX37" fmla="*/ 148028 w 586758"/>
              <a:gd name="connsiteY37" fmla="*/ 41817 h 110081"/>
              <a:gd name="connsiteX38" fmla="*/ 153382 w 586758"/>
              <a:gd name="connsiteY38" fmla="*/ 28812 h 110081"/>
              <a:gd name="connsiteX39" fmla="*/ 148464 w 586758"/>
              <a:gd name="connsiteY39" fmla="*/ 16864 h 110081"/>
              <a:gd name="connsiteX40" fmla="*/ 134271 w 586758"/>
              <a:gd name="connsiteY40" fmla="*/ 12383 h 110081"/>
              <a:gd name="connsiteX41" fmla="*/ 119642 w 586758"/>
              <a:gd name="connsiteY41" fmla="*/ 15246 h 110081"/>
              <a:gd name="connsiteX42" fmla="*/ 105574 w 586758"/>
              <a:gd name="connsiteY42" fmla="*/ 24331 h 110081"/>
              <a:gd name="connsiteX43" fmla="*/ 105574 w 586758"/>
              <a:gd name="connsiteY43" fmla="*/ 9707 h 110081"/>
              <a:gd name="connsiteX44" fmla="*/ 134396 w 586758"/>
              <a:gd name="connsiteY44" fmla="*/ 0 h 110081"/>
              <a:gd name="connsiteX45" fmla="*/ 158486 w 586758"/>
              <a:gd name="connsiteY45" fmla="*/ 7779 h 110081"/>
              <a:gd name="connsiteX46" fmla="*/ 167264 w 586758"/>
              <a:gd name="connsiteY46" fmla="*/ 28065 h 110081"/>
              <a:gd name="connsiteX47" fmla="*/ 161598 w 586758"/>
              <a:gd name="connsiteY47" fmla="*/ 44244 h 110081"/>
              <a:gd name="connsiteX48" fmla="*/ 148340 w 586758"/>
              <a:gd name="connsiteY48" fmla="*/ 52147 h 110081"/>
              <a:gd name="connsiteX49" fmla="*/ 159793 w 586758"/>
              <a:gd name="connsiteY49" fmla="*/ 56441 h 110081"/>
              <a:gd name="connsiteX50" fmla="*/ 168508 w 586758"/>
              <a:gd name="connsiteY50" fmla="*/ 65153 h 110081"/>
              <a:gd name="connsiteX51" fmla="*/ 171745 w 586758"/>
              <a:gd name="connsiteY51" fmla="*/ 77661 h 110081"/>
              <a:gd name="connsiteX52" fmla="*/ 166827 w 586758"/>
              <a:gd name="connsiteY52" fmla="*/ 94836 h 110081"/>
              <a:gd name="connsiteX53" fmla="*/ 153258 w 586758"/>
              <a:gd name="connsiteY53" fmla="*/ 106224 h 110081"/>
              <a:gd name="connsiteX54" fmla="*/ 133399 w 586758"/>
              <a:gd name="connsiteY54" fmla="*/ 110082 h 110081"/>
              <a:gd name="connsiteX55" fmla="*/ 102898 w 586758"/>
              <a:gd name="connsiteY55" fmla="*/ 100997 h 110081"/>
              <a:gd name="connsiteX56" fmla="*/ 102898 w 586758"/>
              <a:gd name="connsiteY56" fmla="*/ 86062 h 110081"/>
              <a:gd name="connsiteX57" fmla="*/ 116654 w 586758"/>
              <a:gd name="connsiteY57" fmla="*/ 94711 h 110081"/>
              <a:gd name="connsiteX58" fmla="*/ 133524 w 586758"/>
              <a:gd name="connsiteY58" fmla="*/ 97823 h 110081"/>
              <a:gd name="connsiteX59" fmla="*/ 150829 w 586758"/>
              <a:gd name="connsiteY59" fmla="*/ 92596 h 110081"/>
              <a:gd name="connsiteX60" fmla="*/ 157303 w 586758"/>
              <a:gd name="connsiteY60" fmla="*/ 77972 h 110081"/>
              <a:gd name="connsiteX61" fmla="*/ 151452 w 586758"/>
              <a:gd name="connsiteY61" fmla="*/ 64095 h 110081"/>
              <a:gd name="connsiteX62" fmla="*/ 133835 w 586758"/>
              <a:gd name="connsiteY62" fmla="*/ 58992 h 110081"/>
              <a:gd name="connsiteX63" fmla="*/ 120078 w 586758"/>
              <a:gd name="connsiteY63" fmla="*/ 58992 h 110081"/>
              <a:gd name="connsiteX64" fmla="*/ 252981 w 586758"/>
              <a:gd name="connsiteY64" fmla="*/ 108588 h 110081"/>
              <a:gd name="connsiteX65" fmla="*/ 184754 w 586758"/>
              <a:gd name="connsiteY65" fmla="*/ 108588 h 110081"/>
              <a:gd name="connsiteX66" fmla="*/ 184754 w 586758"/>
              <a:gd name="connsiteY66" fmla="*/ 94400 h 110081"/>
              <a:gd name="connsiteX67" fmla="*/ 210900 w 586758"/>
              <a:gd name="connsiteY67" fmla="*/ 72433 h 110081"/>
              <a:gd name="connsiteX68" fmla="*/ 226835 w 586758"/>
              <a:gd name="connsiteY68" fmla="*/ 56628 h 110081"/>
              <a:gd name="connsiteX69" fmla="*/ 234927 w 586758"/>
              <a:gd name="connsiteY69" fmla="*/ 43933 h 110081"/>
              <a:gd name="connsiteX70" fmla="*/ 237294 w 586758"/>
              <a:gd name="connsiteY70" fmla="*/ 32109 h 110081"/>
              <a:gd name="connsiteX71" fmla="*/ 231815 w 586758"/>
              <a:gd name="connsiteY71" fmla="*/ 17610 h 110081"/>
              <a:gd name="connsiteX72" fmla="*/ 216564 w 586758"/>
              <a:gd name="connsiteY72" fmla="*/ 12383 h 110081"/>
              <a:gd name="connsiteX73" fmla="*/ 187557 w 586758"/>
              <a:gd name="connsiteY73" fmla="*/ 27194 h 110081"/>
              <a:gd name="connsiteX74" fmla="*/ 187557 w 586758"/>
              <a:gd name="connsiteY74" fmla="*/ 12134 h 110081"/>
              <a:gd name="connsiteX75" fmla="*/ 217001 w 586758"/>
              <a:gd name="connsiteY75" fmla="*/ 0 h 110081"/>
              <a:gd name="connsiteX76" fmla="*/ 242397 w 586758"/>
              <a:gd name="connsiteY76" fmla="*/ 8401 h 110081"/>
              <a:gd name="connsiteX77" fmla="*/ 251797 w 586758"/>
              <a:gd name="connsiteY77" fmla="*/ 30803 h 110081"/>
              <a:gd name="connsiteX78" fmla="*/ 249432 w 586758"/>
              <a:gd name="connsiteY78" fmla="*/ 44804 h 110081"/>
              <a:gd name="connsiteX79" fmla="*/ 241339 w 586758"/>
              <a:gd name="connsiteY79" fmla="*/ 58681 h 110081"/>
              <a:gd name="connsiteX80" fmla="*/ 225652 w 586758"/>
              <a:gd name="connsiteY80" fmla="*/ 74860 h 110081"/>
              <a:gd name="connsiteX81" fmla="*/ 200254 w 586758"/>
              <a:gd name="connsiteY81" fmla="*/ 95769 h 110081"/>
              <a:gd name="connsiteX82" fmla="*/ 252981 w 586758"/>
              <a:gd name="connsiteY82" fmla="*/ 95769 h 110081"/>
              <a:gd name="connsiteX83" fmla="*/ 252981 w 586758"/>
              <a:gd name="connsiteY83" fmla="*/ 108588 h 110081"/>
              <a:gd name="connsiteX84" fmla="*/ 301099 w 586758"/>
              <a:gd name="connsiteY84" fmla="*/ 110082 h 110081"/>
              <a:gd name="connsiteX85" fmla="*/ 282424 w 586758"/>
              <a:gd name="connsiteY85" fmla="*/ 106473 h 110081"/>
              <a:gd name="connsiteX86" fmla="*/ 269725 w 586758"/>
              <a:gd name="connsiteY86" fmla="*/ 96205 h 110081"/>
              <a:gd name="connsiteX87" fmla="*/ 265057 w 586758"/>
              <a:gd name="connsiteY87" fmla="*/ 79777 h 110081"/>
              <a:gd name="connsiteX88" fmla="*/ 270471 w 586758"/>
              <a:gd name="connsiteY88" fmla="*/ 62291 h 110081"/>
              <a:gd name="connsiteX89" fmla="*/ 285225 w 586758"/>
              <a:gd name="connsiteY89" fmla="*/ 51711 h 110081"/>
              <a:gd name="connsiteX90" fmla="*/ 273274 w 586758"/>
              <a:gd name="connsiteY90" fmla="*/ 42564 h 110081"/>
              <a:gd name="connsiteX91" fmla="*/ 268977 w 586758"/>
              <a:gd name="connsiteY91" fmla="*/ 27504 h 110081"/>
              <a:gd name="connsiteX92" fmla="*/ 273149 w 586758"/>
              <a:gd name="connsiteY92" fmla="*/ 12570 h 110081"/>
              <a:gd name="connsiteX93" fmla="*/ 284664 w 586758"/>
              <a:gd name="connsiteY93" fmla="*/ 3298 h 110081"/>
              <a:gd name="connsiteX94" fmla="*/ 301099 w 586758"/>
              <a:gd name="connsiteY94" fmla="*/ 186 h 110081"/>
              <a:gd name="connsiteX95" fmla="*/ 317220 w 586758"/>
              <a:gd name="connsiteY95" fmla="*/ 3298 h 110081"/>
              <a:gd name="connsiteX96" fmla="*/ 328550 w 586758"/>
              <a:gd name="connsiteY96" fmla="*/ 12259 h 110081"/>
              <a:gd name="connsiteX97" fmla="*/ 332907 w 586758"/>
              <a:gd name="connsiteY97" fmla="*/ 27194 h 110081"/>
              <a:gd name="connsiteX98" fmla="*/ 328426 w 586758"/>
              <a:gd name="connsiteY98" fmla="*/ 42439 h 110081"/>
              <a:gd name="connsiteX99" fmla="*/ 316599 w 586758"/>
              <a:gd name="connsiteY99" fmla="*/ 51711 h 110081"/>
              <a:gd name="connsiteX100" fmla="*/ 330977 w 586758"/>
              <a:gd name="connsiteY100" fmla="*/ 61855 h 110081"/>
              <a:gd name="connsiteX101" fmla="*/ 336518 w 586758"/>
              <a:gd name="connsiteY101" fmla="*/ 79341 h 110081"/>
              <a:gd name="connsiteX102" fmla="*/ 331850 w 586758"/>
              <a:gd name="connsiteY102" fmla="*/ 95893 h 110081"/>
              <a:gd name="connsiteX103" fmla="*/ 319150 w 586758"/>
              <a:gd name="connsiteY103" fmla="*/ 106473 h 110081"/>
              <a:gd name="connsiteX104" fmla="*/ 301099 w 586758"/>
              <a:gd name="connsiteY104" fmla="*/ 110082 h 110081"/>
              <a:gd name="connsiteX105" fmla="*/ 301099 w 586758"/>
              <a:gd name="connsiteY105" fmla="*/ 46298 h 110081"/>
              <a:gd name="connsiteX106" fmla="*/ 314108 w 586758"/>
              <a:gd name="connsiteY106" fmla="*/ 41817 h 110081"/>
              <a:gd name="connsiteX107" fmla="*/ 319337 w 586758"/>
              <a:gd name="connsiteY107" fmla="*/ 29122 h 110081"/>
              <a:gd name="connsiteX108" fmla="*/ 314108 w 586758"/>
              <a:gd name="connsiteY108" fmla="*/ 16615 h 110081"/>
              <a:gd name="connsiteX109" fmla="*/ 301099 w 586758"/>
              <a:gd name="connsiteY109" fmla="*/ 11947 h 110081"/>
              <a:gd name="connsiteX110" fmla="*/ 287777 w 586758"/>
              <a:gd name="connsiteY110" fmla="*/ 16615 h 110081"/>
              <a:gd name="connsiteX111" fmla="*/ 282549 w 586758"/>
              <a:gd name="connsiteY111" fmla="*/ 29122 h 110081"/>
              <a:gd name="connsiteX112" fmla="*/ 287777 w 586758"/>
              <a:gd name="connsiteY112" fmla="*/ 41817 h 110081"/>
              <a:gd name="connsiteX113" fmla="*/ 301099 w 586758"/>
              <a:gd name="connsiteY113" fmla="*/ 46298 h 110081"/>
              <a:gd name="connsiteX114" fmla="*/ 301099 w 586758"/>
              <a:gd name="connsiteY114" fmla="*/ 98258 h 110081"/>
              <a:gd name="connsiteX115" fmla="*/ 316474 w 586758"/>
              <a:gd name="connsiteY115" fmla="*/ 92907 h 110081"/>
              <a:gd name="connsiteX116" fmla="*/ 322761 w 586758"/>
              <a:gd name="connsiteY116" fmla="*/ 77536 h 110081"/>
              <a:gd name="connsiteX117" fmla="*/ 316474 w 586758"/>
              <a:gd name="connsiteY117" fmla="*/ 62291 h 110081"/>
              <a:gd name="connsiteX118" fmla="*/ 301099 w 586758"/>
              <a:gd name="connsiteY118" fmla="*/ 56752 h 110081"/>
              <a:gd name="connsiteX119" fmla="*/ 285101 w 586758"/>
              <a:gd name="connsiteY119" fmla="*/ 62291 h 110081"/>
              <a:gd name="connsiteX120" fmla="*/ 278813 w 586758"/>
              <a:gd name="connsiteY120" fmla="*/ 77536 h 110081"/>
              <a:gd name="connsiteX121" fmla="*/ 285101 w 586758"/>
              <a:gd name="connsiteY121" fmla="*/ 92907 h 110081"/>
              <a:gd name="connsiteX122" fmla="*/ 301099 w 586758"/>
              <a:gd name="connsiteY122" fmla="*/ 98258 h 110081"/>
              <a:gd name="connsiteX123" fmla="*/ 417317 w 586758"/>
              <a:gd name="connsiteY123" fmla="*/ 13628 h 110081"/>
              <a:gd name="connsiteX124" fmla="*/ 371875 w 586758"/>
              <a:gd name="connsiteY124" fmla="*/ 108588 h 110081"/>
              <a:gd name="connsiteX125" fmla="*/ 357248 w 586758"/>
              <a:gd name="connsiteY125" fmla="*/ 108588 h 110081"/>
              <a:gd name="connsiteX126" fmla="*/ 402937 w 586758"/>
              <a:gd name="connsiteY126" fmla="*/ 14374 h 110081"/>
              <a:gd name="connsiteX127" fmla="*/ 348407 w 586758"/>
              <a:gd name="connsiteY127" fmla="*/ 14374 h 110081"/>
              <a:gd name="connsiteX128" fmla="*/ 348407 w 586758"/>
              <a:gd name="connsiteY128" fmla="*/ 1493 h 110081"/>
              <a:gd name="connsiteX129" fmla="*/ 417317 w 586758"/>
              <a:gd name="connsiteY129" fmla="*/ 1493 h 110081"/>
              <a:gd name="connsiteX130" fmla="*/ 417317 w 586758"/>
              <a:gd name="connsiteY130" fmla="*/ 13628 h 110081"/>
              <a:gd name="connsiteX131" fmla="*/ 436366 w 586758"/>
              <a:gd name="connsiteY131" fmla="*/ 1493 h 110081"/>
              <a:gd name="connsiteX132" fmla="*/ 501789 w 586758"/>
              <a:gd name="connsiteY132" fmla="*/ 1493 h 110081"/>
              <a:gd name="connsiteX133" fmla="*/ 501789 w 586758"/>
              <a:gd name="connsiteY133" fmla="*/ 14374 h 110081"/>
              <a:gd name="connsiteX134" fmla="*/ 450434 w 586758"/>
              <a:gd name="connsiteY134" fmla="*/ 14374 h 110081"/>
              <a:gd name="connsiteX135" fmla="*/ 450434 w 586758"/>
              <a:gd name="connsiteY135" fmla="*/ 49907 h 110081"/>
              <a:gd name="connsiteX136" fmla="*/ 494071 w 586758"/>
              <a:gd name="connsiteY136" fmla="*/ 49907 h 110081"/>
              <a:gd name="connsiteX137" fmla="*/ 494071 w 586758"/>
              <a:gd name="connsiteY137" fmla="*/ 62601 h 110081"/>
              <a:gd name="connsiteX138" fmla="*/ 450434 w 586758"/>
              <a:gd name="connsiteY138" fmla="*/ 62601 h 110081"/>
              <a:gd name="connsiteX139" fmla="*/ 450434 w 586758"/>
              <a:gd name="connsiteY139" fmla="*/ 108588 h 110081"/>
              <a:gd name="connsiteX140" fmla="*/ 436366 w 586758"/>
              <a:gd name="connsiteY140" fmla="*/ 108588 h 110081"/>
              <a:gd name="connsiteX141" fmla="*/ 436366 w 586758"/>
              <a:gd name="connsiteY141" fmla="*/ 1493 h 110081"/>
              <a:gd name="connsiteX142" fmla="*/ 521273 w 586758"/>
              <a:gd name="connsiteY142" fmla="*/ 1493 h 110081"/>
              <a:gd name="connsiteX143" fmla="*/ 586759 w 586758"/>
              <a:gd name="connsiteY143" fmla="*/ 1493 h 110081"/>
              <a:gd name="connsiteX144" fmla="*/ 586759 w 586758"/>
              <a:gd name="connsiteY144" fmla="*/ 14374 h 110081"/>
              <a:gd name="connsiteX145" fmla="*/ 535341 w 586758"/>
              <a:gd name="connsiteY145" fmla="*/ 14374 h 110081"/>
              <a:gd name="connsiteX146" fmla="*/ 535341 w 586758"/>
              <a:gd name="connsiteY146" fmla="*/ 49907 h 110081"/>
              <a:gd name="connsiteX147" fmla="*/ 578978 w 586758"/>
              <a:gd name="connsiteY147" fmla="*/ 49907 h 110081"/>
              <a:gd name="connsiteX148" fmla="*/ 578978 w 586758"/>
              <a:gd name="connsiteY148" fmla="*/ 62601 h 110081"/>
              <a:gd name="connsiteX149" fmla="*/ 535341 w 586758"/>
              <a:gd name="connsiteY149" fmla="*/ 62601 h 110081"/>
              <a:gd name="connsiteX150" fmla="*/ 535341 w 586758"/>
              <a:gd name="connsiteY150" fmla="*/ 108588 h 110081"/>
              <a:gd name="connsiteX151" fmla="*/ 521273 w 586758"/>
              <a:gd name="connsiteY151" fmla="*/ 108588 h 110081"/>
              <a:gd name="connsiteX152" fmla="*/ 521273 w 586758"/>
              <a:gd name="connsiteY15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586758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2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4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6" y="13379"/>
                  <a:pt x="119642" y="15246"/>
                </a:cubicBezTo>
                <a:cubicBezTo>
                  <a:pt x="115161" y="17113"/>
                  <a:pt x="110492" y="20162"/>
                  <a:pt x="105574" y="24331"/>
                </a:cubicBezTo>
                <a:lnTo>
                  <a:pt x="105574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8" y="12943"/>
                  <a:pt x="167264" y="19726"/>
                  <a:pt x="167264" y="28065"/>
                </a:cubicBezTo>
                <a:cubicBezTo>
                  <a:pt x="167264" y="34848"/>
                  <a:pt x="165396" y="40262"/>
                  <a:pt x="161598" y="44244"/>
                </a:cubicBezTo>
                <a:cubicBezTo>
                  <a:pt x="157926" y="48227"/>
                  <a:pt x="153507" y="50840"/>
                  <a:pt x="148340" y="52147"/>
                </a:cubicBezTo>
                <a:cubicBezTo>
                  <a:pt x="152510" y="52707"/>
                  <a:pt x="156308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6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8" y="106224"/>
                </a:cubicBezTo>
                <a:cubicBezTo>
                  <a:pt x="147592" y="108775"/>
                  <a:pt x="140932" y="110082"/>
                  <a:pt x="133399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6" y="89733"/>
                  <a:pt x="111240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70" y="97823"/>
                  <a:pt x="146659" y="96080"/>
                  <a:pt x="150829" y="92596"/>
                </a:cubicBezTo>
                <a:cubicBezTo>
                  <a:pt x="155124" y="89048"/>
                  <a:pt x="157303" y="84132"/>
                  <a:pt x="157303" y="77972"/>
                </a:cubicBezTo>
                <a:cubicBezTo>
                  <a:pt x="157303" y="71998"/>
                  <a:pt x="155311" y="67393"/>
                  <a:pt x="151452" y="64095"/>
                </a:cubicBezTo>
                <a:cubicBezTo>
                  <a:pt x="147654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1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5" y="78532"/>
                  <a:pt x="210900" y="72433"/>
                </a:cubicBezTo>
                <a:cubicBezTo>
                  <a:pt x="217747" y="66397"/>
                  <a:pt x="223101" y="61108"/>
                  <a:pt x="226835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4" y="36092"/>
                  <a:pt x="237294" y="32109"/>
                </a:cubicBezTo>
                <a:cubicBezTo>
                  <a:pt x="237294" y="25949"/>
                  <a:pt x="235488" y="21095"/>
                  <a:pt x="231815" y="17610"/>
                </a:cubicBezTo>
                <a:cubicBezTo>
                  <a:pt x="228081" y="14125"/>
                  <a:pt x="223038" y="12383"/>
                  <a:pt x="216564" y="12383"/>
                </a:cubicBezTo>
                <a:cubicBezTo>
                  <a:pt x="206169" y="12383"/>
                  <a:pt x="196520" y="17361"/>
                  <a:pt x="187557" y="27194"/>
                </a:cubicBezTo>
                <a:lnTo>
                  <a:pt x="187557" y="12134"/>
                </a:lnTo>
                <a:cubicBezTo>
                  <a:pt x="195835" y="4044"/>
                  <a:pt x="205671" y="0"/>
                  <a:pt x="217001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2" y="53827"/>
                  <a:pt x="241339" y="58681"/>
                </a:cubicBezTo>
                <a:cubicBezTo>
                  <a:pt x="237543" y="63473"/>
                  <a:pt x="232314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2981" y="95769"/>
                </a:lnTo>
                <a:lnTo>
                  <a:pt x="252981" y="108588"/>
                </a:lnTo>
                <a:close/>
                <a:moveTo>
                  <a:pt x="301099" y="110082"/>
                </a:moveTo>
                <a:cubicBezTo>
                  <a:pt x="294126" y="110082"/>
                  <a:pt x="287901" y="108900"/>
                  <a:pt x="282424" y="106473"/>
                </a:cubicBezTo>
                <a:cubicBezTo>
                  <a:pt x="277008" y="104108"/>
                  <a:pt x="272775" y="100685"/>
                  <a:pt x="269725" y="96205"/>
                </a:cubicBezTo>
                <a:cubicBezTo>
                  <a:pt x="266613" y="91600"/>
                  <a:pt x="265057" y="86124"/>
                  <a:pt x="265057" y="79777"/>
                </a:cubicBezTo>
                <a:cubicBezTo>
                  <a:pt x="265057" y="72869"/>
                  <a:pt x="266862" y="67082"/>
                  <a:pt x="270471" y="62291"/>
                </a:cubicBezTo>
                <a:cubicBezTo>
                  <a:pt x="274145" y="57437"/>
                  <a:pt x="279063" y="53889"/>
                  <a:pt x="285225" y="51711"/>
                </a:cubicBezTo>
                <a:cubicBezTo>
                  <a:pt x="280245" y="49720"/>
                  <a:pt x="276262" y="46671"/>
                  <a:pt x="273274" y="42564"/>
                </a:cubicBezTo>
                <a:cubicBezTo>
                  <a:pt x="270409" y="38519"/>
                  <a:pt x="268977" y="33479"/>
                  <a:pt x="268977" y="27504"/>
                </a:cubicBezTo>
                <a:cubicBezTo>
                  <a:pt x="268977" y="21593"/>
                  <a:pt x="270347" y="16615"/>
                  <a:pt x="273149" y="12570"/>
                </a:cubicBezTo>
                <a:cubicBezTo>
                  <a:pt x="275950" y="8463"/>
                  <a:pt x="279746" y="5414"/>
                  <a:pt x="284664" y="3298"/>
                </a:cubicBezTo>
                <a:cubicBezTo>
                  <a:pt x="289520" y="1182"/>
                  <a:pt x="294999" y="186"/>
                  <a:pt x="301099" y="186"/>
                </a:cubicBezTo>
                <a:cubicBezTo>
                  <a:pt x="307075" y="186"/>
                  <a:pt x="312427" y="1182"/>
                  <a:pt x="317220" y="3298"/>
                </a:cubicBezTo>
                <a:cubicBezTo>
                  <a:pt x="322014" y="5289"/>
                  <a:pt x="325812" y="8276"/>
                  <a:pt x="328550" y="12259"/>
                </a:cubicBezTo>
                <a:cubicBezTo>
                  <a:pt x="331476" y="16242"/>
                  <a:pt x="332907" y="21219"/>
                  <a:pt x="332907" y="27194"/>
                </a:cubicBezTo>
                <a:cubicBezTo>
                  <a:pt x="332907" y="33292"/>
                  <a:pt x="331413" y="38332"/>
                  <a:pt x="328426" y="42439"/>
                </a:cubicBezTo>
                <a:cubicBezTo>
                  <a:pt x="325438" y="46484"/>
                  <a:pt x="321517" y="49596"/>
                  <a:pt x="316599" y="51711"/>
                </a:cubicBezTo>
                <a:cubicBezTo>
                  <a:pt x="322574" y="53765"/>
                  <a:pt x="327368" y="57188"/>
                  <a:pt x="330977" y="61855"/>
                </a:cubicBezTo>
                <a:cubicBezTo>
                  <a:pt x="334650" y="66522"/>
                  <a:pt x="336518" y="72372"/>
                  <a:pt x="336518" y="79341"/>
                </a:cubicBezTo>
                <a:cubicBezTo>
                  <a:pt x="336518" y="85688"/>
                  <a:pt x="334962" y="91226"/>
                  <a:pt x="331850" y="95893"/>
                </a:cubicBezTo>
                <a:cubicBezTo>
                  <a:pt x="328799" y="100498"/>
                  <a:pt x="324567" y="103983"/>
                  <a:pt x="319150" y="106473"/>
                </a:cubicBezTo>
                <a:cubicBezTo>
                  <a:pt x="313859" y="108900"/>
                  <a:pt x="307883" y="110082"/>
                  <a:pt x="301099" y="110082"/>
                </a:cubicBezTo>
                <a:close/>
                <a:moveTo>
                  <a:pt x="301099" y="46298"/>
                </a:moveTo>
                <a:cubicBezTo>
                  <a:pt x="306389" y="46298"/>
                  <a:pt x="310685" y="44804"/>
                  <a:pt x="314108" y="41817"/>
                </a:cubicBezTo>
                <a:cubicBezTo>
                  <a:pt x="317594" y="38768"/>
                  <a:pt x="319337" y="34536"/>
                  <a:pt x="319337" y="29122"/>
                </a:cubicBezTo>
                <a:cubicBezTo>
                  <a:pt x="319337" y="23771"/>
                  <a:pt x="317594" y="19601"/>
                  <a:pt x="314108" y="16615"/>
                </a:cubicBezTo>
                <a:cubicBezTo>
                  <a:pt x="310685" y="13503"/>
                  <a:pt x="306389" y="11947"/>
                  <a:pt x="301099" y="11947"/>
                </a:cubicBezTo>
                <a:cubicBezTo>
                  <a:pt x="295807" y="11947"/>
                  <a:pt x="291388" y="13503"/>
                  <a:pt x="287777" y="16615"/>
                </a:cubicBezTo>
                <a:cubicBezTo>
                  <a:pt x="284290" y="19601"/>
                  <a:pt x="282549" y="23771"/>
                  <a:pt x="282549" y="29122"/>
                </a:cubicBezTo>
                <a:cubicBezTo>
                  <a:pt x="282549" y="34536"/>
                  <a:pt x="284290" y="38768"/>
                  <a:pt x="287777" y="41817"/>
                </a:cubicBezTo>
                <a:cubicBezTo>
                  <a:pt x="291388" y="44804"/>
                  <a:pt x="295807" y="46298"/>
                  <a:pt x="301099" y="46298"/>
                </a:cubicBezTo>
                <a:close/>
                <a:moveTo>
                  <a:pt x="301099" y="98258"/>
                </a:moveTo>
                <a:cubicBezTo>
                  <a:pt x="307261" y="98258"/>
                  <a:pt x="312365" y="96516"/>
                  <a:pt x="316474" y="92907"/>
                </a:cubicBezTo>
                <a:cubicBezTo>
                  <a:pt x="320644" y="89235"/>
                  <a:pt x="322761" y="84071"/>
                  <a:pt x="322761" y="77536"/>
                </a:cubicBezTo>
                <a:cubicBezTo>
                  <a:pt x="322761" y="70940"/>
                  <a:pt x="320644" y="65900"/>
                  <a:pt x="316474" y="62291"/>
                </a:cubicBezTo>
                <a:cubicBezTo>
                  <a:pt x="312365" y="58619"/>
                  <a:pt x="307261" y="56752"/>
                  <a:pt x="301099" y="56752"/>
                </a:cubicBezTo>
                <a:cubicBezTo>
                  <a:pt x="294687" y="56752"/>
                  <a:pt x="289395" y="58619"/>
                  <a:pt x="285101" y="62291"/>
                </a:cubicBezTo>
                <a:cubicBezTo>
                  <a:pt x="280930" y="65900"/>
                  <a:pt x="278813" y="70940"/>
                  <a:pt x="278813" y="77536"/>
                </a:cubicBezTo>
                <a:cubicBezTo>
                  <a:pt x="278813" y="84071"/>
                  <a:pt x="280930" y="89235"/>
                  <a:pt x="285101" y="92907"/>
                </a:cubicBezTo>
                <a:cubicBezTo>
                  <a:pt x="289395" y="96516"/>
                  <a:pt x="294687" y="98258"/>
                  <a:pt x="301099" y="98258"/>
                </a:cubicBezTo>
                <a:close/>
                <a:moveTo>
                  <a:pt x="417317" y="13628"/>
                </a:moveTo>
                <a:lnTo>
                  <a:pt x="371875" y="108588"/>
                </a:lnTo>
                <a:lnTo>
                  <a:pt x="357248" y="108588"/>
                </a:lnTo>
                <a:lnTo>
                  <a:pt x="402937" y="14374"/>
                </a:lnTo>
                <a:lnTo>
                  <a:pt x="348407" y="14374"/>
                </a:lnTo>
                <a:lnTo>
                  <a:pt x="348407" y="1493"/>
                </a:lnTo>
                <a:lnTo>
                  <a:pt x="417317" y="1493"/>
                </a:lnTo>
                <a:lnTo>
                  <a:pt x="417317" y="13628"/>
                </a:ln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21273" y="1493"/>
                </a:moveTo>
                <a:lnTo>
                  <a:pt x="586759" y="1493"/>
                </a:lnTo>
                <a:lnTo>
                  <a:pt x="586759" y="14374"/>
                </a:lnTo>
                <a:lnTo>
                  <a:pt x="535341" y="14374"/>
                </a:lnTo>
                <a:lnTo>
                  <a:pt x="535341" y="49907"/>
                </a:lnTo>
                <a:lnTo>
                  <a:pt x="578978" y="49907"/>
                </a:lnTo>
                <a:lnTo>
                  <a:pt x="578978" y="62601"/>
                </a:lnTo>
                <a:lnTo>
                  <a:pt x="535341" y="62601"/>
                </a:lnTo>
                <a:lnTo>
                  <a:pt x="535341" y="108588"/>
                </a:lnTo>
                <a:lnTo>
                  <a:pt x="521273" y="108588"/>
                </a:lnTo>
                <a:lnTo>
                  <a:pt x="52127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8" name="Полилиния 957">
            <a:extLst>
              <a:ext uri="{FF2B5EF4-FFF2-40B4-BE49-F238E27FC236}">
                <a16:creationId xmlns:a16="http://schemas.microsoft.com/office/drawing/2014/main" id="{98311AA3-E8D0-4332-8B50-5658D9B3040D}"/>
              </a:ext>
            </a:extLst>
          </p:cNvPr>
          <p:cNvSpPr/>
          <p:nvPr userDrawn="1"/>
        </p:nvSpPr>
        <p:spPr>
          <a:xfrm>
            <a:off x="9547358" y="8144980"/>
            <a:ext cx="2557159" cy="726227"/>
          </a:xfrm>
          <a:custGeom>
            <a:avLst/>
            <a:gdLst>
              <a:gd name="connsiteX0" fmla="*/ 2604 w 2191162"/>
              <a:gd name="connsiteY0" fmla="*/ 1622 h 622284"/>
              <a:gd name="connsiteX1" fmla="*/ 2193767 w 2191162"/>
              <a:gd name="connsiteY1" fmla="*/ 1622 h 622284"/>
              <a:gd name="connsiteX2" fmla="*/ 2193767 w 2191162"/>
              <a:gd name="connsiteY2" fmla="*/ 623906 h 622284"/>
              <a:gd name="connsiteX3" fmla="*/ 2604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622"/>
                </a:moveTo>
                <a:lnTo>
                  <a:pt x="2193767" y="1622"/>
                </a:lnTo>
                <a:lnTo>
                  <a:pt x="2193767" y="623906"/>
                </a:lnTo>
                <a:lnTo>
                  <a:pt x="2604" y="623906"/>
                </a:lnTo>
                <a:close/>
              </a:path>
            </a:pathLst>
          </a:custGeom>
          <a:solidFill>
            <a:srgbClr val="4B9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9" name="Полилиния 958">
            <a:extLst>
              <a:ext uri="{FF2B5EF4-FFF2-40B4-BE49-F238E27FC236}">
                <a16:creationId xmlns:a16="http://schemas.microsoft.com/office/drawing/2014/main" id="{2C9E3E78-5C05-15D0-DE2C-A18A5C40020B}"/>
              </a:ext>
            </a:extLst>
          </p:cNvPr>
          <p:cNvSpPr/>
          <p:nvPr userDrawn="1"/>
        </p:nvSpPr>
        <p:spPr>
          <a:xfrm>
            <a:off x="9670565" y="8446726"/>
            <a:ext cx="717747" cy="128468"/>
          </a:xfrm>
          <a:custGeom>
            <a:avLst/>
            <a:gdLst>
              <a:gd name="connsiteX0" fmla="*/ 22099 w 615019"/>
              <a:gd name="connsiteY0" fmla="*/ 108588 h 110081"/>
              <a:gd name="connsiteX1" fmla="*/ 10147 w 615019"/>
              <a:gd name="connsiteY1" fmla="*/ 108588 h 110081"/>
              <a:gd name="connsiteX2" fmla="*/ 16435 w 615019"/>
              <a:gd name="connsiteY2" fmla="*/ 77661 h 110081"/>
              <a:gd name="connsiteX3" fmla="*/ 0 w 615019"/>
              <a:gd name="connsiteY3" fmla="*/ 77661 h 110081"/>
              <a:gd name="connsiteX4" fmla="*/ 0 w 615019"/>
              <a:gd name="connsiteY4" fmla="*/ 67206 h 110081"/>
              <a:gd name="connsiteX5" fmla="*/ 18675 w 615019"/>
              <a:gd name="connsiteY5" fmla="*/ 67206 h 110081"/>
              <a:gd name="connsiteX6" fmla="*/ 24216 w 615019"/>
              <a:gd name="connsiteY6" fmla="*/ 40012 h 110081"/>
              <a:gd name="connsiteX7" fmla="*/ 4047 w 615019"/>
              <a:gd name="connsiteY7" fmla="*/ 40012 h 110081"/>
              <a:gd name="connsiteX8" fmla="*/ 4047 w 615019"/>
              <a:gd name="connsiteY8" fmla="*/ 29559 h 110081"/>
              <a:gd name="connsiteX9" fmla="*/ 26269 w 615019"/>
              <a:gd name="connsiteY9" fmla="*/ 29559 h 110081"/>
              <a:gd name="connsiteX10" fmla="*/ 32121 w 615019"/>
              <a:gd name="connsiteY10" fmla="*/ 1493 h 110081"/>
              <a:gd name="connsiteX11" fmla="*/ 44073 w 615019"/>
              <a:gd name="connsiteY11" fmla="*/ 1493 h 110081"/>
              <a:gd name="connsiteX12" fmla="*/ 38222 w 615019"/>
              <a:gd name="connsiteY12" fmla="*/ 29559 h 110081"/>
              <a:gd name="connsiteX13" fmla="*/ 60630 w 615019"/>
              <a:gd name="connsiteY13" fmla="*/ 29559 h 110081"/>
              <a:gd name="connsiteX14" fmla="*/ 66481 w 615019"/>
              <a:gd name="connsiteY14" fmla="*/ 1493 h 110081"/>
              <a:gd name="connsiteX15" fmla="*/ 78434 w 615019"/>
              <a:gd name="connsiteY15" fmla="*/ 1493 h 110081"/>
              <a:gd name="connsiteX16" fmla="*/ 72583 w 615019"/>
              <a:gd name="connsiteY16" fmla="*/ 29559 h 110081"/>
              <a:gd name="connsiteX17" fmla="*/ 89328 w 615019"/>
              <a:gd name="connsiteY17" fmla="*/ 29559 h 110081"/>
              <a:gd name="connsiteX18" fmla="*/ 89328 w 615019"/>
              <a:gd name="connsiteY18" fmla="*/ 40012 h 110081"/>
              <a:gd name="connsiteX19" fmla="*/ 70529 w 615019"/>
              <a:gd name="connsiteY19" fmla="*/ 40012 h 110081"/>
              <a:gd name="connsiteX20" fmla="*/ 64988 w 615019"/>
              <a:gd name="connsiteY20" fmla="*/ 67206 h 110081"/>
              <a:gd name="connsiteX21" fmla="*/ 85281 w 615019"/>
              <a:gd name="connsiteY21" fmla="*/ 67206 h 110081"/>
              <a:gd name="connsiteX22" fmla="*/ 85281 w 615019"/>
              <a:gd name="connsiteY22" fmla="*/ 77661 h 110081"/>
              <a:gd name="connsiteX23" fmla="*/ 62747 w 615019"/>
              <a:gd name="connsiteY23" fmla="*/ 77661 h 110081"/>
              <a:gd name="connsiteX24" fmla="*/ 56460 w 615019"/>
              <a:gd name="connsiteY24" fmla="*/ 108588 h 110081"/>
              <a:gd name="connsiteX25" fmla="*/ 44509 w 615019"/>
              <a:gd name="connsiteY25" fmla="*/ 108588 h 110081"/>
              <a:gd name="connsiteX26" fmla="*/ 50796 w 615019"/>
              <a:gd name="connsiteY26" fmla="*/ 77661 h 110081"/>
              <a:gd name="connsiteX27" fmla="*/ 28386 w 615019"/>
              <a:gd name="connsiteY27" fmla="*/ 77661 h 110081"/>
              <a:gd name="connsiteX28" fmla="*/ 22099 w 615019"/>
              <a:gd name="connsiteY28" fmla="*/ 108588 h 110081"/>
              <a:gd name="connsiteX29" fmla="*/ 30626 w 615019"/>
              <a:gd name="connsiteY29" fmla="*/ 67206 h 110081"/>
              <a:gd name="connsiteX30" fmla="*/ 53036 w 615019"/>
              <a:gd name="connsiteY30" fmla="*/ 67206 h 110081"/>
              <a:gd name="connsiteX31" fmla="*/ 58577 w 615019"/>
              <a:gd name="connsiteY31" fmla="*/ 40012 h 110081"/>
              <a:gd name="connsiteX32" fmla="*/ 36167 w 615019"/>
              <a:gd name="connsiteY32" fmla="*/ 40012 h 110081"/>
              <a:gd name="connsiteX33" fmla="*/ 30626 w 615019"/>
              <a:gd name="connsiteY33" fmla="*/ 67206 h 110081"/>
              <a:gd name="connsiteX34" fmla="*/ 158797 w 615019"/>
              <a:gd name="connsiteY34" fmla="*/ 108588 h 110081"/>
              <a:gd name="connsiteX35" fmla="*/ 145601 w 615019"/>
              <a:gd name="connsiteY35" fmla="*/ 108588 h 110081"/>
              <a:gd name="connsiteX36" fmla="*/ 145601 w 615019"/>
              <a:gd name="connsiteY36" fmla="*/ 83199 h 110081"/>
              <a:gd name="connsiteX37" fmla="*/ 99287 w 615019"/>
              <a:gd name="connsiteY37" fmla="*/ 83199 h 110081"/>
              <a:gd name="connsiteX38" fmla="*/ 99287 w 615019"/>
              <a:gd name="connsiteY38" fmla="*/ 73927 h 110081"/>
              <a:gd name="connsiteX39" fmla="*/ 141118 w 615019"/>
              <a:gd name="connsiteY39" fmla="*/ 1493 h 110081"/>
              <a:gd name="connsiteX40" fmla="*/ 158797 w 615019"/>
              <a:gd name="connsiteY40" fmla="*/ 1493 h 110081"/>
              <a:gd name="connsiteX41" fmla="*/ 158797 w 615019"/>
              <a:gd name="connsiteY41" fmla="*/ 71873 h 110081"/>
              <a:gd name="connsiteX42" fmla="*/ 173239 w 615019"/>
              <a:gd name="connsiteY42" fmla="*/ 71873 h 110081"/>
              <a:gd name="connsiteX43" fmla="*/ 173239 w 615019"/>
              <a:gd name="connsiteY43" fmla="*/ 83199 h 110081"/>
              <a:gd name="connsiteX44" fmla="*/ 158797 w 615019"/>
              <a:gd name="connsiteY44" fmla="*/ 83199 h 110081"/>
              <a:gd name="connsiteX45" fmla="*/ 158797 w 615019"/>
              <a:gd name="connsiteY45" fmla="*/ 108588 h 110081"/>
              <a:gd name="connsiteX46" fmla="*/ 112920 w 615019"/>
              <a:gd name="connsiteY46" fmla="*/ 71873 h 110081"/>
              <a:gd name="connsiteX47" fmla="*/ 145601 w 615019"/>
              <a:gd name="connsiteY47" fmla="*/ 71873 h 110081"/>
              <a:gd name="connsiteX48" fmla="*/ 145601 w 615019"/>
              <a:gd name="connsiteY48" fmla="*/ 16117 h 110081"/>
              <a:gd name="connsiteX49" fmla="*/ 112920 w 615019"/>
              <a:gd name="connsiteY49" fmla="*/ 71873 h 110081"/>
              <a:gd name="connsiteX50" fmla="*/ 189984 w 615019"/>
              <a:gd name="connsiteY50" fmla="*/ 1493 h 110081"/>
              <a:gd name="connsiteX51" fmla="*/ 226276 w 615019"/>
              <a:gd name="connsiteY51" fmla="*/ 1493 h 110081"/>
              <a:gd name="connsiteX52" fmla="*/ 252981 w 615019"/>
              <a:gd name="connsiteY52" fmla="*/ 7467 h 110081"/>
              <a:gd name="connsiteX53" fmla="*/ 262256 w 615019"/>
              <a:gd name="connsiteY53" fmla="*/ 27629 h 110081"/>
              <a:gd name="connsiteX54" fmla="*/ 256465 w 615019"/>
              <a:gd name="connsiteY54" fmla="*/ 45116 h 110081"/>
              <a:gd name="connsiteX55" fmla="*/ 240903 w 615019"/>
              <a:gd name="connsiteY55" fmla="*/ 53018 h 110081"/>
              <a:gd name="connsiteX56" fmla="*/ 259702 w 615019"/>
              <a:gd name="connsiteY56" fmla="*/ 60361 h 110081"/>
              <a:gd name="connsiteX57" fmla="*/ 266177 w 615019"/>
              <a:gd name="connsiteY57" fmla="*/ 77661 h 110081"/>
              <a:gd name="connsiteX58" fmla="*/ 260947 w 615019"/>
              <a:gd name="connsiteY58" fmla="*/ 95583 h 110081"/>
              <a:gd name="connsiteX59" fmla="*/ 246569 w 615019"/>
              <a:gd name="connsiteY59" fmla="*/ 105601 h 110081"/>
              <a:gd name="connsiteX60" fmla="*/ 225964 w 615019"/>
              <a:gd name="connsiteY60" fmla="*/ 108588 h 110081"/>
              <a:gd name="connsiteX61" fmla="*/ 189984 w 615019"/>
              <a:gd name="connsiteY61" fmla="*/ 108588 h 110081"/>
              <a:gd name="connsiteX62" fmla="*/ 189984 w 615019"/>
              <a:gd name="connsiteY62" fmla="*/ 1493 h 110081"/>
              <a:gd name="connsiteX63" fmla="*/ 225216 w 615019"/>
              <a:gd name="connsiteY63" fmla="*/ 47231 h 110081"/>
              <a:gd name="connsiteX64" fmla="*/ 241651 w 615019"/>
              <a:gd name="connsiteY64" fmla="*/ 42751 h 110081"/>
              <a:gd name="connsiteX65" fmla="*/ 248063 w 615019"/>
              <a:gd name="connsiteY65" fmla="*/ 28376 h 110081"/>
              <a:gd name="connsiteX66" fmla="*/ 242397 w 615019"/>
              <a:gd name="connsiteY66" fmla="*/ 17361 h 110081"/>
              <a:gd name="connsiteX67" fmla="*/ 226276 w 615019"/>
              <a:gd name="connsiteY67" fmla="*/ 14374 h 110081"/>
              <a:gd name="connsiteX68" fmla="*/ 203990 w 615019"/>
              <a:gd name="connsiteY68" fmla="*/ 14374 h 110081"/>
              <a:gd name="connsiteX69" fmla="*/ 203990 w 615019"/>
              <a:gd name="connsiteY69" fmla="*/ 47231 h 110081"/>
              <a:gd name="connsiteX70" fmla="*/ 225216 w 615019"/>
              <a:gd name="connsiteY70" fmla="*/ 47231 h 110081"/>
              <a:gd name="connsiteX71" fmla="*/ 225964 w 615019"/>
              <a:gd name="connsiteY71" fmla="*/ 95893 h 110081"/>
              <a:gd name="connsiteX72" fmla="*/ 244327 w 615019"/>
              <a:gd name="connsiteY72" fmla="*/ 92035 h 110081"/>
              <a:gd name="connsiteX73" fmla="*/ 251362 w 615019"/>
              <a:gd name="connsiteY73" fmla="*/ 77972 h 110081"/>
              <a:gd name="connsiteX74" fmla="*/ 244763 w 615019"/>
              <a:gd name="connsiteY74" fmla="*/ 63908 h 110081"/>
              <a:gd name="connsiteX75" fmla="*/ 224345 w 615019"/>
              <a:gd name="connsiteY75" fmla="*/ 59926 h 110081"/>
              <a:gd name="connsiteX76" fmla="*/ 203990 w 615019"/>
              <a:gd name="connsiteY76" fmla="*/ 59926 h 110081"/>
              <a:gd name="connsiteX77" fmla="*/ 203990 w 615019"/>
              <a:gd name="connsiteY77" fmla="*/ 95893 h 110081"/>
              <a:gd name="connsiteX78" fmla="*/ 225964 w 615019"/>
              <a:gd name="connsiteY78" fmla="*/ 95893 h 110081"/>
              <a:gd name="connsiteX79" fmla="*/ 278626 w 615019"/>
              <a:gd name="connsiteY79" fmla="*/ 35844 h 110081"/>
              <a:gd name="connsiteX80" fmla="*/ 283295 w 615019"/>
              <a:gd name="connsiteY80" fmla="*/ 17051 h 110081"/>
              <a:gd name="connsiteX81" fmla="*/ 296119 w 615019"/>
              <a:gd name="connsiteY81" fmla="*/ 4480 h 110081"/>
              <a:gd name="connsiteX82" fmla="*/ 314170 w 615019"/>
              <a:gd name="connsiteY82" fmla="*/ 0 h 110081"/>
              <a:gd name="connsiteX83" fmla="*/ 335833 w 615019"/>
              <a:gd name="connsiteY83" fmla="*/ 5849 h 110081"/>
              <a:gd name="connsiteX84" fmla="*/ 347973 w 615019"/>
              <a:gd name="connsiteY84" fmla="*/ 21842 h 110081"/>
              <a:gd name="connsiteX85" fmla="*/ 351707 w 615019"/>
              <a:gd name="connsiteY85" fmla="*/ 45426 h 110081"/>
              <a:gd name="connsiteX86" fmla="*/ 347038 w 615019"/>
              <a:gd name="connsiteY86" fmla="*/ 80088 h 110081"/>
              <a:gd name="connsiteX87" fmla="*/ 332720 w 615019"/>
              <a:gd name="connsiteY87" fmla="*/ 102303 h 110081"/>
              <a:gd name="connsiteX88" fmla="*/ 308195 w 615019"/>
              <a:gd name="connsiteY88" fmla="*/ 110082 h 110081"/>
              <a:gd name="connsiteX89" fmla="*/ 285225 w 615019"/>
              <a:gd name="connsiteY89" fmla="*/ 104543 h 110081"/>
              <a:gd name="connsiteX90" fmla="*/ 285225 w 615019"/>
              <a:gd name="connsiteY90" fmla="*/ 91413 h 110081"/>
              <a:gd name="connsiteX91" fmla="*/ 308195 w 615019"/>
              <a:gd name="connsiteY91" fmla="*/ 98010 h 110081"/>
              <a:gd name="connsiteX92" fmla="*/ 323757 w 615019"/>
              <a:gd name="connsiteY92" fmla="*/ 92907 h 110081"/>
              <a:gd name="connsiteX93" fmla="*/ 333468 w 615019"/>
              <a:gd name="connsiteY93" fmla="*/ 79154 h 110081"/>
              <a:gd name="connsiteX94" fmla="*/ 337825 w 615019"/>
              <a:gd name="connsiteY94" fmla="*/ 59739 h 110081"/>
              <a:gd name="connsiteX95" fmla="*/ 326745 w 615019"/>
              <a:gd name="connsiteY95" fmla="*/ 68389 h 110081"/>
              <a:gd name="connsiteX96" fmla="*/ 312863 w 615019"/>
              <a:gd name="connsiteY96" fmla="*/ 71127 h 110081"/>
              <a:gd name="connsiteX97" fmla="*/ 295496 w 615019"/>
              <a:gd name="connsiteY97" fmla="*/ 67082 h 110081"/>
              <a:gd name="connsiteX98" fmla="*/ 283108 w 615019"/>
              <a:gd name="connsiteY98" fmla="*/ 55134 h 110081"/>
              <a:gd name="connsiteX99" fmla="*/ 278626 w 615019"/>
              <a:gd name="connsiteY99" fmla="*/ 35844 h 110081"/>
              <a:gd name="connsiteX100" fmla="*/ 314669 w 615019"/>
              <a:gd name="connsiteY100" fmla="*/ 12134 h 110081"/>
              <a:gd name="connsiteX101" fmla="*/ 303900 w 615019"/>
              <a:gd name="connsiteY101" fmla="*/ 14810 h 110081"/>
              <a:gd name="connsiteX102" fmla="*/ 295807 w 615019"/>
              <a:gd name="connsiteY102" fmla="*/ 22589 h 110081"/>
              <a:gd name="connsiteX103" fmla="*/ 292819 w 615019"/>
              <a:gd name="connsiteY103" fmla="*/ 35532 h 110081"/>
              <a:gd name="connsiteX104" fmla="*/ 295807 w 615019"/>
              <a:gd name="connsiteY104" fmla="*/ 48725 h 110081"/>
              <a:gd name="connsiteX105" fmla="*/ 303464 w 615019"/>
              <a:gd name="connsiteY105" fmla="*/ 56752 h 110081"/>
              <a:gd name="connsiteX106" fmla="*/ 313175 w 615019"/>
              <a:gd name="connsiteY106" fmla="*/ 59428 h 110081"/>
              <a:gd name="connsiteX107" fmla="*/ 329608 w 615019"/>
              <a:gd name="connsiteY107" fmla="*/ 53329 h 110081"/>
              <a:gd name="connsiteX108" fmla="*/ 336331 w 615019"/>
              <a:gd name="connsiteY108" fmla="*/ 35283 h 110081"/>
              <a:gd name="connsiteX109" fmla="*/ 330480 w 615019"/>
              <a:gd name="connsiteY109" fmla="*/ 18544 h 110081"/>
              <a:gd name="connsiteX110" fmla="*/ 314669 w 615019"/>
              <a:gd name="connsiteY110" fmla="*/ 12134 h 110081"/>
              <a:gd name="connsiteX111" fmla="*/ 368389 w 615019"/>
              <a:gd name="connsiteY111" fmla="*/ 1493 h 110081"/>
              <a:gd name="connsiteX112" fmla="*/ 404680 w 615019"/>
              <a:gd name="connsiteY112" fmla="*/ 1493 h 110081"/>
              <a:gd name="connsiteX113" fmla="*/ 431448 w 615019"/>
              <a:gd name="connsiteY113" fmla="*/ 7467 h 110081"/>
              <a:gd name="connsiteX114" fmla="*/ 440723 w 615019"/>
              <a:gd name="connsiteY114" fmla="*/ 27629 h 110081"/>
              <a:gd name="connsiteX115" fmla="*/ 434872 w 615019"/>
              <a:gd name="connsiteY115" fmla="*/ 45116 h 110081"/>
              <a:gd name="connsiteX116" fmla="*/ 419372 w 615019"/>
              <a:gd name="connsiteY116" fmla="*/ 53018 h 110081"/>
              <a:gd name="connsiteX117" fmla="*/ 438171 w 615019"/>
              <a:gd name="connsiteY117" fmla="*/ 60361 h 110081"/>
              <a:gd name="connsiteX118" fmla="*/ 444582 w 615019"/>
              <a:gd name="connsiteY118" fmla="*/ 77661 h 110081"/>
              <a:gd name="connsiteX119" fmla="*/ 439354 w 615019"/>
              <a:gd name="connsiteY119" fmla="*/ 95583 h 110081"/>
              <a:gd name="connsiteX120" fmla="*/ 425036 w 615019"/>
              <a:gd name="connsiteY120" fmla="*/ 105601 h 110081"/>
              <a:gd name="connsiteX121" fmla="*/ 404431 w 615019"/>
              <a:gd name="connsiteY121" fmla="*/ 108588 h 110081"/>
              <a:gd name="connsiteX122" fmla="*/ 368389 w 615019"/>
              <a:gd name="connsiteY122" fmla="*/ 108588 h 110081"/>
              <a:gd name="connsiteX123" fmla="*/ 368389 w 615019"/>
              <a:gd name="connsiteY123" fmla="*/ 1493 h 110081"/>
              <a:gd name="connsiteX124" fmla="*/ 403685 w 615019"/>
              <a:gd name="connsiteY124" fmla="*/ 47231 h 110081"/>
              <a:gd name="connsiteX125" fmla="*/ 420118 w 615019"/>
              <a:gd name="connsiteY125" fmla="*/ 42751 h 110081"/>
              <a:gd name="connsiteX126" fmla="*/ 426530 w 615019"/>
              <a:gd name="connsiteY126" fmla="*/ 28376 h 110081"/>
              <a:gd name="connsiteX127" fmla="*/ 420866 w 615019"/>
              <a:gd name="connsiteY127" fmla="*/ 17361 h 110081"/>
              <a:gd name="connsiteX128" fmla="*/ 404680 w 615019"/>
              <a:gd name="connsiteY128" fmla="*/ 14374 h 110081"/>
              <a:gd name="connsiteX129" fmla="*/ 382457 w 615019"/>
              <a:gd name="connsiteY129" fmla="*/ 14374 h 110081"/>
              <a:gd name="connsiteX130" fmla="*/ 382457 w 615019"/>
              <a:gd name="connsiteY130" fmla="*/ 47231 h 110081"/>
              <a:gd name="connsiteX131" fmla="*/ 403685 w 615019"/>
              <a:gd name="connsiteY131" fmla="*/ 47231 h 110081"/>
              <a:gd name="connsiteX132" fmla="*/ 404431 w 615019"/>
              <a:gd name="connsiteY132" fmla="*/ 95893 h 110081"/>
              <a:gd name="connsiteX133" fmla="*/ 422794 w 615019"/>
              <a:gd name="connsiteY133" fmla="*/ 92035 h 110081"/>
              <a:gd name="connsiteX134" fmla="*/ 429829 w 615019"/>
              <a:gd name="connsiteY134" fmla="*/ 77972 h 110081"/>
              <a:gd name="connsiteX135" fmla="*/ 423231 w 615019"/>
              <a:gd name="connsiteY135" fmla="*/ 63908 h 110081"/>
              <a:gd name="connsiteX136" fmla="*/ 402750 w 615019"/>
              <a:gd name="connsiteY136" fmla="*/ 59926 h 110081"/>
              <a:gd name="connsiteX137" fmla="*/ 382457 w 615019"/>
              <a:gd name="connsiteY137" fmla="*/ 59926 h 110081"/>
              <a:gd name="connsiteX138" fmla="*/ 382457 w 615019"/>
              <a:gd name="connsiteY138" fmla="*/ 95893 h 110081"/>
              <a:gd name="connsiteX139" fmla="*/ 404431 w 615019"/>
              <a:gd name="connsiteY139" fmla="*/ 95893 h 110081"/>
              <a:gd name="connsiteX140" fmla="*/ 464689 w 615019"/>
              <a:gd name="connsiteY140" fmla="*/ 1493 h 110081"/>
              <a:gd name="connsiteX141" fmla="*/ 530113 w 615019"/>
              <a:gd name="connsiteY141" fmla="*/ 1493 h 110081"/>
              <a:gd name="connsiteX142" fmla="*/ 530113 w 615019"/>
              <a:gd name="connsiteY142" fmla="*/ 14374 h 110081"/>
              <a:gd name="connsiteX143" fmla="*/ 478758 w 615019"/>
              <a:gd name="connsiteY143" fmla="*/ 14374 h 110081"/>
              <a:gd name="connsiteX144" fmla="*/ 478758 w 615019"/>
              <a:gd name="connsiteY144" fmla="*/ 49907 h 110081"/>
              <a:gd name="connsiteX145" fmla="*/ 522332 w 615019"/>
              <a:gd name="connsiteY145" fmla="*/ 49907 h 110081"/>
              <a:gd name="connsiteX146" fmla="*/ 522332 w 615019"/>
              <a:gd name="connsiteY146" fmla="*/ 62601 h 110081"/>
              <a:gd name="connsiteX147" fmla="*/ 478758 w 615019"/>
              <a:gd name="connsiteY147" fmla="*/ 62601 h 110081"/>
              <a:gd name="connsiteX148" fmla="*/ 478758 w 615019"/>
              <a:gd name="connsiteY148" fmla="*/ 108588 h 110081"/>
              <a:gd name="connsiteX149" fmla="*/ 464689 w 615019"/>
              <a:gd name="connsiteY149" fmla="*/ 108588 h 110081"/>
              <a:gd name="connsiteX150" fmla="*/ 464689 w 615019"/>
              <a:gd name="connsiteY150" fmla="*/ 1493 h 110081"/>
              <a:gd name="connsiteX151" fmla="*/ 549596 w 615019"/>
              <a:gd name="connsiteY151" fmla="*/ 1493 h 110081"/>
              <a:gd name="connsiteX152" fmla="*/ 615020 w 615019"/>
              <a:gd name="connsiteY152" fmla="*/ 1493 h 110081"/>
              <a:gd name="connsiteX153" fmla="*/ 615020 w 615019"/>
              <a:gd name="connsiteY153" fmla="*/ 14374 h 110081"/>
              <a:gd name="connsiteX154" fmla="*/ 563665 w 615019"/>
              <a:gd name="connsiteY154" fmla="*/ 14374 h 110081"/>
              <a:gd name="connsiteX155" fmla="*/ 563665 w 615019"/>
              <a:gd name="connsiteY155" fmla="*/ 49907 h 110081"/>
              <a:gd name="connsiteX156" fmla="*/ 607239 w 615019"/>
              <a:gd name="connsiteY156" fmla="*/ 49907 h 110081"/>
              <a:gd name="connsiteX157" fmla="*/ 607239 w 615019"/>
              <a:gd name="connsiteY157" fmla="*/ 62601 h 110081"/>
              <a:gd name="connsiteX158" fmla="*/ 563665 w 615019"/>
              <a:gd name="connsiteY158" fmla="*/ 62601 h 110081"/>
              <a:gd name="connsiteX159" fmla="*/ 563665 w 615019"/>
              <a:gd name="connsiteY159" fmla="*/ 108588 h 110081"/>
              <a:gd name="connsiteX160" fmla="*/ 549596 w 615019"/>
              <a:gd name="connsiteY160" fmla="*/ 108588 h 110081"/>
              <a:gd name="connsiteX161" fmla="*/ 549596 w 615019"/>
              <a:gd name="connsiteY161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15019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8797" y="108588"/>
                </a:moveTo>
                <a:lnTo>
                  <a:pt x="145601" y="108588"/>
                </a:lnTo>
                <a:lnTo>
                  <a:pt x="145601" y="83199"/>
                </a:lnTo>
                <a:lnTo>
                  <a:pt x="99287" y="83199"/>
                </a:lnTo>
                <a:lnTo>
                  <a:pt x="99287" y="73927"/>
                </a:lnTo>
                <a:lnTo>
                  <a:pt x="141118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1" y="71873"/>
                </a:lnTo>
                <a:lnTo>
                  <a:pt x="145601" y="16117"/>
                </a:lnTo>
                <a:lnTo>
                  <a:pt x="112920" y="71873"/>
                </a:ln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1" y="3484"/>
                  <a:pt x="252981" y="7467"/>
                </a:cubicBezTo>
                <a:cubicBezTo>
                  <a:pt x="259205" y="11450"/>
                  <a:pt x="262256" y="18170"/>
                  <a:pt x="262256" y="27629"/>
                </a:cubicBezTo>
                <a:cubicBezTo>
                  <a:pt x="262256" y="35283"/>
                  <a:pt x="260326" y="41133"/>
                  <a:pt x="256465" y="45116"/>
                </a:cubicBezTo>
                <a:cubicBezTo>
                  <a:pt x="252544" y="48974"/>
                  <a:pt x="247377" y="51649"/>
                  <a:pt x="240903" y="53018"/>
                </a:cubicBezTo>
                <a:cubicBezTo>
                  <a:pt x="249183" y="54014"/>
                  <a:pt x="255470" y="56441"/>
                  <a:pt x="259702" y="60361"/>
                </a:cubicBezTo>
                <a:cubicBezTo>
                  <a:pt x="263999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7" y="95583"/>
                </a:cubicBezTo>
                <a:cubicBezTo>
                  <a:pt x="257462" y="100188"/>
                  <a:pt x="252669" y="103486"/>
                  <a:pt x="246569" y="105601"/>
                </a:cubicBezTo>
                <a:cubicBezTo>
                  <a:pt x="240531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6" y="47231"/>
                </a:moveTo>
                <a:cubicBezTo>
                  <a:pt x="232002" y="47231"/>
                  <a:pt x="237481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7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6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2" y="84755"/>
                  <a:pt x="251362" y="77972"/>
                </a:cubicBezTo>
                <a:cubicBezTo>
                  <a:pt x="251362" y="71189"/>
                  <a:pt x="249183" y="66522"/>
                  <a:pt x="244763" y="63908"/>
                </a:cubicBezTo>
                <a:cubicBezTo>
                  <a:pt x="240531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278626" y="35844"/>
                </a:moveTo>
                <a:cubicBezTo>
                  <a:pt x="278626" y="28687"/>
                  <a:pt x="280183" y="22402"/>
                  <a:pt x="283295" y="17051"/>
                </a:cubicBezTo>
                <a:cubicBezTo>
                  <a:pt x="286470" y="11637"/>
                  <a:pt x="290765" y="7467"/>
                  <a:pt x="296119" y="4480"/>
                </a:cubicBezTo>
                <a:cubicBezTo>
                  <a:pt x="301471" y="1493"/>
                  <a:pt x="307511" y="0"/>
                  <a:pt x="314170" y="0"/>
                </a:cubicBezTo>
                <a:cubicBezTo>
                  <a:pt x="323135" y="0"/>
                  <a:pt x="330356" y="1929"/>
                  <a:pt x="335833" y="5849"/>
                </a:cubicBezTo>
                <a:cubicBezTo>
                  <a:pt x="341436" y="9645"/>
                  <a:pt x="345482" y="14934"/>
                  <a:pt x="347973" y="21842"/>
                </a:cubicBezTo>
                <a:cubicBezTo>
                  <a:pt x="350462" y="28563"/>
                  <a:pt x="351707" y="36466"/>
                  <a:pt x="351707" y="45426"/>
                </a:cubicBezTo>
                <a:cubicBezTo>
                  <a:pt x="351707" y="58868"/>
                  <a:pt x="350150" y="70380"/>
                  <a:pt x="347038" y="80088"/>
                </a:cubicBezTo>
                <a:cubicBezTo>
                  <a:pt x="343988" y="89733"/>
                  <a:pt x="339194" y="97138"/>
                  <a:pt x="332720" y="102303"/>
                </a:cubicBezTo>
                <a:cubicBezTo>
                  <a:pt x="326371" y="107468"/>
                  <a:pt x="318155" y="110082"/>
                  <a:pt x="308195" y="110082"/>
                </a:cubicBezTo>
                <a:cubicBezTo>
                  <a:pt x="299231" y="110082"/>
                  <a:pt x="291575" y="108215"/>
                  <a:pt x="285225" y="104543"/>
                </a:cubicBezTo>
                <a:lnTo>
                  <a:pt x="285225" y="91413"/>
                </a:lnTo>
                <a:cubicBezTo>
                  <a:pt x="292011" y="95769"/>
                  <a:pt x="299667" y="98010"/>
                  <a:pt x="308195" y="98010"/>
                </a:cubicBezTo>
                <a:cubicBezTo>
                  <a:pt x="314420" y="98010"/>
                  <a:pt x="319587" y="96267"/>
                  <a:pt x="323757" y="92907"/>
                </a:cubicBezTo>
                <a:cubicBezTo>
                  <a:pt x="327927" y="89546"/>
                  <a:pt x="331164" y="84941"/>
                  <a:pt x="333468" y="79154"/>
                </a:cubicBezTo>
                <a:cubicBezTo>
                  <a:pt x="335833" y="73367"/>
                  <a:pt x="337327" y="66896"/>
                  <a:pt x="337825" y="59739"/>
                </a:cubicBezTo>
                <a:cubicBezTo>
                  <a:pt x="334713" y="63660"/>
                  <a:pt x="331039" y="66522"/>
                  <a:pt x="326745" y="68389"/>
                </a:cubicBezTo>
                <a:cubicBezTo>
                  <a:pt x="322450" y="70193"/>
                  <a:pt x="317844" y="71127"/>
                  <a:pt x="312863" y="71127"/>
                </a:cubicBezTo>
                <a:cubicBezTo>
                  <a:pt x="306451" y="71127"/>
                  <a:pt x="300725" y="69758"/>
                  <a:pt x="295496" y="67082"/>
                </a:cubicBezTo>
                <a:cubicBezTo>
                  <a:pt x="290330" y="64406"/>
                  <a:pt x="286221" y="60424"/>
                  <a:pt x="283108" y="55134"/>
                </a:cubicBezTo>
                <a:cubicBezTo>
                  <a:pt x="280120" y="49845"/>
                  <a:pt x="278626" y="43435"/>
                  <a:pt x="278626" y="35844"/>
                </a:cubicBezTo>
                <a:close/>
                <a:moveTo>
                  <a:pt x="314669" y="12134"/>
                </a:moveTo>
                <a:cubicBezTo>
                  <a:pt x="310871" y="12134"/>
                  <a:pt x="307261" y="13006"/>
                  <a:pt x="303900" y="14810"/>
                </a:cubicBezTo>
                <a:cubicBezTo>
                  <a:pt x="300600" y="16490"/>
                  <a:pt x="297924" y="19104"/>
                  <a:pt x="295807" y="22589"/>
                </a:cubicBezTo>
                <a:cubicBezTo>
                  <a:pt x="293815" y="25949"/>
                  <a:pt x="292819" y="30305"/>
                  <a:pt x="292819" y="35532"/>
                </a:cubicBezTo>
                <a:cubicBezTo>
                  <a:pt x="292819" y="40759"/>
                  <a:pt x="293815" y="45116"/>
                  <a:pt x="295807" y="48725"/>
                </a:cubicBezTo>
                <a:cubicBezTo>
                  <a:pt x="297800" y="52271"/>
                  <a:pt x="300351" y="54947"/>
                  <a:pt x="303464" y="56752"/>
                </a:cubicBezTo>
                <a:cubicBezTo>
                  <a:pt x="306514" y="58556"/>
                  <a:pt x="309751" y="59428"/>
                  <a:pt x="313175" y="59428"/>
                </a:cubicBezTo>
                <a:cubicBezTo>
                  <a:pt x="319711" y="59428"/>
                  <a:pt x="325188" y="57437"/>
                  <a:pt x="329608" y="53329"/>
                </a:cubicBezTo>
                <a:cubicBezTo>
                  <a:pt x="334090" y="49160"/>
                  <a:pt x="336331" y="43124"/>
                  <a:pt x="336331" y="35283"/>
                </a:cubicBezTo>
                <a:cubicBezTo>
                  <a:pt x="336331" y="28313"/>
                  <a:pt x="334339" y="22713"/>
                  <a:pt x="330480" y="18544"/>
                </a:cubicBezTo>
                <a:cubicBezTo>
                  <a:pt x="326620" y="14250"/>
                  <a:pt x="321330" y="12134"/>
                  <a:pt x="314669" y="12134"/>
                </a:cubicBezTo>
                <a:close/>
                <a:moveTo>
                  <a:pt x="368389" y="1493"/>
                </a:moveTo>
                <a:lnTo>
                  <a:pt x="404680" y="1493"/>
                </a:lnTo>
                <a:cubicBezTo>
                  <a:pt x="416446" y="1493"/>
                  <a:pt x="425348" y="3484"/>
                  <a:pt x="431448" y="7467"/>
                </a:cubicBezTo>
                <a:cubicBezTo>
                  <a:pt x="437610" y="11450"/>
                  <a:pt x="440723" y="18170"/>
                  <a:pt x="440723" y="27629"/>
                </a:cubicBezTo>
                <a:cubicBezTo>
                  <a:pt x="440723" y="35283"/>
                  <a:pt x="438793" y="41133"/>
                  <a:pt x="434872" y="45116"/>
                </a:cubicBezTo>
                <a:cubicBezTo>
                  <a:pt x="431012" y="48974"/>
                  <a:pt x="425846" y="51649"/>
                  <a:pt x="419372" y="53018"/>
                </a:cubicBezTo>
                <a:cubicBezTo>
                  <a:pt x="427588" y="54014"/>
                  <a:pt x="433875" y="56441"/>
                  <a:pt x="438171" y="60361"/>
                </a:cubicBezTo>
                <a:cubicBezTo>
                  <a:pt x="442466" y="64157"/>
                  <a:pt x="444582" y="69882"/>
                  <a:pt x="444582" y="77661"/>
                </a:cubicBezTo>
                <a:cubicBezTo>
                  <a:pt x="444582" y="85066"/>
                  <a:pt x="442840" y="91040"/>
                  <a:pt x="439354" y="95583"/>
                </a:cubicBezTo>
                <a:cubicBezTo>
                  <a:pt x="435867" y="100188"/>
                  <a:pt x="431074" y="103486"/>
                  <a:pt x="425036" y="105601"/>
                </a:cubicBezTo>
                <a:cubicBezTo>
                  <a:pt x="418936" y="107592"/>
                  <a:pt x="412088" y="108588"/>
                  <a:pt x="404431" y="108588"/>
                </a:cubicBezTo>
                <a:lnTo>
                  <a:pt x="368389" y="108588"/>
                </a:lnTo>
                <a:lnTo>
                  <a:pt x="368389" y="1493"/>
                </a:lnTo>
                <a:close/>
                <a:moveTo>
                  <a:pt x="403685" y="47231"/>
                </a:moveTo>
                <a:cubicBezTo>
                  <a:pt x="410407" y="47231"/>
                  <a:pt x="415886" y="45738"/>
                  <a:pt x="420118" y="42751"/>
                </a:cubicBezTo>
                <a:cubicBezTo>
                  <a:pt x="424351" y="39639"/>
                  <a:pt x="426530" y="34848"/>
                  <a:pt x="426530" y="28376"/>
                </a:cubicBezTo>
                <a:cubicBezTo>
                  <a:pt x="426530" y="22900"/>
                  <a:pt x="424600" y="19228"/>
                  <a:pt x="420866" y="17361"/>
                </a:cubicBezTo>
                <a:cubicBezTo>
                  <a:pt x="417068" y="15370"/>
                  <a:pt x="411653" y="14374"/>
                  <a:pt x="404680" y="14374"/>
                </a:cubicBezTo>
                <a:lnTo>
                  <a:pt x="382457" y="14374"/>
                </a:lnTo>
                <a:lnTo>
                  <a:pt x="382457" y="47231"/>
                </a:lnTo>
                <a:lnTo>
                  <a:pt x="403685" y="47231"/>
                </a:lnTo>
                <a:close/>
                <a:moveTo>
                  <a:pt x="404431" y="95893"/>
                </a:moveTo>
                <a:cubicBezTo>
                  <a:pt x="411963" y="95893"/>
                  <a:pt x="418126" y="94587"/>
                  <a:pt x="422794" y="92035"/>
                </a:cubicBezTo>
                <a:cubicBezTo>
                  <a:pt x="427463" y="89422"/>
                  <a:pt x="429829" y="84755"/>
                  <a:pt x="429829" y="77972"/>
                </a:cubicBezTo>
                <a:cubicBezTo>
                  <a:pt x="429829" y="71189"/>
                  <a:pt x="427588" y="66522"/>
                  <a:pt x="423231" y="63908"/>
                </a:cubicBezTo>
                <a:cubicBezTo>
                  <a:pt x="418936" y="61233"/>
                  <a:pt x="412150" y="59926"/>
                  <a:pt x="402750" y="59926"/>
                </a:cubicBezTo>
                <a:lnTo>
                  <a:pt x="382457" y="59926"/>
                </a:lnTo>
                <a:lnTo>
                  <a:pt x="382457" y="95893"/>
                </a:lnTo>
                <a:lnTo>
                  <a:pt x="404431" y="95893"/>
                </a:lnTo>
                <a:close/>
                <a:moveTo>
                  <a:pt x="464689" y="1493"/>
                </a:moveTo>
                <a:lnTo>
                  <a:pt x="530113" y="1493"/>
                </a:lnTo>
                <a:lnTo>
                  <a:pt x="530113" y="14374"/>
                </a:lnTo>
                <a:lnTo>
                  <a:pt x="478758" y="14374"/>
                </a:lnTo>
                <a:lnTo>
                  <a:pt x="478758" y="49907"/>
                </a:lnTo>
                <a:lnTo>
                  <a:pt x="522332" y="49907"/>
                </a:lnTo>
                <a:lnTo>
                  <a:pt x="522332" y="62601"/>
                </a:lnTo>
                <a:lnTo>
                  <a:pt x="478758" y="62601"/>
                </a:lnTo>
                <a:lnTo>
                  <a:pt x="478758" y="108588"/>
                </a:lnTo>
                <a:lnTo>
                  <a:pt x="464689" y="108588"/>
                </a:lnTo>
                <a:lnTo>
                  <a:pt x="464689" y="1493"/>
                </a:lnTo>
                <a:close/>
                <a:moveTo>
                  <a:pt x="549596" y="1493"/>
                </a:moveTo>
                <a:lnTo>
                  <a:pt x="615020" y="1493"/>
                </a:lnTo>
                <a:lnTo>
                  <a:pt x="615020" y="14374"/>
                </a:lnTo>
                <a:lnTo>
                  <a:pt x="563665" y="14374"/>
                </a:lnTo>
                <a:lnTo>
                  <a:pt x="563665" y="49907"/>
                </a:lnTo>
                <a:lnTo>
                  <a:pt x="607239" y="49907"/>
                </a:lnTo>
                <a:lnTo>
                  <a:pt x="607239" y="62601"/>
                </a:lnTo>
                <a:lnTo>
                  <a:pt x="563665" y="62601"/>
                </a:lnTo>
                <a:lnTo>
                  <a:pt x="563665" y="108588"/>
                </a:lnTo>
                <a:lnTo>
                  <a:pt x="549596" y="108588"/>
                </a:lnTo>
                <a:lnTo>
                  <a:pt x="549596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0" name="Полилиния 959">
            <a:extLst>
              <a:ext uri="{FF2B5EF4-FFF2-40B4-BE49-F238E27FC236}">
                <a16:creationId xmlns:a16="http://schemas.microsoft.com/office/drawing/2014/main" id="{6E681353-E29D-5E89-D413-14556BFE4794}"/>
              </a:ext>
            </a:extLst>
          </p:cNvPr>
          <p:cNvSpPr/>
          <p:nvPr userDrawn="1"/>
        </p:nvSpPr>
        <p:spPr>
          <a:xfrm>
            <a:off x="9547358" y="8871205"/>
            <a:ext cx="2557159" cy="726227"/>
          </a:xfrm>
          <a:custGeom>
            <a:avLst/>
            <a:gdLst>
              <a:gd name="connsiteX0" fmla="*/ 2604 w 2191162"/>
              <a:gd name="connsiteY0" fmla="*/ 1722 h 622284"/>
              <a:gd name="connsiteX1" fmla="*/ 2193767 w 2191162"/>
              <a:gd name="connsiteY1" fmla="*/ 1722 h 622284"/>
              <a:gd name="connsiteX2" fmla="*/ 2193767 w 2191162"/>
              <a:gd name="connsiteY2" fmla="*/ 624006 h 622284"/>
              <a:gd name="connsiteX3" fmla="*/ 2604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722"/>
                </a:moveTo>
                <a:lnTo>
                  <a:pt x="2193767" y="1722"/>
                </a:lnTo>
                <a:lnTo>
                  <a:pt x="2193767" y="624006"/>
                </a:lnTo>
                <a:lnTo>
                  <a:pt x="2604" y="624006"/>
                </a:lnTo>
                <a:close/>
              </a:path>
            </a:pathLst>
          </a:custGeom>
          <a:solidFill>
            <a:srgbClr val="82B9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1" name="Полилиния 960">
            <a:extLst>
              <a:ext uri="{FF2B5EF4-FFF2-40B4-BE49-F238E27FC236}">
                <a16:creationId xmlns:a16="http://schemas.microsoft.com/office/drawing/2014/main" id="{7A523B4A-0207-699B-A362-F26222D7BCA0}"/>
              </a:ext>
            </a:extLst>
          </p:cNvPr>
          <p:cNvSpPr/>
          <p:nvPr userDrawn="1"/>
        </p:nvSpPr>
        <p:spPr>
          <a:xfrm>
            <a:off x="9670565" y="9172951"/>
            <a:ext cx="701257" cy="128468"/>
          </a:xfrm>
          <a:custGeom>
            <a:avLst/>
            <a:gdLst>
              <a:gd name="connsiteX0" fmla="*/ 22099 w 600889"/>
              <a:gd name="connsiteY0" fmla="*/ 108588 h 110081"/>
              <a:gd name="connsiteX1" fmla="*/ 10147 w 600889"/>
              <a:gd name="connsiteY1" fmla="*/ 108588 h 110081"/>
              <a:gd name="connsiteX2" fmla="*/ 16435 w 600889"/>
              <a:gd name="connsiteY2" fmla="*/ 77661 h 110081"/>
              <a:gd name="connsiteX3" fmla="*/ 0 w 600889"/>
              <a:gd name="connsiteY3" fmla="*/ 77661 h 110081"/>
              <a:gd name="connsiteX4" fmla="*/ 0 w 600889"/>
              <a:gd name="connsiteY4" fmla="*/ 67206 h 110081"/>
              <a:gd name="connsiteX5" fmla="*/ 18675 w 600889"/>
              <a:gd name="connsiteY5" fmla="*/ 67206 h 110081"/>
              <a:gd name="connsiteX6" fmla="*/ 24216 w 600889"/>
              <a:gd name="connsiteY6" fmla="*/ 40012 h 110081"/>
              <a:gd name="connsiteX7" fmla="*/ 4047 w 600889"/>
              <a:gd name="connsiteY7" fmla="*/ 40012 h 110081"/>
              <a:gd name="connsiteX8" fmla="*/ 4047 w 600889"/>
              <a:gd name="connsiteY8" fmla="*/ 29559 h 110081"/>
              <a:gd name="connsiteX9" fmla="*/ 26269 w 600889"/>
              <a:gd name="connsiteY9" fmla="*/ 29559 h 110081"/>
              <a:gd name="connsiteX10" fmla="*/ 32121 w 600889"/>
              <a:gd name="connsiteY10" fmla="*/ 1493 h 110081"/>
              <a:gd name="connsiteX11" fmla="*/ 44073 w 600889"/>
              <a:gd name="connsiteY11" fmla="*/ 1493 h 110081"/>
              <a:gd name="connsiteX12" fmla="*/ 38222 w 600889"/>
              <a:gd name="connsiteY12" fmla="*/ 29559 h 110081"/>
              <a:gd name="connsiteX13" fmla="*/ 60630 w 600889"/>
              <a:gd name="connsiteY13" fmla="*/ 29559 h 110081"/>
              <a:gd name="connsiteX14" fmla="*/ 66481 w 600889"/>
              <a:gd name="connsiteY14" fmla="*/ 1493 h 110081"/>
              <a:gd name="connsiteX15" fmla="*/ 78434 w 600889"/>
              <a:gd name="connsiteY15" fmla="*/ 1493 h 110081"/>
              <a:gd name="connsiteX16" fmla="*/ 72583 w 600889"/>
              <a:gd name="connsiteY16" fmla="*/ 29559 h 110081"/>
              <a:gd name="connsiteX17" fmla="*/ 89328 w 600889"/>
              <a:gd name="connsiteY17" fmla="*/ 29559 h 110081"/>
              <a:gd name="connsiteX18" fmla="*/ 89328 w 600889"/>
              <a:gd name="connsiteY18" fmla="*/ 40012 h 110081"/>
              <a:gd name="connsiteX19" fmla="*/ 70529 w 600889"/>
              <a:gd name="connsiteY19" fmla="*/ 40012 h 110081"/>
              <a:gd name="connsiteX20" fmla="*/ 64988 w 600889"/>
              <a:gd name="connsiteY20" fmla="*/ 67206 h 110081"/>
              <a:gd name="connsiteX21" fmla="*/ 85281 w 600889"/>
              <a:gd name="connsiteY21" fmla="*/ 67206 h 110081"/>
              <a:gd name="connsiteX22" fmla="*/ 85281 w 600889"/>
              <a:gd name="connsiteY22" fmla="*/ 77661 h 110081"/>
              <a:gd name="connsiteX23" fmla="*/ 62747 w 600889"/>
              <a:gd name="connsiteY23" fmla="*/ 77661 h 110081"/>
              <a:gd name="connsiteX24" fmla="*/ 56460 w 600889"/>
              <a:gd name="connsiteY24" fmla="*/ 108588 h 110081"/>
              <a:gd name="connsiteX25" fmla="*/ 44509 w 600889"/>
              <a:gd name="connsiteY25" fmla="*/ 108588 h 110081"/>
              <a:gd name="connsiteX26" fmla="*/ 50796 w 600889"/>
              <a:gd name="connsiteY26" fmla="*/ 77661 h 110081"/>
              <a:gd name="connsiteX27" fmla="*/ 28386 w 600889"/>
              <a:gd name="connsiteY27" fmla="*/ 77661 h 110081"/>
              <a:gd name="connsiteX28" fmla="*/ 22099 w 600889"/>
              <a:gd name="connsiteY28" fmla="*/ 108588 h 110081"/>
              <a:gd name="connsiteX29" fmla="*/ 30626 w 600889"/>
              <a:gd name="connsiteY29" fmla="*/ 67206 h 110081"/>
              <a:gd name="connsiteX30" fmla="*/ 53036 w 600889"/>
              <a:gd name="connsiteY30" fmla="*/ 67206 h 110081"/>
              <a:gd name="connsiteX31" fmla="*/ 58577 w 600889"/>
              <a:gd name="connsiteY31" fmla="*/ 40012 h 110081"/>
              <a:gd name="connsiteX32" fmla="*/ 36167 w 600889"/>
              <a:gd name="connsiteY32" fmla="*/ 40012 h 110081"/>
              <a:gd name="connsiteX33" fmla="*/ 30626 w 600889"/>
              <a:gd name="connsiteY33" fmla="*/ 67206 h 110081"/>
              <a:gd name="connsiteX34" fmla="*/ 136823 w 600889"/>
              <a:gd name="connsiteY34" fmla="*/ 110082 h 110081"/>
              <a:gd name="connsiteX35" fmla="*/ 118148 w 600889"/>
              <a:gd name="connsiteY35" fmla="*/ 106473 h 110081"/>
              <a:gd name="connsiteX36" fmla="*/ 105449 w 600889"/>
              <a:gd name="connsiteY36" fmla="*/ 96205 h 110081"/>
              <a:gd name="connsiteX37" fmla="*/ 100781 w 600889"/>
              <a:gd name="connsiteY37" fmla="*/ 79777 h 110081"/>
              <a:gd name="connsiteX38" fmla="*/ 106197 w 600889"/>
              <a:gd name="connsiteY38" fmla="*/ 62291 h 110081"/>
              <a:gd name="connsiteX39" fmla="*/ 120949 w 600889"/>
              <a:gd name="connsiteY39" fmla="*/ 51711 h 110081"/>
              <a:gd name="connsiteX40" fmla="*/ 108998 w 600889"/>
              <a:gd name="connsiteY40" fmla="*/ 42564 h 110081"/>
              <a:gd name="connsiteX41" fmla="*/ 104703 w 600889"/>
              <a:gd name="connsiteY41" fmla="*/ 27504 h 110081"/>
              <a:gd name="connsiteX42" fmla="*/ 108873 w 600889"/>
              <a:gd name="connsiteY42" fmla="*/ 12570 h 110081"/>
              <a:gd name="connsiteX43" fmla="*/ 120390 w 600889"/>
              <a:gd name="connsiteY43" fmla="*/ 3298 h 110081"/>
              <a:gd name="connsiteX44" fmla="*/ 136823 w 600889"/>
              <a:gd name="connsiteY44" fmla="*/ 186 h 110081"/>
              <a:gd name="connsiteX45" fmla="*/ 152946 w 600889"/>
              <a:gd name="connsiteY45" fmla="*/ 3298 h 110081"/>
              <a:gd name="connsiteX46" fmla="*/ 164276 w 600889"/>
              <a:gd name="connsiteY46" fmla="*/ 12259 h 110081"/>
              <a:gd name="connsiteX47" fmla="*/ 168633 w 600889"/>
              <a:gd name="connsiteY47" fmla="*/ 27194 h 110081"/>
              <a:gd name="connsiteX48" fmla="*/ 164151 w 600889"/>
              <a:gd name="connsiteY48" fmla="*/ 42439 h 110081"/>
              <a:gd name="connsiteX49" fmla="*/ 152323 w 600889"/>
              <a:gd name="connsiteY49" fmla="*/ 51711 h 110081"/>
              <a:gd name="connsiteX50" fmla="*/ 166703 w 600889"/>
              <a:gd name="connsiteY50" fmla="*/ 61855 h 110081"/>
              <a:gd name="connsiteX51" fmla="*/ 172242 w 600889"/>
              <a:gd name="connsiteY51" fmla="*/ 79341 h 110081"/>
              <a:gd name="connsiteX52" fmla="*/ 167574 w 600889"/>
              <a:gd name="connsiteY52" fmla="*/ 95893 h 110081"/>
              <a:gd name="connsiteX53" fmla="*/ 154876 w 600889"/>
              <a:gd name="connsiteY53" fmla="*/ 106473 h 110081"/>
              <a:gd name="connsiteX54" fmla="*/ 136823 w 600889"/>
              <a:gd name="connsiteY54" fmla="*/ 110082 h 110081"/>
              <a:gd name="connsiteX55" fmla="*/ 136823 w 600889"/>
              <a:gd name="connsiteY55" fmla="*/ 46298 h 110081"/>
              <a:gd name="connsiteX56" fmla="*/ 149834 w 600889"/>
              <a:gd name="connsiteY56" fmla="*/ 41817 h 110081"/>
              <a:gd name="connsiteX57" fmla="*/ 155063 w 600889"/>
              <a:gd name="connsiteY57" fmla="*/ 29122 h 110081"/>
              <a:gd name="connsiteX58" fmla="*/ 149834 w 600889"/>
              <a:gd name="connsiteY58" fmla="*/ 16615 h 110081"/>
              <a:gd name="connsiteX59" fmla="*/ 136823 w 600889"/>
              <a:gd name="connsiteY59" fmla="*/ 11947 h 110081"/>
              <a:gd name="connsiteX60" fmla="*/ 123502 w 600889"/>
              <a:gd name="connsiteY60" fmla="*/ 16615 h 110081"/>
              <a:gd name="connsiteX61" fmla="*/ 118273 w 600889"/>
              <a:gd name="connsiteY61" fmla="*/ 29122 h 110081"/>
              <a:gd name="connsiteX62" fmla="*/ 123502 w 600889"/>
              <a:gd name="connsiteY62" fmla="*/ 41817 h 110081"/>
              <a:gd name="connsiteX63" fmla="*/ 136823 w 600889"/>
              <a:gd name="connsiteY63" fmla="*/ 46298 h 110081"/>
              <a:gd name="connsiteX64" fmla="*/ 136823 w 600889"/>
              <a:gd name="connsiteY64" fmla="*/ 98258 h 110081"/>
              <a:gd name="connsiteX65" fmla="*/ 152198 w 600889"/>
              <a:gd name="connsiteY65" fmla="*/ 92907 h 110081"/>
              <a:gd name="connsiteX66" fmla="*/ 158486 w 600889"/>
              <a:gd name="connsiteY66" fmla="*/ 77536 h 110081"/>
              <a:gd name="connsiteX67" fmla="*/ 152198 w 600889"/>
              <a:gd name="connsiteY67" fmla="*/ 62291 h 110081"/>
              <a:gd name="connsiteX68" fmla="*/ 136823 w 600889"/>
              <a:gd name="connsiteY68" fmla="*/ 56752 h 110081"/>
              <a:gd name="connsiteX69" fmla="*/ 120826 w 600889"/>
              <a:gd name="connsiteY69" fmla="*/ 62291 h 110081"/>
              <a:gd name="connsiteX70" fmla="*/ 114539 w 600889"/>
              <a:gd name="connsiteY70" fmla="*/ 77536 h 110081"/>
              <a:gd name="connsiteX71" fmla="*/ 120826 w 600889"/>
              <a:gd name="connsiteY71" fmla="*/ 92907 h 110081"/>
              <a:gd name="connsiteX72" fmla="*/ 136823 w 600889"/>
              <a:gd name="connsiteY72" fmla="*/ 98258 h 110081"/>
              <a:gd name="connsiteX73" fmla="*/ 252981 w 600889"/>
              <a:gd name="connsiteY73" fmla="*/ 108588 h 110081"/>
              <a:gd name="connsiteX74" fmla="*/ 184754 w 600889"/>
              <a:gd name="connsiteY74" fmla="*/ 108588 h 110081"/>
              <a:gd name="connsiteX75" fmla="*/ 184754 w 600889"/>
              <a:gd name="connsiteY75" fmla="*/ 94400 h 110081"/>
              <a:gd name="connsiteX76" fmla="*/ 210900 w 600889"/>
              <a:gd name="connsiteY76" fmla="*/ 72433 h 110081"/>
              <a:gd name="connsiteX77" fmla="*/ 226835 w 600889"/>
              <a:gd name="connsiteY77" fmla="*/ 56628 h 110081"/>
              <a:gd name="connsiteX78" fmla="*/ 234927 w 600889"/>
              <a:gd name="connsiteY78" fmla="*/ 43933 h 110081"/>
              <a:gd name="connsiteX79" fmla="*/ 237294 w 600889"/>
              <a:gd name="connsiteY79" fmla="*/ 32109 h 110081"/>
              <a:gd name="connsiteX80" fmla="*/ 231815 w 600889"/>
              <a:gd name="connsiteY80" fmla="*/ 17610 h 110081"/>
              <a:gd name="connsiteX81" fmla="*/ 216564 w 600889"/>
              <a:gd name="connsiteY81" fmla="*/ 12383 h 110081"/>
              <a:gd name="connsiteX82" fmla="*/ 187557 w 600889"/>
              <a:gd name="connsiteY82" fmla="*/ 27194 h 110081"/>
              <a:gd name="connsiteX83" fmla="*/ 187557 w 600889"/>
              <a:gd name="connsiteY83" fmla="*/ 12134 h 110081"/>
              <a:gd name="connsiteX84" fmla="*/ 217001 w 600889"/>
              <a:gd name="connsiteY84" fmla="*/ 0 h 110081"/>
              <a:gd name="connsiteX85" fmla="*/ 242397 w 600889"/>
              <a:gd name="connsiteY85" fmla="*/ 8401 h 110081"/>
              <a:gd name="connsiteX86" fmla="*/ 251797 w 600889"/>
              <a:gd name="connsiteY86" fmla="*/ 30803 h 110081"/>
              <a:gd name="connsiteX87" fmla="*/ 249432 w 600889"/>
              <a:gd name="connsiteY87" fmla="*/ 44804 h 110081"/>
              <a:gd name="connsiteX88" fmla="*/ 241339 w 600889"/>
              <a:gd name="connsiteY88" fmla="*/ 58681 h 110081"/>
              <a:gd name="connsiteX89" fmla="*/ 225652 w 600889"/>
              <a:gd name="connsiteY89" fmla="*/ 74860 h 110081"/>
              <a:gd name="connsiteX90" fmla="*/ 200254 w 600889"/>
              <a:gd name="connsiteY90" fmla="*/ 95769 h 110081"/>
              <a:gd name="connsiteX91" fmla="*/ 252981 w 600889"/>
              <a:gd name="connsiteY91" fmla="*/ 95769 h 110081"/>
              <a:gd name="connsiteX92" fmla="*/ 252981 w 600889"/>
              <a:gd name="connsiteY92" fmla="*/ 108588 h 110081"/>
              <a:gd name="connsiteX93" fmla="*/ 272090 w 600889"/>
              <a:gd name="connsiteY93" fmla="*/ 1493 h 110081"/>
              <a:gd name="connsiteX94" fmla="*/ 308382 w 600889"/>
              <a:gd name="connsiteY94" fmla="*/ 1493 h 110081"/>
              <a:gd name="connsiteX95" fmla="*/ 335149 w 600889"/>
              <a:gd name="connsiteY95" fmla="*/ 7467 h 110081"/>
              <a:gd name="connsiteX96" fmla="*/ 344424 w 600889"/>
              <a:gd name="connsiteY96" fmla="*/ 27629 h 110081"/>
              <a:gd name="connsiteX97" fmla="*/ 338573 w 600889"/>
              <a:gd name="connsiteY97" fmla="*/ 45116 h 110081"/>
              <a:gd name="connsiteX98" fmla="*/ 323073 w 600889"/>
              <a:gd name="connsiteY98" fmla="*/ 53018 h 110081"/>
              <a:gd name="connsiteX99" fmla="*/ 341871 w 600889"/>
              <a:gd name="connsiteY99" fmla="*/ 60361 h 110081"/>
              <a:gd name="connsiteX100" fmla="*/ 348283 w 600889"/>
              <a:gd name="connsiteY100" fmla="*/ 77661 h 110081"/>
              <a:gd name="connsiteX101" fmla="*/ 343055 w 600889"/>
              <a:gd name="connsiteY101" fmla="*/ 95583 h 110081"/>
              <a:gd name="connsiteX102" fmla="*/ 328737 w 600889"/>
              <a:gd name="connsiteY102" fmla="*/ 105601 h 110081"/>
              <a:gd name="connsiteX103" fmla="*/ 308132 w 600889"/>
              <a:gd name="connsiteY103" fmla="*/ 108588 h 110081"/>
              <a:gd name="connsiteX104" fmla="*/ 272090 w 600889"/>
              <a:gd name="connsiteY104" fmla="*/ 108588 h 110081"/>
              <a:gd name="connsiteX105" fmla="*/ 272090 w 600889"/>
              <a:gd name="connsiteY105" fmla="*/ 1493 h 110081"/>
              <a:gd name="connsiteX106" fmla="*/ 307386 w 600889"/>
              <a:gd name="connsiteY106" fmla="*/ 47231 h 110081"/>
              <a:gd name="connsiteX107" fmla="*/ 323819 w 600889"/>
              <a:gd name="connsiteY107" fmla="*/ 42751 h 110081"/>
              <a:gd name="connsiteX108" fmla="*/ 330231 w 600889"/>
              <a:gd name="connsiteY108" fmla="*/ 28376 h 110081"/>
              <a:gd name="connsiteX109" fmla="*/ 324567 w 600889"/>
              <a:gd name="connsiteY109" fmla="*/ 17361 h 110081"/>
              <a:gd name="connsiteX110" fmla="*/ 308382 w 600889"/>
              <a:gd name="connsiteY110" fmla="*/ 14374 h 110081"/>
              <a:gd name="connsiteX111" fmla="*/ 286158 w 600889"/>
              <a:gd name="connsiteY111" fmla="*/ 14374 h 110081"/>
              <a:gd name="connsiteX112" fmla="*/ 286158 w 600889"/>
              <a:gd name="connsiteY112" fmla="*/ 47231 h 110081"/>
              <a:gd name="connsiteX113" fmla="*/ 307386 w 600889"/>
              <a:gd name="connsiteY113" fmla="*/ 47231 h 110081"/>
              <a:gd name="connsiteX114" fmla="*/ 308132 w 600889"/>
              <a:gd name="connsiteY114" fmla="*/ 95893 h 110081"/>
              <a:gd name="connsiteX115" fmla="*/ 326495 w 600889"/>
              <a:gd name="connsiteY115" fmla="*/ 92035 h 110081"/>
              <a:gd name="connsiteX116" fmla="*/ 333530 w 600889"/>
              <a:gd name="connsiteY116" fmla="*/ 77972 h 110081"/>
              <a:gd name="connsiteX117" fmla="*/ 326932 w 600889"/>
              <a:gd name="connsiteY117" fmla="*/ 63908 h 110081"/>
              <a:gd name="connsiteX118" fmla="*/ 306451 w 600889"/>
              <a:gd name="connsiteY118" fmla="*/ 59926 h 110081"/>
              <a:gd name="connsiteX119" fmla="*/ 286158 w 600889"/>
              <a:gd name="connsiteY119" fmla="*/ 59926 h 110081"/>
              <a:gd name="connsiteX120" fmla="*/ 286158 w 600889"/>
              <a:gd name="connsiteY120" fmla="*/ 95893 h 110081"/>
              <a:gd name="connsiteX121" fmla="*/ 308132 w 600889"/>
              <a:gd name="connsiteY121" fmla="*/ 95893 h 110081"/>
              <a:gd name="connsiteX122" fmla="*/ 360795 w 600889"/>
              <a:gd name="connsiteY122" fmla="*/ 35844 h 110081"/>
              <a:gd name="connsiteX123" fmla="*/ 365401 w 600889"/>
              <a:gd name="connsiteY123" fmla="*/ 17051 h 110081"/>
              <a:gd name="connsiteX124" fmla="*/ 378287 w 600889"/>
              <a:gd name="connsiteY124" fmla="*/ 4480 h 110081"/>
              <a:gd name="connsiteX125" fmla="*/ 396339 w 600889"/>
              <a:gd name="connsiteY125" fmla="*/ 0 h 110081"/>
              <a:gd name="connsiteX126" fmla="*/ 418003 w 600889"/>
              <a:gd name="connsiteY126" fmla="*/ 5849 h 110081"/>
              <a:gd name="connsiteX127" fmla="*/ 430079 w 600889"/>
              <a:gd name="connsiteY127" fmla="*/ 21842 h 110081"/>
              <a:gd name="connsiteX128" fmla="*/ 433813 w 600889"/>
              <a:gd name="connsiteY128" fmla="*/ 45426 h 110081"/>
              <a:gd name="connsiteX129" fmla="*/ 429206 w 600889"/>
              <a:gd name="connsiteY129" fmla="*/ 80088 h 110081"/>
              <a:gd name="connsiteX130" fmla="*/ 414890 w 600889"/>
              <a:gd name="connsiteY130" fmla="*/ 102303 h 110081"/>
              <a:gd name="connsiteX131" fmla="*/ 390363 w 600889"/>
              <a:gd name="connsiteY131" fmla="*/ 110082 h 110081"/>
              <a:gd name="connsiteX132" fmla="*/ 367331 w 600889"/>
              <a:gd name="connsiteY132" fmla="*/ 104543 h 110081"/>
              <a:gd name="connsiteX133" fmla="*/ 367331 w 600889"/>
              <a:gd name="connsiteY133" fmla="*/ 91413 h 110081"/>
              <a:gd name="connsiteX134" fmla="*/ 390363 w 600889"/>
              <a:gd name="connsiteY134" fmla="*/ 98010 h 110081"/>
              <a:gd name="connsiteX135" fmla="*/ 405925 w 600889"/>
              <a:gd name="connsiteY135" fmla="*/ 92907 h 110081"/>
              <a:gd name="connsiteX136" fmla="*/ 415636 w 600889"/>
              <a:gd name="connsiteY136" fmla="*/ 79154 h 110081"/>
              <a:gd name="connsiteX137" fmla="*/ 419931 w 600889"/>
              <a:gd name="connsiteY137" fmla="*/ 59739 h 110081"/>
              <a:gd name="connsiteX138" fmla="*/ 408913 w 600889"/>
              <a:gd name="connsiteY138" fmla="*/ 68389 h 110081"/>
              <a:gd name="connsiteX139" fmla="*/ 394969 w 600889"/>
              <a:gd name="connsiteY139" fmla="*/ 71127 h 110081"/>
              <a:gd name="connsiteX140" fmla="*/ 377664 w 600889"/>
              <a:gd name="connsiteY140" fmla="*/ 67082 h 110081"/>
              <a:gd name="connsiteX141" fmla="*/ 365276 w 600889"/>
              <a:gd name="connsiteY141" fmla="*/ 55134 h 110081"/>
              <a:gd name="connsiteX142" fmla="*/ 360795 w 600889"/>
              <a:gd name="connsiteY142" fmla="*/ 35844 h 110081"/>
              <a:gd name="connsiteX143" fmla="*/ 396775 w 600889"/>
              <a:gd name="connsiteY143" fmla="*/ 12134 h 110081"/>
              <a:gd name="connsiteX144" fmla="*/ 386006 w 600889"/>
              <a:gd name="connsiteY144" fmla="*/ 14810 h 110081"/>
              <a:gd name="connsiteX145" fmla="*/ 377975 w 600889"/>
              <a:gd name="connsiteY145" fmla="*/ 22589 h 110081"/>
              <a:gd name="connsiteX146" fmla="*/ 374988 w 600889"/>
              <a:gd name="connsiteY146" fmla="*/ 35532 h 110081"/>
              <a:gd name="connsiteX147" fmla="*/ 377975 w 600889"/>
              <a:gd name="connsiteY147" fmla="*/ 48725 h 110081"/>
              <a:gd name="connsiteX148" fmla="*/ 385570 w 600889"/>
              <a:gd name="connsiteY148" fmla="*/ 56752 h 110081"/>
              <a:gd name="connsiteX149" fmla="*/ 395281 w 600889"/>
              <a:gd name="connsiteY149" fmla="*/ 59428 h 110081"/>
              <a:gd name="connsiteX150" fmla="*/ 411715 w 600889"/>
              <a:gd name="connsiteY150" fmla="*/ 53329 h 110081"/>
              <a:gd name="connsiteX151" fmla="*/ 418437 w 600889"/>
              <a:gd name="connsiteY151" fmla="*/ 35283 h 110081"/>
              <a:gd name="connsiteX152" fmla="*/ 412649 w 600889"/>
              <a:gd name="connsiteY152" fmla="*/ 18544 h 110081"/>
              <a:gd name="connsiteX153" fmla="*/ 396775 w 600889"/>
              <a:gd name="connsiteY153" fmla="*/ 12134 h 110081"/>
              <a:gd name="connsiteX154" fmla="*/ 450559 w 600889"/>
              <a:gd name="connsiteY154" fmla="*/ 1493 h 110081"/>
              <a:gd name="connsiteX155" fmla="*/ 515982 w 600889"/>
              <a:gd name="connsiteY155" fmla="*/ 1493 h 110081"/>
              <a:gd name="connsiteX156" fmla="*/ 515982 w 600889"/>
              <a:gd name="connsiteY156" fmla="*/ 14374 h 110081"/>
              <a:gd name="connsiteX157" fmla="*/ 464565 w 600889"/>
              <a:gd name="connsiteY157" fmla="*/ 14374 h 110081"/>
              <a:gd name="connsiteX158" fmla="*/ 464565 w 600889"/>
              <a:gd name="connsiteY158" fmla="*/ 49907 h 110081"/>
              <a:gd name="connsiteX159" fmla="*/ 508201 w 600889"/>
              <a:gd name="connsiteY159" fmla="*/ 49907 h 110081"/>
              <a:gd name="connsiteX160" fmla="*/ 508201 w 600889"/>
              <a:gd name="connsiteY160" fmla="*/ 62601 h 110081"/>
              <a:gd name="connsiteX161" fmla="*/ 464565 w 600889"/>
              <a:gd name="connsiteY161" fmla="*/ 62601 h 110081"/>
              <a:gd name="connsiteX162" fmla="*/ 464565 w 600889"/>
              <a:gd name="connsiteY162" fmla="*/ 108588 h 110081"/>
              <a:gd name="connsiteX163" fmla="*/ 450559 w 600889"/>
              <a:gd name="connsiteY163" fmla="*/ 108588 h 110081"/>
              <a:gd name="connsiteX164" fmla="*/ 450559 w 600889"/>
              <a:gd name="connsiteY164" fmla="*/ 1493 h 110081"/>
              <a:gd name="connsiteX165" fmla="*/ 535466 w 600889"/>
              <a:gd name="connsiteY165" fmla="*/ 1493 h 110081"/>
              <a:gd name="connsiteX166" fmla="*/ 600889 w 600889"/>
              <a:gd name="connsiteY166" fmla="*/ 1493 h 110081"/>
              <a:gd name="connsiteX167" fmla="*/ 600889 w 600889"/>
              <a:gd name="connsiteY167" fmla="*/ 14374 h 110081"/>
              <a:gd name="connsiteX168" fmla="*/ 549472 w 600889"/>
              <a:gd name="connsiteY168" fmla="*/ 14374 h 110081"/>
              <a:gd name="connsiteX169" fmla="*/ 549472 w 600889"/>
              <a:gd name="connsiteY169" fmla="*/ 49907 h 110081"/>
              <a:gd name="connsiteX170" fmla="*/ 593108 w 600889"/>
              <a:gd name="connsiteY170" fmla="*/ 49907 h 110081"/>
              <a:gd name="connsiteX171" fmla="*/ 593108 w 600889"/>
              <a:gd name="connsiteY171" fmla="*/ 62601 h 110081"/>
              <a:gd name="connsiteX172" fmla="*/ 549472 w 600889"/>
              <a:gd name="connsiteY172" fmla="*/ 62601 h 110081"/>
              <a:gd name="connsiteX173" fmla="*/ 549472 w 600889"/>
              <a:gd name="connsiteY173" fmla="*/ 108588 h 110081"/>
              <a:gd name="connsiteX174" fmla="*/ 535466 w 600889"/>
              <a:gd name="connsiteY174" fmla="*/ 108588 h 110081"/>
              <a:gd name="connsiteX175" fmla="*/ 535466 w 600889"/>
              <a:gd name="connsiteY175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600889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2" y="110082"/>
                  <a:pt x="123627" y="108900"/>
                  <a:pt x="118148" y="106473"/>
                </a:cubicBezTo>
                <a:cubicBezTo>
                  <a:pt x="112734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7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1" y="49720"/>
                  <a:pt x="111986" y="46671"/>
                  <a:pt x="108998" y="42564"/>
                </a:cubicBezTo>
                <a:cubicBezTo>
                  <a:pt x="106135" y="38519"/>
                  <a:pt x="104703" y="33479"/>
                  <a:pt x="104703" y="27504"/>
                </a:cubicBezTo>
                <a:cubicBezTo>
                  <a:pt x="104703" y="21593"/>
                  <a:pt x="106072" y="16615"/>
                  <a:pt x="108873" y="12570"/>
                </a:cubicBezTo>
                <a:cubicBezTo>
                  <a:pt x="111674" y="8463"/>
                  <a:pt x="115472" y="5414"/>
                  <a:pt x="120390" y="3298"/>
                </a:cubicBezTo>
                <a:cubicBezTo>
                  <a:pt x="125246" y="1182"/>
                  <a:pt x="130723" y="186"/>
                  <a:pt x="136823" y="186"/>
                </a:cubicBezTo>
                <a:cubicBezTo>
                  <a:pt x="142799" y="186"/>
                  <a:pt x="148153" y="1182"/>
                  <a:pt x="152946" y="3298"/>
                </a:cubicBezTo>
                <a:cubicBezTo>
                  <a:pt x="157739" y="5289"/>
                  <a:pt x="161536" y="8276"/>
                  <a:pt x="164276" y="12259"/>
                </a:cubicBezTo>
                <a:cubicBezTo>
                  <a:pt x="167201" y="16242"/>
                  <a:pt x="168633" y="21219"/>
                  <a:pt x="168633" y="27194"/>
                </a:cubicBezTo>
                <a:cubicBezTo>
                  <a:pt x="168633" y="33292"/>
                  <a:pt x="167139" y="38332"/>
                  <a:pt x="164151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6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6" y="106473"/>
                </a:cubicBezTo>
                <a:cubicBezTo>
                  <a:pt x="149584" y="108900"/>
                  <a:pt x="143609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5" y="46298"/>
                  <a:pt x="146410" y="44804"/>
                  <a:pt x="149834" y="41817"/>
                </a:cubicBezTo>
                <a:cubicBezTo>
                  <a:pt x="153320" y="38768"/>
                  <a:pt x="155063" y="34536"/>
                  <a:pt x="155063" y="29122"/>
                </a:cubicBezTo>
                <a:cubicBezTo>
                  <a:pt x="155063" y="23771"/>
                  <a:pt x="153320" y="19601"/>
                  <a:pt x="149834" y="16615"/>
                </a:cubicBezTo>
                <a:cubicBezTo>
                  <a:pt x="146410" y="13503"/>
                  <a:pt x="142115" y="11947"/>
                  <a:pt x="136823" y="11947"/>
                </a:cubicBezTo>
                <a:cubicBezTo>
                  <a:pt x="131533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3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70" y="89235"/>
                  <a:pt x="158486" y="84071"/>
                  <a:pt x="158486" y="77536"/>
                </a:cubicBezTo>
                <a:cubicBezTo>
                  <a:pt x="158486" y="70940"/>
                  <a:pt x="156370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1" y="58619"/>
                  <a:pt x="120826" y="62291"/>
                </a:cubicBezTo>
                <a:cubicBezTo>
                  <a:pt x="116654" y="65900"/>
                  <a:pt x="114539" y="70940"/>
                  <a:pt x="114539" y="77536"/>
                </a:cubicBezTo>
                <a:cubicBezTo>
                  <a:pt x="114539" y="84071"/>
                  <a:pt x="116654" y="89235"/>
                  <a:pt x="120826" y="92907"/>
                </a:cubicBezTo>
                <a:cubicBezTo>
                  <a:pt x="125121" y="96516"/>
                  <a:pt x="130411" y="98258"/>
                  <a:pt x="136823" y="98258"/>
                </a:cubicBezTo>
                <a:close/>
                <a:moveTo>
                  <a:pt x="252981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5" y="78532"/>
                  <a:pt x="210900" y="72433"/>
                </a:cubicBezTo>
                <a:cubicBezTo>
                  <a:pt x="217747" y="66397"/>
                  <a:pt x="223101" y="61108"/>
                  <a:pt x="226835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4" y="36092"/>
                  <a:pt x="237294" y="32109"/>
                </a:cubicBezTo>
                <a:cubicBezTo>
                  <a:pt x="237294" y="25949"/>
                  <a:pt x="235488" y="21095"/>
                  <a:pt x="231815" y="17610"/>
                </a:cubicBezTo>
                <a:cubicBezTo>
                  <a:pt x="228081" y="14125"/>
                  <a:pt x="223038" y="12383"/>
                  <a:pt x="216564" y="12383"/>
                </a:cubicBezTo>
                <a:cubicBezTo>
                  <a:pt x="206169" y="12383"/>
                  <a:pt x="196520" y="17361"/>
                  <a:pt x="187557" y="27194"/>
                </a:cubicBezTo>
                <a:lnTo>
                  <a:pt x="187557" y="12134"/>
                </a:lnTo>
                <a:cubicBezTo>
                  <a:pt x="195835" y="4044"/>
                  <a:pt x="205671" y="0"/>
                  <a:pt x="217001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2" y="53827"/>
                  <a:pt x="241339" y="58681"/>
                </a:cubicBezTo>
                <a:cubicBezTo>
                  <a:pt x="237543" y="63473"/>
                  <a:pt x="232314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2981" y="95769"/>
                </a:lnTo>
                <a:lnTo>
                  <a:pt x="252981" y="108588"/>
                </a:lnTo>
                <a:close/>
                <a:moveTo>
                  <a:pt x="272090" y="1493"/>
                </a:moveTo>
                <a:lnTo>
                  <a:pt x="308382" y="1493"/>
                </a:lnTo>
                <a:cubicBezTo>
                  <a:pt x="320146" y="1493"/>
                  <a:pt x="329049" y="3484"/>
                  <a:pt x="335149" y="7467"/>
                </a:cubicBezTo>
                <a:cubicBezTo>
                  <a:pt x="341311" y="11450"/>
                  <a:pt x="344424" y="18170"/>
                  <a:pt x="344424" y="27629"/>
                </a:cubicBezTo>
                <a:cubicBezTo>
                  <a:pt x="344424" y="35283"/>
                  <a:pt x="342494" y="41133"/>
                  <a:pt x="338573" y="45116"/>
                </a:cubicBezTo>
                <a:cubicBezTo>
                  <a:pt x="334713" y="48974"/>
                  <a:pt x="329546" y="51649"/>
                  <a:pt x="323073" y="53018"/>
                </a:cubicBezTo>
                <a:cubicBezTo>
                  <a:pt x="331289" y="54014"/>
                  <a:pt x="337576" y="56441"/>
                  <a:pt x="341871" y="60361"/>
                </a:cubicBezTo>
                <a:cubicBezTo>
                  <a:pt x="346167" y="64157"/>
                  <a:pt x="348283" y="69882"/>
                  <a:pt x="348283" y="77661"/>
                </a:cubicBezTo>
                <a:cubicBezTo>
                  <a:pt x="348283" y="85066"/>
                  <a:pt x="346539" y="91040"/>
                  <a:pt x="343055" y="95583"/>
                </a:cubicBezTo>
                <a:cubicBezTo>
                  <a:pt x="339568" y="100188"/>
                  <a:pt x="334775" y="103486"/>
                  <a:pt x="328737" y="105601"/>
                </a:cubicBezTo>
                <a:cubicBezTo>
                  <a:pt x="322637" y="107592"/>
                  <a:pt x="315789" y="108588"/>
                  <a:pt x="308132" y="108588"/>
                </a:cubicBezTo>
                <a:lnTo>
                  <a:pt x="272090" y="108588"/>
                </a:lnTo>
                <a:lnTo>
                  <a:pt x="272090" y="1493"/>
                </a:lnTo>
                <a:close/>
                <a:moveTo>
                  <a:pt x="307386" y="47231"/>
                </a:moveTo>
                <a:cubicBezTo>
                  <a:pt x="314108" y="47231"/>
                  <a:pt x="319587" y="45738"/>
                  <a:pt x="323819" y="42751"/>
                </a:cubicBezTo>
                <a:cubicBezTo>
                  <a:pt x="328052" y="39639"/>
                  <a:pt x="330231" y="34848"/>
                  <a:pt x="330231" y="28376"/>
                </a:cubicBezTo>
                <a:cubicBezTo>
                  <a:pt x="330231" y="22900"/>
                  <a:pt x="328301" y="19228"/>
                  <a:pt x="324567" y="17361"/>
                </a:cubicBezTo>
                <a:cubicBezTo>
                  <a:pt x="320769" y="15370"/>
                  <a:pt x="315354" y="14374"/>
                  <a:pt x="308382" y="14374"/>
                </a:cubicBezTo>
                <a:lnTo>
                  <a:pt x="286158" y="14374"/>
                </a:lnTo>
                <a:lnTo>
                  <a:pt x="286158" y="47231"/>
                </a:lnTo>
                <a:lnTo>
                  <a:pt x="307386" y="47231"/>
                </a:lnTo>
                <a:close/>
                <a:moveTo>
                  <a:pt x="308132" y="95893"/>
                </a:moveTo>
                <a:cubicBezTo>
                  <a:pt x="315664" y="95893"/>
                  <a:pt x="321827" y="94587"/>
                  <a:pt x="326495" y="92035"/>
                </a:cubicBezTo>
                <a:cubicBezTo>
                  <a:pt x="331164" y="89422"/>
                  <a:pt x="333530" y="84755"/>
                  <a:pt x="333530" y="77972"/>
                </a:cubicBezTo>
                <a:cubicBezTo>
                  <a:pt x="333530" y="71189"/>
                  <a:pt x="331289" y="66522"/>
                  <a:pt x="326932" y="63908"/>
                </a:cubicBezTo>
                <a:cubicBezTo>
                  <a:pt x="322637" y="61233"/>
                  <a:pt x="315851" y="59926"/>
                  <a:pt x="306451" y="59926"/>
                </a:cubicBezTo>
                <a:lnTo>
                  <a:pt x="286158" y="59926"/>
                </a:lnTo>
                <a:lnTo>
                  <a:pt x="286158" y="95893"/>
                </a:lnTo>
                <a:lnTo>
                  <a:pt x="308132" y="95893"/>
                </a:lnTo>
                <a:close/>
                <a:moveTo>
                  <a:pt x="360795" y="35844"/>
                </a:moveTo>
                <a:cubicBezTo>
                  <a:pt x="360795" y="28687"/>
                  <a:pt x="362351" y="22402"/>
                  <a:pt x="365401" y="17051"/>
                </a:cubicBezTo>
                <a:cubicBezTo>
                  <a:pt x="368576" y="11637"/>
                  <a:pt x="372872" y="7467"/>
                  <a:pt x="378287" y="4480"/>
                </a:cubicBezTo>
                <a:cubicBezTo>
                  <a:pt x="383641" y="1493"/>
                  <a:pt x="389679" y="0"/>
                  <a:pt x="396339" y="0"/>
                </a:cubicBezTo>
                <a:cubicBezTo>
                  <a:pt x="405304" y="0"/>
                  <a:pt x="412524" y="1929"/>
                  <a:pt x="418003" y="5849"/>
                </a:cubicBezTo>
                <a:cubicBezTo>
                  <a:pt x="423604" y="9645"/>
                  <a:pt x="427588" y="14934"/>
                  <a:pt x="430079" y="21842"/>
                </a:cubicBezTo>
                <a:cubicBezTo>
                  <a:pt x="432568" y="28563"/>
                  <a:pt x="433813" y="36466"/>
                  <a:pt x="433813" y="45426"/>
                </a:cubicBezTo>
                <a:cubicBezTo>
                  <a:pt x="433813" y="58868"/>
                  <a:pt x="432319" y="70380"/>
                  <a:pt x="429206" y="80088"/>
                </a:cubicBezTo>
                <a:cubicBezTo>
                  <a:pt x="426094" y="89733"/>
                  <a:pt x="421363" y="97138"/>
                  <a:pt x="414890" y="102303"/>
                </a:cubicBezTo>
                <a:cubicBezTo>
                  <a:pt x="408478" y="107468"/>
                  <a:pt x="400323" y="110082"/>
                  <a:pt x="390363" y="110082"/>
                </a:cubicBezTo>
                <a:cubicBezTo>
                  <a:pt x="381399" y="110082"/>
                  <a:pt x="373743" y="108215"/>
                  <a:pt x="367331" y="104543"/>
                </a:cubicBezTo>
                <a:lnTo>
                  <a:pt x="367331" y="91413"/>
                </a:lnTo>
                <a:cubicBezTo>
                  <a:pt x="374117" y="95769"/>
                  <a:pt x="381773" y="98010"/>
                  <a:pt x="390363" y="98010"/>
                </a:cubicBezTo>
                <a:cubicBezTo>
                  <a:pt x="396526" y="98010"/>
                  <a:pt x="401693" y="96267"/>
                  <a:pt x="405925" y="92907"/>
                </a:cubicBezTo>
                <a:cubicBezTo>
                  <a:pt x="410097" y="89546"/>
                  <a:pt x="413334" y="84941"/>
                  <a:pt x="415636" y="79154"/>
                </a:cubicBezTo>
                <a:cubicBezTo>
                  <a:pt x="418003" y="73367"/>
                  <a:pt x="419434" y="66896"/>
                  <a:pt x="419931" y="59739"/>
                </a:cubicBezTo>
                <a:cubicBezTo>
                  <a:pt x="416881" y="63660"/>
                  <a:pt x="413147" y="66522"/>
                  <a:pt x="408913" y="68389"/>
                </a:cubicBezTo>
                <a:cubicBezTo>
                  <a:pt x="404618" y="70193"/>
                  <a:pt x="399950" y="71127"/>
                  <a:pt x="394969" y="71127"/>
                </a:cubicBezTo>
                <a:cubicBezTo>
                  <a:pt x="388620" y="71127"/>
                  <a:pt x="382831" y="69758"/>
                  <a:pt x="377664" y="67082"/>
                </a:cubicBezTo>
                <a:cubicBezTo>
                  <a:pt x="372498" y="64406"/>
                  <a:pt x="368327" y="60424"/>
                  <a:pt x="365276" y="55134"/>
                </a:cubicBezTo>
                <a:cubicBezTo>
                  <a:pt x="362289" y="49845"/>
                  <a:pt x="360795" y="43435"/>
                  <a:pt x="360795" y="35844"/>
                </a:cubicBezTo>
                <a:close/>
                <a:moveTo>
                  <a:pt x="396775" y="12134"/>
                </a:moveTo>
                <a:cubicBezTo>
                  <a:pt x="392978" y="12134"/>
                  <a:pt x="389430" y="13006"/>
                  <a:pt x="386006" y="14810"/>
                </a:cubicBezTo>
                <a:cubicBezTo>
                  <a:pt x="382769" y="16490"/>
                  <a:pt x="380030" y="19104"/>
                  <a:pt x="377975" y="22589"/>
                </a:cubicBezTo>
                <a:cubicBezTo>
                  <a:pt x="375985" y="25949"/>
                  <a:pt x="374988" y="30305"/>
                  <a:pt x="374988" y="35532"/>
                </a:cubicBezTo>
                <a:cubicBezTo>
                  <a:pt x="374988" y="40759"/>
                  <a:pt x="375985" y="45116"/>
                  <a:pt x="377975" y="48725"/>
                </a:cubicBezTo>
                <a:cubicBezTo>
                  <a:pt x="379968" y="52271"/>
                  <a:pt x="382519" y="54947"/>
                  <a:pt x="385570" y="56752"/>
                </a:cubicBezTo>
                <a:cubicBezTo>
                  <a:pt x="388682" y="58556"/>
                  <a:pt x="391919" y="59428"/>
                  <a:pt x="395281" y="59428"/>
                </a:cubicBezTo>
                <a:cubicBezTo>
                  <a:pt x="401880" y="59428"/>
                  <a:pt x="407357" y="57437"/>
                  <a:pt x="411715" y="53329"/>
                </a:cubicBezTo>
                <a:cubicBezTo>
                  <a:pt x="416197" y="49160"/>
                  <a:pt x="418437" y="43124"/>
                  <a:pt x="418437" y="35283"/>
                </a:cubicBezTo>
                <a:cubicBezTo>
                  <a:pt x="418437" y="28313"/>
                  <a:pt x="416509" y="22713"/>
                  <a:pt x="412649" y="18544"/>
                </a:cubicBezTo>
                <a:cubicBezTo>
                  <a:pt x="408728" y="14250"/>
                  <a:pt x="403436" y="12134"/>
                  <a:pt x="396775" y="12134"/>
                </a:cubicBezTo>
                <a:close/>
                <a:moveTo>
                  <a:pt x="450559" y="1493"/>
                </a:moveTo>
                <a:lnTo>
                  <a:pt x="515982" y="1493"/>
                </a:lnTo>
                <a:lnTo>
                  <a:pt x="515982" y="14374"/>
                </a:lnTo>
                <a:lnTo>
                  <a:pt x="464565" y="14374"/>
                </a:lnTo>
                <a:lnTo>
                  <a:pt x="464565" y="49907"/>
                </a:lnTo>
                <a:lnTo>
                  <a:pt x="508201" y="49907"/>
                </a:lnTo>
                <a:lnTo>
                  <a:pt x="508201" y="62601"/>
                </a:lnTo>
                <a:lnTo>
                  <a:pt x="464565" y="62601"/>
                </a:lnTo>
                <a:lnTo>
                  <a:pt x="464565" y="108588"/>
                </a:lnTo>
                <a:lnTo>
                  <a:pt x="450559" y="108588"/>
                </a:lnTo>
                <a:lnTo>
                  <a:pt x="450559" y="1493"/>
                </a:lnTo>
                <a:close/>
                <a:moveTo>
                  <a:pt x="535466" y="1493"/>
                </a:moveTo>
                <a:lnTo>
                  <a:pt x="600889" y="1493"/>
                </a:lnTo>
                <a:lnTo>
                  <a:pt x="600889" y="14374"/>
                </a:lnTo>
                <a:lnTo>
                  <a:pt x="549472" y="14374"/>
                </a:lnTo>
                <a:lnTo>
                  <a:pt x="549472" y="49907"/>
                </a:lnTo>
                <a:lnTo>
                  <a:pt x="593108" y="49907"/>
                </a:lnTo>
                <a:lnTo>
                  <a:pt x="593108" y="62601"/>
                </a:lnTo>
                <a:lnTo>
                  <a:pt x="549472" y="62601"/>
                </a:lnTo>
                <a:lnTo>
                  <a:pt x="549472" y="108588"/>
                </a:lnTo>
                <a:lnTo>
                  <a:pt x="535466" y="108588"/>
                </a:lnTo>
                <a:lnTo>
                  <a:pt x="535466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2" name="Полилиния 961">
            <a:extLst>
              <a:ext uri="{FF2B5EF4-FFF2-40B4-BE49-F238E27FC236}">
                <a16:creationId xmlns:a16="http://schemas.microsoft.com/office/drawing/2014/main" id="{C1E626BB-FC96-F4E1-72E8-8A7F32EC0406}"/>
              </a:ext>
            </a:extLst>
          </p:cNvPr>
          <p:cNvSpPr/>
          <p:nvPr userDrawn="1"/>
        </p:nvSpPr>
        <p:spPr>
          <a:xfrm>
            <a:off x="9547358" y="9597431"/>
            <a:ext cx="2557159" cy="726227"/>
          </a:xfrm>
          <a:custGeom>
            <a:avLst/>
            <a:gdLst>
              <a:gd name="connsiteX0" fmla="*/ 2604 w 2191162"/>
              <a:gd name="connsiteY0" fmla="*/ 1822 h 622284"/>
              <a:gd name="connsiteX1" fmla="*/ 2193767 w 2191162"/>
              <a:gd name="connsiteY1" fmla="*/ 1822 h 622284"/>
              <a:gd name="connsiteX2" fmla="*/ 2193767 w 2191162"/>
              <a:gd name="connsiteY2" fmla="*/ 624106 h 622284"/>
              <a:gd name="connsiteX3" fmla="*/ 2604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822"/>
                </a:moveTo>
                <a:lnTo>
                  <a:pt x="2193767" y="1822"/>
                </a:lnTo>
                <a:lnTo>
                  <a:pt x="2193767" y="624106"/>
                </a:lnTo>
                <a:lnTo>
                  <a:pt x="2604" y="624106"/>
                </a:lnTo>
                <a:close/>
              </a:path>
            </a:pathLst>
          </a:custGeom>
          <a:solidFill>
            <a:srgbClr val="B4D7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3" name="Полилиния 962">
            <a:extLst>
              <a:ext uri="{FF2B5EF4-FFF2-40B4-BE49-F238E27FC236}">
                <a16:creationId xmlns:a16="http://schemas.microsoft.com/office/drawing/2014/main" id="{40F916A1-87A8-3E12-02DD-0AEDA93B347D}"/>
              </a:ext>
            </a:extLst>
          </p:cNvPr>
          <p:cNvSpPr/>
          <p:nvPr userDrawn="1"/>
        </p:nvSpPr>
        <p:spPr>
          <a:xfrm>
            <a:off x="9670565" y="9900922"/>
            <a:ext cx="728500" cy="124982"/>
          </a:xfrm>
          <a:custGeom>
            <a:avLst/>
            <a:gdLst>
              <a:gd name="connsiteX0" fmla="*/ 22099 w 624232"/>
              <a:gd name="connsiteY0" fmla="*/ 107095 h 107094"/>
              <a:gd name="connsiteX1" fmla="*/ 10147 w 624232"/>
              <a:gd name="connsiteY1" fmla="*/ 107095 h 107094"/>
              <a:gd name="connsiteX2" fmla="*/ 16435 w 624232"/>
              <a:gd name="connsiteY2" fmla="*/ 76168 h 107094"/>
              <a:gd name="connsiteX3" fmla="*/ 0 w 624232"/>
              <a:gd name="connsiteY3" fmla="*/ 76168 h 107094"/>
              <a:gd name="connsiteX4" fmla="*/ 0 w 624232"/>
              <a:gd name="connsiteY4" fmla="*/ 65713 h 107094"/>
              <a:gd name="connsiteX5" fmla="*/ 18675 w 624232"/>
              <a:gd name="connsiteY5" fmla="*/ 65713 h 107094"/>
              <a:gd name="connsiteX6" fmla="*/ 24216 w 624232"/>
              <a:gd name="connsiteY6" fmla="*/ 38519 h 107094"/>
              <a:gd name="connsiteX7" fmla="*/ 4047 w 624232"/>
              <a:gd name="connsiteY7" fmla="*/ 38519 h 107094"/>
              <a:gd name="connsiteX8" fmla="*/ 4047 w 624232"/>
              <a:gd name="connsiteY8" fmla="*/ 28065 h 107094"/>
              <a:gd name="connsiteX9" fmla="*/ 26269 w 624232"/>
              <a:gd name="connsiteY9" fmla="*/ 28065 h 107094"/>
              <a:gd name="connsiteX10" fmla="*/ 32121 w 624232"/>
              <a:gd name="connsiteY10" fmla="*/ 0 h 107094"/>
              <a:gd name="connsiteX11" fmla="*/ 44073 w 624232"/>
              <a:gd name="connsiteY11" fmla="*/ 0 h 107094"/>
              <a:gd name="connsiteX12" fmla="*/ 38222 w 624232"/>
              <a:gd name="connsiteY12" fmla="*/ 28065 h 107094"/>
              <a:gd name="connsiteX13" fmla="*/ 60630 w 624232"/>
              <a:gd name="connsiteY13" fmla="*/ 28065 h 107094"/>
              <a:gd name="connsiteX14" fmla="*/ 66481 w 624232"/>
              <a:gd name="connsiteY14" fmla="*/ 0 h 107094"/>
              <a:gd name="connsiteX15" fmla="*/ 78434 w 624232"/>
              <a:gd name="connsiteY15" fmla="*/ 0 h 107094"/>
              <a:gd name="connsiteX16" fmla="*/ 72583 w 624232"/>
              <a:gd name="connsiteY16" fmla="*/ 28065 h 107094"/>
              <a:gd name="connsiteX17" fmla="*/ 89328 w 624232"/>
              <a:gd name="connsiteY17" fmla="*/ 28065 h 107094"/>
              <a:gd name="connsiteX18" fmla="*/ 89328 w 624232"/>
              <a:gd name="connsiteY18" fmla="*/ 38519 h 107094"/>
              <a:gd name="connsiteX19" fmla="*/ 70529 w 624232"/>
              <a:gd name="connsiteY19" fmla="*/ 38519 h 107094"/>
              <a:gd name="connsiteX20" fmla="*/ 64988 w 624232"/>
              <a:gd name="connsiteY20" fmla="*/ 65713 h 107094"/>
              <a:gd name="connsiteX21" fmla="*/ 85281 w 624232"/>
              <a:gd name="connsiteY21" fmla="*/ 65713 h 107094"/>
              <a:gd name="connsiteX22" fmla="*/ 85281 w 624232"/>
              <a:gd name="connsiteY22" fmla="*/ 76168 h 107094"/>
              <a:gd name="connsiteX23" fmla="*/ 62747 w 624232"/>
              <a:gd name="connsiteY23" fmla="*/ 76168 h 107094"/>
              <a:gd name="connsiteX24" fmla="*/ 56460 w 624232"/>
              <a:gd name="connsiteY24" fmla="*/ 107095 h 107094"/>
              <a:gd name="connsiteX25" fmla="*/ 44509 w 624232"/>
              <a:gd name="connsiteY25" fmla="*/ 107095 h 107094"/>
              <a:gd name="connsiteX26" fmla="*/ 50796 w 624232"/>
              <a:gd name="connsiteY26" fmla="*/ 76168 h 107094"/>
              <a:gd name="connsiteX27" fmla="*/ 28386 w 624232"/>
              <a:gd name="connsiteY27" fmla="*/ 76168 h 107094"/>
              <a:gd name="connsiteX28" fmla="*/ 22099 w 624232"/>
              <a:gd name="connsiteY28" fmla="*/ 107095 h 107094"/>
              <a:gd name="connsiteX29" fmla="*/ 30626 w 624232"/>
              <a:gd name="connsiteY29" fmla="*/ 65713 h 107094"/>
              <a:gd name="connsiteX30" fmla="*/ 53036 w 624232"/>
              <a:gd name="connsiteY30" fmla="*/ 65713 h 107094"/>
              <a:gd name="connsiteX31" fmla="*/ 58577 w 624232"/>
              <a:gd name="connsiteY31" fmla="*/ 38519 h 107094"/>
              <a:gd name="connsiteX32" fmla="*/ 36167 w 624232"/>
              <a:gd name="connsiteY32" fmla="*/ 38519 h 107094"/>
              <a:gd name="connsiteX33" fmla="*/ 30626 w 624232"/>
              <a:gd name="connsiteY33" fmla="*/ 65713 h 107094"/>
              <a:gd name="connsiteX34" fmla="*/ 107816 w 624232"/>
              <a:gd name="connsiteY34" fmla="*/ 0 h 107094"/>
              <a:gd name="connsiteX35" fmla="*/ 144107 w 624232"/>
              <a:gd name="connsiteY35" fmla="*/ 0 h 107094"/>
              <a:gd name="connsiteX36" fmla="*/ 170873 w 624232"/>
              <a:gd name="connsiteY36" fmla="*/ 5974 h 107094"/>
              <a:gd name="connsiteX37" fmla="*/ 180148 w 624232"/>
              <a:gd name="connsiteY37" fmla="*/ 26136 h 107094"/>
              <a:gd name="connsiteX38" fmla="*/ 174297 w 624232"/>
              <a:gd name="connsiteY38" fmla="*/ 43622 h 107094"/>
              <a:gd name="connsiteX39" fmla="*/ 158797 w 624232"/>
              <a:gd name="connsiteY39" fmla="*/ 51525 h 107094"/>
              <a:gd name="connsiteX40" fmla="*/ 177596 w 624232"/>
              <a:gd name="connsiteY40" fmla="*/ 58868 h 107094"/>
              <a:gd name="connsiteX41" fmla="*/ 184008 w 624232"/>
              <a:gd name="connsiteY41" fmla="*/ 76168 h 107094"/>
              <a:gd name="connsiteX42" fmla="*/ 178779 w 624232"/>
              <a:gd name="connsiteY42" fmla="*/ 94089 h 107094"/>
              <a:gd name="connsiteX43" fmla="*/ 164461 w 624232"/>
              <a:gd name="connsiteY43" fmla="*/ 104108 h 107094"/>
              <a:gd name="connsiteX44" fmla="*/ 143858 w 624232"/>
              <a:gd name="connsiteY44" fmla="*/ 107095 h 107094"/>
              <a:gd name="connsiteX45" fmla="*/ 107816 w 624232"/>
              <a:gd name="connsiteY45" fmla="*/ 107095 h 107094"/>
              <a:gd name="connsiteX46" fmla="*/ 107816 w 624232"/>
              <a:gd name="connsiteY46" fmla="*/ 0 h 107094"/>
              <a:gd name="connsiteX47" fmla="*/ 143110 w 624232"/>
              <a:gd name="connsiteY47" fmla="*/ 45738 h 107094"/>
              <a:gd name="connsiteX48" fmla="*/ 159545 w 624232"/>
              <a:gd name="connsiteY48" fmla="*/ 41257 h 107094"/>
              <a:gd name="connsiteX49" fmla="*/ 165957 w 624232"/>
              <a:gd name="connsiteY49" fmla="*/ 26882 h 107094"/>
              <a:gd name="connsiteX50" fmla="*/ 160291 w 624232"/>
              <a:gd name="connsiteY50" fmla="*/ 15868 h 107094"/>
              <a:gd name="connsiteX51" fmla="*/ 144107 w 624232"/>
              <a:gd name="connsiteY51" fmla="*/ 12881 h 107094"/>
              <a:gd name="connsiteX52" fmla="*/ 121884 w 624232"/>
              <a:gd name="connsiteY52" fmla="*/ 12881 h 107094"/>
              <a:gd name="connsiteX53" fmla="*/ 121884 w 624232"/>
              <a:gd name="connsiteY53" fmla="*/ 45738 h 107094"/>
              <a:gd name="connsiteX54" fmla="*/ 143110 w 624232"/>
              <a:gd name="connsiteY54" fmla="*/ 45738 h 107094"/>
              <a:gd name="connsiteX55" fmla="*/ 143858 w 624232"/>
              <a:gd name="connsiteY55" fmla="*/ 94400 h 107094"/>
              <a:gd name="connsiteX56" fmla="*/ 162221 w 624232"/>
              <a:gd name="connsiteY56" fmla="*/ 90542 h 107094"/>
              <a:gd name="connsiteX57" fmla="*/ 169255 w 624232"/>
              <a:gd name="connsiteY57" fmla="*/ 76478 h 107094"/>
              <a:gd name="connsiteX58" fmla="*/ 162657 w 624232"/>
              <a:gd name="connsiteY58" fmla="*/ 62415 h 107094"/>
              <a:gd name="connsiteX59" fmla="*/ 142177 w 624232"/>
              <a:gd name="connsiteY59" fmla="*/ 58433 h 107094"/>
              <a:gd name="connsiteX60" fmla="*/ 121884 w 624232"/>
              <a:gd name="connsiteY60" fmla="*/ 58433 h 107094"/>
              <a:gd name="connsiteX61" fmla="*/ 121884 w 624232"/>
              <a:gd name="connsiteY61" fmla="*/ 94400 h 107094"/>
              <a:gd name="connsiteX62" fmla="*/ 143858 w 624232"/>
              <a:gd name="connsiteY62" fmla="*/ 94400 h 107094"/>
              <a:gd name="connsiteX63" fmla="*/ 255034 w 624232"/>
              <a:gd name="connsiteY63" fmla="*/ 107095 h 107094"/>
              <a:gd name="connsiteX64" fmla="*/ 241900 w 624232"/>
              <a:gd name="connsiteY64" fmla="*/ 107095 h 107094"/>
              <a:gd name="connsiteX65" fmla="*/ 241900 w 624232"/>
              <a:gd name="connsiteY65" fmla="*/ 81706 h 107094"/>
              <a:gd name="connsiteX66" fmla="*/ 195586 w 624232"/>
              <a:gd name="connsiteY66" fmla="*/ 81706 h 107094"/>
              <a:gd name="connsiteX67" fmla="*/ 195586 w 624232"/>
              <a:gd name="connsiteY67" fmla="*/ 72434 h 107094"/>
              <a:gd name="connsiteX68" fmla="*/ 237418 w 624232"/>
              <a:gd name="connsiteY68" fmla="*/ 0 h 107094"/>
              <a:gd name="connsiteX69" fmla="*/ 255034 w 624232"/>
              <a:gd name="connsiteY69" fmla="*/ 0 h 107094"/>
              <a:gd name="connsiteX70" fmla="*/ 255034 w 624232"/>
              <a:gd name="connsiteY70" fmla="*/ 70380 h 107094"/>
              <a:gd name="connsiteX71" fmla="*/ 269538 w 624232"/>
              <a:gd name="connsiteY71" fmla="*/ 70380 h 107094"/>
              <a:gd name="connsiteX72" fmla="*/ 269538 w 624232"/>
              <a:gd name="connsiteY72" fmla="*/ 81706 h 107094"/>
              <a:gd name="connsiteX73" fmla="*/ 255034 w 624232"/>
              <a:gd name="connsiteY73" fmla="*/ 81706 h 107094"/>
              <a:gd name="connsiteX74" fmla="*/ 255034 w 624232"/>
              <a:gd name="connsiteY74" fmla="*/ 107095 h 107094"/>
              <a:gd name="connsiteX75" fmla="*/ 209219 w 624232"/>
              <a:gd name="connsiteY75" fmla="*/ 70380 h 107094"/>
              <a:gd name="connsiteX76" fmla="*/ 241900 w 624232"/>
              <a:gd name="connsiteY76" fmla="*/ 70380 h 107094"/>
              <a:gd name="connsiteX77" fmla="*/ 241900 w 624232"/>
              <a:gd name="connsiteY77" fmla="*/ 14624 h 107094"/>
              <a:gd name="connsiteX78" fmla="*/ 209219 w 624232"/>
              <a:gd name="connsiteY78" fmla="*/ 70380 h 107094"/>
              <a:gd name="connsiteX79" fmla="*/ 286283 w 624232"/>
              <a:gd name="connsiteY79" fmla="*/ 0 h 107094"/>
              <a:gd name="connsiteX80" fmla="*/ 322263 w 624232"/>
              <a:gd name="connsiteY80" fmla="*/ 0 h 107094"/>
              <a:gd name="connsiteX81" fmla="*/ 342307 w 624232"/>
              <a:gd name="connsiteY81" fmla="*/ 2551 h 107094"/>
              <a:gd name="connsiteX82" fmla="*/ 358430 w 624232"/>
              <a:gd name="connsiteY82" fmla="*/ 10890 h 107094"/>
              <a:gd name="connsiteX83" fmla="*/ 369199 w 624232"/>
              <a:gd name="connsiteY83" fmla="*/ 26136 h 107094"/>
              <a:gd name="connsiteX84" fmla="*/ 373058 w 624232"/>
              <a:gd name="connsiteY84" fmla="*/ 49907 h 107094"/>
              <a:gd name="connsiteX85" fmla="*/ 366211 w 624232"/>
              <a:gd name="connsiteY85" fmla="*/ 81581 h 107094"/>
              <a:gd name="connsiteX86" fmla="*/ 347661 w 624232"/>
              <a:gd name="connsiteY86" fmla="*/ 100685 h 107094"/>
              <a:gd name="connsiteX87" fmla="*/ 320644 w 624232"/>
              <a:gd name="connsiteY87" fmla="*/ 107095 h 107094"/>
              <a:gd name="connsiteX88" fmla="*/ 286283 w 624232"/>
              <a:gd name="connsiteY88" fmla="*/ 107095 h 107094"/>
              <a:gd name="connsiteX89" fmla="*/ 286283 w 624232"/>
              <a:gd name="connsiteY89" fmla="*/ 0 h 107094"/>
              <a:gd name="connsiteX90" fmla="*/ 320644 w 624232"/>
              <a:gd name="connsiteY90" fmla="*/ 94400 h 107094"/>
              <a:gd name="connsiteX91" fmla="*/ 340067 w 624232"/>
              <a:gd name="connsiteY91" fmla="*/ 89920 h 107094"/>
              <a:gd name="connsiteX92" fmla="*/ 353014 w 624232"/>
              <a:gd name="connsiteY92" fmla="*/ 75732 h 107094"/>
              <a:gd name="connsiteX93" fmla="*/ 357807 w 624232"/>
              <a:gd name="connsiteY93" fmla="*/ 50965 h 107094"/>
              <a:gd name="connsiteX94" fmla="*/ 353200 w 624232"/>
              <a:gd name="connsiteY94" fmla="*/ 27629 h 107094"/>
              <a:gd name="connsiteX95" fmla="*/ 340501 w 624232"/>
              <a:gd name="connsiteY95" fmla="*/ 16117 h 107094"/>
              <a:gd name="connsiteX96" fmla="*/ 322263 w 624232"/>
              <a:gd name="connsiteY96" fmla="*/ 12881 h 107094"/>
              <a:gd name="connsiteX97" fmla="*/ 300289 w 624232"/>
              <a:gd name="connsiteY97" fmla="*/ 12881 h 107094"/>
              <a:gd name="connsiteX98" fmla="*/ 300289 w 624232"/>
              <a:gd name="connsiteY98" fmla="*/ 94400 h 107094"/>
              <a:gd name="connsiteX99" fmla="*/ 320644 w 624232"/>
              <a:gd name="connsiteY99" fmla="*/ 94400 h 107094"/>
              <a:gd name="connsiteX100" fmla="*/ 454791 w 624232"/>
              <a:gd name="connsiteY100" fmla="*/ 12134 h 107094"/>
              <a:gd name="connsiteX101" fmla="*/ 409349 w 624232"/>
              <a:gd name="connsiteY101" fmla="*/ 107095 h 107094"/>
              <a:gd name="connsiteX102" fmla="*/ 394722 w 624232"/>
              <a:gd name="connsiteY102" fmla="*/ 107095 h 107094"/>
              <a:gd name="connsiteX103" fmla="*/ 440474 w 624232"/>
              <a:gd name="connsiteY103" fmla="*/ 12881 h 107094"/>
              <a:gd name="connsiteX104" fmla="*/ 385943 w 624232"/>
              <a:gd name="connsiteY104" fmla="*/ 12881 h 107094"/>
              <a:gd name="connsiteX105" fmla="*/ 385943 w 624232"/>
              <a:gd name="connsiteY105" fmla="*/ 0 h 107094"/>
              <a:gd name="connsiteX106" fmla="*/ 454791 w 624232"/>
              <a:gd name="connsiteY106" fmla="*/ 0 h 107094"/>
              <a:gd name="connsiteX107" fmla="*/ 454791 w 624232"/>
              <a:gd name="connsiteY107" fmla="*/ 12134 h 107094"/>
              <a:gd name="connsiteX108" fmla="*/ 473902 w 624232"/>
              <a:gd name="connsiteY108" fmla="*/ 0 h 107094"/>
              <a:gd name="connsiteX109" fmla="*/ 539326 w 624232"/>
              <a:gd name="connsiteY109" fmla="*/ 0 h 107094"/>
              <a:gd name="connsiteX110" fmla="*/ 539326 w 624232"/>
              <a:gd name="connsiteY110" fmla="*/ 12881 h 107094"/>
              <a:gd name="connsiteX111" fmla="*/ 487908 w 624232"/>
              <a:gd name="connsiteY111" fmla="*/ 12881 h 107094"/>
              <a:gd name="connsiteX112" fmla="*/ 487908 w 624232"/>
              <a:gd name="connsiteY112" fmla="*/ 48413 h 107094"/>
              <a:gd name="connsiteX113" fmla="*/ 531545 w 624232"/>
              <a:gd name="connsiteY113" fmla="*/ 48413 h 107094"/>
              <a:gd name="connsiteX114" fmla="*/ 531545 w 624232"/>
              <a:gd name="connsiteY114" fmla="*/ 61108 h 107094"/>
              <a:gd name="connsiteX115" fmla="*/ 487908 w 624232"/>
              <a:gd name="connsiteY115" fmla="*/ 61108 h 107094"/>
              <a:gd name="connsiteX116" fmla="*/ 487908 w 624232"/>
              <a:gd name="connsiteY116" fmla="*/ 107095 h 107094"/>
              <a:gd name="connsiteX117" fmla="*/ 473902 w 624232"/>
              <a:gd name="connsiteY117" fmla="*/ 107095 h 107094"/>
              <a:gd name="connsiteX118" fmla="*/ 473902 w 624232"/>
              <a:gd name="connsiteY118" fmla="*/ 0 h 107094"/>
              <a:gd name="connsiteX119" fmla="*/ 558809 w 624232"/>
              <a:gd name="connsiteY119" fmla="*/ 0 h 107094"/>
              <a:gd name="connsiteX120" fmla="*/ 624233 w 624232"/>
              <a:gd name="connsiteY120" fmla="*/ 0 h 107094"/>
              <a:gd name="connsiteX121" fmla="*/ 624233 w 624232"/>
              <a:gd name="connsiteY121" fmla="*/ 12881 h 107094"/>
              <a:gd name="connsiteX122" fmla="*/ 572815 w 624232"/>
              <a:gd name="connsiteY122" fmla="*/ 12881 h 107094"/>
              <a:gd name="connsiteX123" fmla="*/ 572815 w 624232"/>
              <a:gd name="connsiteY123" fmla="*/ 48413 h 107094"/>
              <a:gd name="connsiteX124" fmla="*/ 616452 w 624232"/>
              <a:gd name="connsiteY124" fmla="*/ 48413 h 107094"/>
              <a:gd name="connsiteX125" fmla="*/ 616452 w 624232"/>
              <a:gd name="connsiteY125" fmla="*/ 61108 h 107094"/>
              <a:gd name="connsiteX126" fmla="*/ 572815 w 624232"/>
              <a:gd name="connsiteY126" fmla="*/ 61108 h 107094"/>
              <a:gd name="connsiteX127" fmla="*/ 572815 w 624232"/>
              <a:gd name="connsiteY127" fmla="*/ 107095 h 107094"/>
              <a:gd name="connsiteX128" fmla="*/ 558809 w 624232"/>
              <a:gd name="connsiteY128" fmla="*/ 107095 h 107094"/>
              <a:gd name="connsiteX129" fmla="*/ 558809 w 624232"/>
              <a:gd name="connsiteY129" fmla="*/ 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624232" h="107094">
                <a:moveTo>
                  <a:pt x="22099" y="107095"/>
                </a:moveTo>
                <a:lnTo>
                  <a:pt x="10147" y="107095"/>
                </a:lnTo>
                <a:lnTo>
                  <a:pt x="16435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6" y="38519"/>
                </a:lnTo>
                <a:lnTo>
                  <a:pt x="4047" y="38519"/>
                </a:lnTo>
                <a:lnTo>
                  <a:pt x="4047" y="28065"/>
                </a:lnTo>
                <a:lnTo>
                  <a:pt x="26269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2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3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9" y="107095"/>
                </a:lnTo>
                <a:lnTo>
                  <a:pt x="50796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7" y="38519"/>
                </a:lnTo>
                <a:lnTo>
                  <a:pt x="36167" y="38519"/>
                </a:lnTo>
                <a:lnTo>
                  <a:pt x="30626" y="65713"/>
                </a:lnTo>
                <a:close/>
                <a:moveTo>
                  <a:pt x="107816" y="0"/>
                </a:moveTo>
                <a:lnTo>
                  <a:pt x="144107" y="0"/>
                </a:lnTo>
                <a:cubicBezTo>
                  <a:pt x="155872" y="0"/>
                  <a:pt x="164773" y="1991"/>
                  <a:pt x="170873" y="5974"/>
                </a:cubicBezTo>
                <a:cubicBezTo>
                  <a:pt x="177036" y="9956"/>
                  <a:pt x="180148" y="16677"/>
                  <a:pt x="180148" y="26136"/>
                </a:cubicBezTo>
                <a:cubicBezTo>
                  <a:pt x="180148" y="33790"/>
                  <a:pt x="178220" y="39639"/>
                  <a:pt x="174297" y="43622"/>
                </a:cubicBezTo>
                <a:cubicBezTo>
                  <a:pt x="170438" y="47480"/>
                  <a:pt x="165271" y="50156"/>
                  <a:pt x="158797" y="51525"/>
                </a:cubicBezTo>
                <a:cubicBezTo>
                  <a:pt x="167014" y="52520"/>
                  <a:pt x="173302" y="54947"/>
                  <a:pt x="177596" y="58868"/>
                </a:cubicBezTo>
                <a:cubicBezTo>
                  <a:pt x="181891" y="62664"/>
                  <a:pt x="184008" y="68389"/>
                  <a:pt x="184008" y="76168"/>
                </a:cubicBezTo>
                <a:cubicBezTo>
                  <a:pt x="184008" y="83572"/>
                  <a:pt x="182265" y="89547"/>
                  <a:pt x="178779" y="94089"/>
                </a:cubicBezTo>
                <a:cubicBezTo>
                  <a:pt x="175294" y="98694"/>
                  <a:pt x="170501" y="101992"/>
                  <a:pt x="164461" y="104108"/>
                </a:cubicBezTo>
                <a:cubicBezTo>
                  <a:pt x="158361" y="106099"/>
                  <a:pt x="151514" y="107095"/>
                  <a:pt x="143858" y="107095"/>
                </a:cubicBezTo>
                <a:lnTo>
                  <a:pt x="107816" y="107095"/>
                </a:lnTo>
                <a:lnTo>
                  <a:pt x="107816" y="0"/>
                </a:lnTo>
                <a:close/>
                <a:moveTo>
                  <a:pt x="143110" y="45738"/>
                </a:moveTo>
                <a:cubicBezTo>
                  <a:pt x="149834" y="45738"/>
                  <a:pt x="155311" y="44244"/>
                  <a:pt x="159545" y="41257"/>
                </a:cubicBezTo>
                <a:cubicBezTo>
                  <a:pt x="163777" y="38146"/>
                  <a:pt x="165957" y="33354"/>
                  <a:pt x="165957" y="26882"/>
                </a:cubicBezTo>
                <a:cubicBezTo>
                  <a:pt x="165957" y="21406"/>
                  <a:pt x="164027" y="17735"/>
                  <a:pt x="160291" y="15868"/>
                </a:cubicBezTo>
                <a:cubicBezTo>
                  <a:pt x="156495" y="13877"/>
                  <a:pt x="151078" y="12881"/>
                  <a:pt x="144107" y="12881"/>
                </a:cubicBezTo>
                <a:lnTo>
                  <a:pt x="121884" y="12881"/>
                </a:lnTo>
                <a:lnTo>
                  <a:pt x="121884" y="45738"/>
                </a:lnTo>
                <a:lnTo>
                  <a:pt x="143110" y="45738"/>
                </a:lnTo>
                <a:close/>
                <a:moveTo>
                  <a:pt x="143858" y="94400"/>
                </a:moveTo>
                <a:cubicBezTo>
                  <a:pt x="151390" y="94400"/>
                  <a:pt x="157552" y="93093"/>
                  <a:pt x="162221" y="90542"/>
                </a:cubicBezTo>
                <a:cubicBezTo>
                  <a:pt x="166890" y="87929"/>
                  <a:pt x="169255" y="83262"/>
                  <a:pt x="169255" y="76478"/>
                </a:cubicBezTo>
                <a:cubicBezTo>
                  <a:pt x="169255" y="69696"/>
                  <a:pt x="167014" y="65028"/>
                  <a:pt x="162657" y="62415"/>
                </a:cubicBezTo>
                <a:cubicBezTo>
                  <a:pt x="158361" y="59739"/>
                  <a:pt x="151577" y="58433"/>
                  <a:pt x="142177" y="58433"/>
                </a:cubicBezTo>
                <a:lnTo>
                  <a:pt x="121884" y="58433"/>
                </a:lnTo>
                <a:lnTo>
                  <a:pt x="121884" y="94400"/>
                </a:lnTo>
                <a:lnTo>
                  <a:pt x="143858" y="94400"/>
                </a:lnTo>
                <a:close/>
                <a:moveTo>
                  <a:pt x="255034" y="107095"/>
                </a:moveTo>
                <a:lnTo>
                  <a:pt x="241900" y="107095"/>
                </a:lnTo>
                <a:lnTo>
                  <a:pt x="241900" y="81706"/>
                </a:lnTo>
                <a:lnTo>
                  <a:pt x="195586" y="81706"/>
                </a:lnTo>
                <a:lnTo>
                  <a:pt x="195586" y="72434"/>
                </a:lnTo>
                <a:lnTo>
                  <a:pt x="237418" y="0"/>
                </a:lnTo>
                <a:lnTo>
                  <a:pt x="255034" y="0"/>
                </a:lnTo>
                <a:lnTo>
                  <a:pt x="255034" y="70380"/>
                </a:lnTo>
                <a:lnTo>
                  <a:pt x="269538" y="70380"/>
                </a:lnTo>
                <a:lnTo>
                  <a:pt x="269538" y="81706"/>
                </a:lnTo>
                <a:lnTo>
                  <a:pt x="255034" y="81706"/>
                </a:lnTo>
                <a:lnTo>
                  <a:pt x="255034" y="107095"/>
                </a:lnTo>
                <a:close/>
                <a:moveTo>
                  <a:pt x="209219" y="70380"/>
                </a:moveTo>
                <a:lnTo>
                  <a:pt x="241900" y="70380"/>
                </a:lnTo>
                <a:lnTo>
                  <a:pt x="241900" y="14624"/>
                </a:lnTo>
                <a:lnTo>
                  <a:pt x="209219" y="70380"/>
                </a:lnTo>
                <a:close/>
                <a:moveTo>
                  <a:pt x="286283" y="0"/>
                </a:moveTo>
                <a:lnTo>
                  <a:pt x="322263" y="0"/>
                </a:lnTo>
                <a:cubicBezTo>
                  <a:pt x="329421" y="0"/>
                  <a:pt x="336082" y="871"/>
                  <a:pt x="342307" y="2551"/>
                </a:cubicBezTo>
                <a:cubicBezTo>
                  <a:pt x="348470" y="4231"/>
                  <a:pt x="353824" y="7032"/>
                  <a:pt x="358430" y="10890"/>
                </a:cubicBezTo>
                <a:cubicBezTo>
                  <a:pt x="362974" y="14686"/>
                  <a:pt x="366585" y="19788"/>
                  <a:pt x="369199" y="26136"/>
                </a:cubicBezTo>
                <a:cubicBezTo>
                  <a:pt x="371751" y="32545"/>
                  <a:pt x="373058" y="40448"/>
                  <a:pt x="373058" y="49907"/>
                </a:cubicBezTo>
                <a:cubicBezTo>
                  <a:pt x="373058" y="62415"/>
                  <a:pt x="370755" y="72994"/>
                  <a:pt x="366211" y="81581"/>
                </a:cubicBezTo>
                <a:cubicBezTo>
                  <a:pt x="361729" y="90044"/>
                  <a:pt x="355504" y="96392"/>
                  <a:pt x="347661" y="100685"/>
                </a:cubicBezTo>
                <a:cubicBezTo>
                  <a:pt x="339818" y="104979"/>
                  <a:pt x="330792" y="107095"/>
                  <a:pt x="320644" y="107095"/>
                </a:cubicBezTo>
                <a:lnTo>
                  <a:pt x="286283" y="107095"/>
                </a:lnTo>
                <a:lnTo>
                  <a:pt x="286283" y="0"/>
                </a:lnTo>
                <a:close/>
                <a:moveTo>
                  <a:pt x="320644" y="94400"/>
                </a:moveTo>
                <a:cubicBezTo>
                  <a:pt x="327989" y="94400"/>
                  <a:pt x="334463" y="92907"/>
                  <a:pt x="340067" y="89920"/>
                </a:cubicBezTo>
                <a:cubicBezTo>
                  <a:pt x="345606" y="86808"/>
                  <a:pt x="349963" y="82079"/>
                  <a:pt x="353014" y="75732"/>
                </a:cubicBezTo>
                <a:cubicBezTo>
                  <a:pt x="356251" y="69260"/>
                  <a:pt x="357807" y="60983"/>
                  <a:pt x="357807" y="50965"/>
                </a:cubicBezTo>
                <a:cubicBezTo>
                  <a:pt x="357807" y="40884"/>
                  <a:pt x="356251" y="33105"/>
                  <a:pt x="353200" y="27629"/>
                </a:cubicBezTo>
                <a:cubicBezTo>
                  <a:pt x="350088" y="22153"/>
                  <a:pt x="345856" y="18357"/>
                  <a:pt x="340501" y="16117"/>
                </a:cubicBezTo>
                <a:cubicBezTo>
                  <a:pt x="335211" y="13939"/>
                  <a:pt x="329111" y="12881"/>
                  <a:pt x="322263" y="12881"/>
                </a:cubicBezTo>
                <a:lnTo>
                  <a:pt x="300289" y="12881"/>
                </a:lnTo>
                <a:lnTo>
                  <a:pt x="300289" y="94400"/>
                </a:lnTo>
                <a:lnTo>
                  <a:pt x="320644" y="94400"/>
                </a:lnTo>
                <a:close/>
                <a:moveTo>
                  <a:pt x="454791" y="12134"/>
                </a:moveTo>
                <a:lnTo>
                  <a:pt x="409349" y="107095"/>
                </a:lnTo>
                <a:lnTo>
                  <a:pt x="394722" y="107095"/>
                </a:lnTo>
                <a:lnTo>
                  <a:pt x="440474" y="12881"/>
                </a:lnTo>
                <a:lnTo>
                  <a:pt x="385943" y="12881"/>
                </a:lnTo>
                <a:lnTo>
                  <a:pt x="385943" y="0"/>
                </a:lnTo>
                <a:lnTo>
                  <a:pt x="454791" y="0"/>
                </a:lnTo>
                <a:lnTo>
                  <a:pt x="454791" y="12134"/>
                </a:lnTo>
                <a:close/>
                <a:moveTo>
                  <a:pt x="473902" y="0"/>
                </a:moveTo>
                <a:lnTo>
                  <a:pt x="539326" y="0"/>
                </a:lnTo>
                <a:lnTo>
                  <a:pt x="539326" y="12881"/>
                </a:lnTo>
                <a:lnTo>
                  <a:pt x="487908" y="12881"/>
                </a:lnTo>
                <a:lnTo>
                  <a:pt x="487908" y="48413"/>
                </a:lnTo>
                <a:lnTo>
                  <a:pt x="531545" y="48413"/>
                </a:lnTo>
                <a:lnTo>
                  <a:pt x="531545" y="61108"/>
                </a:lnTo>
                <a:lnTo>
                  <a:pt x="487908" y="61108"/>
                </a:lnTo>
                <a:lnTo>
                  <a:pt x="487908" y="107095"/>
                </a:lnTo>
                <a:lnTo>
                  <a:pt x="473902" y="107095"/>
                </a:lnTo>
                <a:lnTo>
                  <a:pt x="473902" y="0"/>
                </a:lnTo>
                <a:close/>
                <a:moveTo>
                  <a:pt x="558809" y="0"/>
                </a:moveTo>
                <a:lnTo>
                  <a:pt x="624233" y="0"/>
                </a:lnTo>
                <a:lnTo>
                  <a:pt x="624233" y="12881"/>
                </a:lnTo>
                <a:lnTo>
                  <a:pt x="572815" y="12881"/>
                </a:lnTo>
                <a:lnTo>
                  <a:pt x="572815" y="48413"/>
                </a:lnTo>
                <a:lnTo>
                  <a:pt x="616452" y="48413"/>
                </a:lnTo>
                <a:lnTo>
                  <a:pt x="616452" y="61108"/>
                </a:lnTo>
                <a:lnTo>
                  <a:pt x="572815" y="61108"/>
                </a:lnTo>
                <a:lnTo>
                  <a:pt x="572815" y="107095"/>
                </a:lnTo>
                <a:lnTo>
                  <a:pt x="558809" y="107095"/>
                </a:lnTo>
                <a:lnTo>
                  <a:pt x="558809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4" name="Полилиния 963">
            <a:extLst>
              <a:ext uri="{FF2B5EF4-FFF2-40B4-BE49-F238E27FC236}">
                <a16:creationId xmlns:a16="http://schemas.microsoft.com/office/drawing/2014/main" id="{CAF624B8-FDD0-A520-3872-8B1EB813C741}"/>
              </a:ext>
            </a:extLst>
          </p:cNvPr>
          <p:cNvSpPr/>
          <p:nvPr userDrawn="1"/>
        </p:nvSpPr>
        <p:spPr>
          <a:xfrm>
            <a:off x="9547358" y="10323656"/>
            <a:ext cx="257126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BF5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5" name="Полилиния 964">
            <a:extLst>
              <a:ext uri="{FF2B5EF4-FFF2-40B4-BE49-F238E27FC236}">
                <a16:creationId xmlns:a16="http://schemas.microsoft.com/office/drawing/2014/main" id="{90951562-DF66-3FCD-0B83-47D606DD624D}"/>
              </a:ext>
            </a:extLst>
          </p:cNvPr>
          <p:cNvSpPr/>
          <p:nvPr userDrawn="1"/>
        </p:nvSpPr>
        <p:spPr>
          <a:xfrm>
            <a:off x="9670565" y="10627147"/>
            <a:ext cx="712808" cy="126725"/>
          </a:xfrm>
          <a:custGeom>
            <a:avLst/>
            <a:gdLst>
              <a:gd name="connsiteX0" fmla="*/ 22099 w 610787"/>
              <a:gd name="connsiteY0" fmla="*/ 107095 h 108588"/>
              <a:gd name="connsiteX1" fmla="*/ 10147 w 610787"/>
              <a:gd name="connsiteY1" fmla="*/ 107095 h 108588"/>
              <a:gd name="connsiteX2" fmla="*/ 16435 w 610787"/>
              <a:gd name="connsiteY2" fmla="*/ 76168 h 108588"/>
              <a:gd name="connsiteX3" fmla="*/ 0 w 610787"/>
              <a:gd name="connsiteY3" fmla="*/ 76168 h 108588"/>
              <a:gd name="connsiteX4" fmla="*/ 0 w 610787"/>
              <a:gd name="connsiteY4" fmla="*/ 65713 h 108588"/>
              <a:gd name="connsiteX5" fmla="*/ 18675 w 610787"/>
              <a:gd name="connsiteY5" fmla="*/ 65713 h 108588"/>
              <a:gd name="connsiteX6" fmla="*/ 24216 w 610787"/>
              <a:gd name="connsiteY6" fmla="*/ 38519 h 108588"/>
              <a:gd name="connsiteX7" fmla="*/ 4047 w 610787"/>
              <a:gd name="connsiteY7" fmla="*/ 38519 h 108588"/>
              <a:gd name="connsiteX8" fmla="*/ 4047 w 610787"/>
              <a:gd name="connsiteY8" fmla="*/ 28065 h 108588"/>
              <a:gd name="connsiteX9" fmla="*/ 26269 w 610787"/>
              <a:gd name="connsiteY9" fmla="*/ 28065 h 108588"/>
              <a:gd name="connsiteX10" fmla="*/ 32121 w 610787"/>
              <a:gd name="connsiteY10" fmla="*/ 0 h 108588"/>
              <a:gd name="connsiteX11" fmla="*/ 44073 w 610787"/>
              <a:gd name="connsiteY11" fmla="*/ 0 h 108588"/>
              <a:gd name="connsiteX12" fmla="*/ 38222 w 610787"/>
              <a:gd name="connsiteY12" fmla="*/ 28065 h 108588"/>
              <a:gd name="connsiteX13" fmla="*/ 60630 w 610787"/>
              <a:gd name="connsiteY13" fmla="*/ 28065 h 108588"/>
              <a:gd name="connsiteX14" fmla="*/ 66481 w 610787"/>
              <a:gd name="connsiteY14" fmla="*/ 0 h 108588"/>
              <a:gd name="connsiteX15" fmla="*/ 78434 w 610787"/>
              <a:gd name="connsiteY15" fmla="*/ 0 h 108588"/>
              <a:gd name="connsiteX16" fmla="*/ 72583 w 610787"/>
              <a:gd name="connsiteY16" fmla="*/ 28065 h 108588"/>
              <a:gd name="connsiteX17" fmla="*/ 89328 w 610787"/>
              <a:gd name="connsiteY17" fmla="*/ 28065 h 108588"/>
              <a:gd name="connsiteX18" fmla="*/ 89328 w 610787"/>
              <a:gd name="connsiteY18" fmla="*/ 38519 h 108588"/>
              <a:gd name="connsiteX19" fmla="*/ 70529 w 610787"/>
              <a:gd name="connsiteY19" fmla="*/ 38519 h 108588"/>
              <a:gd name="connsiteX20" fmla="*/ 64988 w 610787"/>
              <a:gd name="connsiteY20" fmla="*/ 65713 h 108588"/>
              <a:gd name="connsiteX21" fmla="*/ 85281 w 610787"/>
              <a:gd name="connsiteY21" fmla="*/ 65713 h 108588"/>
              <a:gd name="connsiteX22" fmla="*/ 85281 w 610787"/>
              <a:gd name="connsiteY22" fmla="*/ 76168 h 108588"/>
              <a:gd name="connsiteX23" fmla="*/ 62747 w 610787"/>
              <a:gd name="connsiteY23" fmla="*/ 76168 h 108588"/>
              <a:gd name="connsiteX24" fmla="*/ 56460 w 610787"/>
              <a:gd name="connsiteY24" fmla="*/ 107095 h 108588"/>
              <a:gd name="connsiteX25" fmla="*/ 44509 w 610787"/>
              <a:gd name="connsiteY25" fmla="*/ 107095 h 108588"/>
              <a:gd name="connsiteX26" fmla="*/ 50796 w 610787"/>
              <a:gd name="connsiteY26" fmla="*/ 76168 h 108588"/>
              <a:gd name="connsiteX27" fmla="*/ 28386 w 610787"/>
              <a:gd name="connsiteY27" fmla="*/ 76168 h 108588"/>
              <a:gd name="connsiteX28" fmla="*/ 22099 w 610787"/>
              <a:gd name="connsiteY28" fmla="*/ 107095 h 108588"/>
              <a:gd name="connsiteX29" fmla="*/ 30626 w 610787"/>
              <a:gd name="connsiteY29" fmla="*/ 65713 h 108588"/>
              <a:gd name="connsiteX30" fmla="*/ 53036 w 610787"/>
              <a:gd name="connsiteY30" fmla="*/ 65713 h 108588"/>
              <a:gd name="connsiteX31" fmla="*/ 58577 w 610787"/>
              <a:gd name="connsiteY31" fmla="*/ 38519 h 108588"/>
              <a:gd name="connsiteX32" fmla="*/ 36167 w 610787"/>
              <a:gd name="connsiteY32" fmla="*/ 38519 h 108588"/>
              <a:gd name="connsiteX33" fmla="*/ 30626 w 610787"/>
              <a:gd name="connsiteY33" fmla="*/ 65713 h 108588"/>
              <a:gd name="connsiteX34" fmla="*/ 107816 w 610787"/>
              <a:gd name="connsiteY34" fmla="*/ 0 h 108588"/>
              <a:gd name="connsiteX35" fmla="*/ 174172 w 610787"/>
              <a:gd name="connsiteY35" fmla="*/ 0 h 108588"/>
              <a:gd name="connsiteX36" fmla="*/ 174172 w 610787"/>
              <a:gd name="connsiteY36" fmla="*/ 12881 h 108588"/>
              <a:gd name="connsiteX37" fmla="*/ 121884 w 610787"/>
              <a:gd name="connsiteY37" fmla="*/ 12881 h 108588"/>
              <a:gd name="connsiteX38" fmla="*/ 121884 w 610787"/>
              <a:gd name="connsiteY38" fmla="*/ 45240 h 108588"/>
              <a:gd name="connsiteX39" fmla="*/ 166267 w 610787"/>
              <a:gd name="connsiteY39" fmla="*/ 45240 h 108588"/>
              <a:gd name="connsiteX40" fmla="*/ 166267 w 610787"/>
              <a:gd name="connsiteY40" fmla="*/ 57934 h 108588"/>
              <a:gd name="connsiteX41" fmla="*/ 121884 w 610787"/>
              <a:gd name="connsiteY41" fmla="*/ 57934 h 108588"/>
              <a:gd name="connsiteX42" fmla="*/ 121884 w 610787"/>
              <a:gd name="connsiteY42" fmla="*/ 94400 h 108588"/>
              <a:gd name="connsiteX43" fmla="*/ 174920 w 610787"/>
              <a:gd name="connsiteY43" fmla="*/ 94400 h 108588"/>
              <a:gd name="connsiteX44" fmla="*/ 174920 w 610787"/>
              <a:gd name="connsiteY44" fmla="*/ 107095 h 108588"/>
              <a:gd name="connsiteX45" fmla="*/ 107816 w 610787"/>
              <a:gd name="connsiteY45" fmla="*/ 107095 h 108588"/>
              <a:gd name="connsiteX46" fmla="*/ 107816 w 610787"/>
              <a:gd name="connsiteY46" fmla="*/ 0 h 108588"/>
              <a:gd name="connsiteX47" fmla="*/ 197142 w 610787"/>
              <a:gd name="connsiteY47" fmla="*/ 0 h 108588"/>
              <a:gd name="connsiteX48" fmla="*/ 233434 w 610787"/>
              <a:gd name="connsiteY48" fmla="*/ 0 h 108588"/>
              <a:gd name="connsiteX49" fmla="*/ 260139 w 610787"/>
              <a:gd name="connsiteY49" fmla="*/ 5974 h 108588"/>
              <a:gd name="connsiteX50" fmla="*/ 269414 w 610787"/>
              <a:gd name="connsiteY50" fmla="*/ 26136 h 108588"/>
              <a:gd name="connsiteX51" fmla="*/ 263625 w 610787"/>
              <a:gd name="connsiteY51" fmla="*/ 43622 h 108588"/>
              <a:gd name="connsiteX52" fmla="*/ 248063 w 610787"/>
              <a:gd name="connsiteY52" fmla="*/ 51525 h 108588"/>
              <a:gd name="connsiteX53" fmla="*/ 266862 w 610787"/>
              <a:gd name="connsiteY53" fmla="*/ 58868 h 108588"/>
              <a:gd name="connsiteX54" fmla="*/ 273336 w 610787"/>
              <a:gd name="connsiteY54" fmla="*/ 76168 h 108588"/>
              <a:gd name="connsiteX55" fmla="*/ 268107 w 610787"/>
              <a:gd name="connsiteY55" fmla="*/ 94089 h 108588"/>
              <a:gd name="connsiteX56" fmla="*/ 253727 w 610787"/>
              <a:gd name="connsiteY56" fmla="*/ 104108 h 108588"/>
              <a:gd name="connsiteX57" fmla="*/ 233122 w 610787"/>
              <a:gd name="connsiteY57" fmla="*/ 107095 h 108588"/>
              <a:gd name="connsiteX58" fmla="*/ 197142 w 610787"/>
              <a:gd name="connsiteY58" fmla="*/ 107095 h 108588"/>
              <a:gd name="connsiteX59" fmla="*/ 197142 w 610787"/>
              <a:gd name="connsiteY59" fmla="*/ 0 h 108588"/>
              <a:gd name="connsiteX60" fmla="*/ 232376 w 610787"/>
              <a:gd name="connsiteY60" fmla="*/ 45738 h 108588"/>
              <a:gd name="connsiteX61" fmla="*/ 248809 w 610787"/>
              <a:gd name="connsiteY61" fmla="*/ 41257 h 108588"/>
              <a:gd name="connsiteX62" fmla="*/ 255221 w 610787"/>
              <a:gd name="connsiteY62" fmla="*/ 26882 h 108588"/>
              <a:gd name="connsiteX63" fmla="*/ 249557 w 610787"/>
              <a:gd name="connsiteY63" fmla="*/ 15868 h 108588"/>
              <a:gd name="connsiteX64" fmla="*/ 233434 w 610787"/>
              <a:gd name="connsiteY64" fmla="*/ 12881 h 108588"/>
              <a:gd name="connsiteX65" fmla="*/ 211148 w 610787"/>
              <a:gd name="connsiteY65" fmla="*/ 12881 h 108588"/>
              <a:gd name="connsiteX66" fmla="*/ 211148 w 610787"/>
              <a:gd name="connsiteY66" fmla="*/ 45738 h 108588"/>
              <a:gd name="connsiteX67" fmla="*/ 232376 w 610787"/>
              <a:gd name="connsiteY67" fmla="*/ 45738 h 108588"/>
              <a:gd name="connsiteX68" fmla="*/ 233122 w 610787"/>
              <a:gd name="connsiteY68" fmla="*/ 94400 h 108588"/>
              <a:gd name="connsiteX69" fmla="*/ 251487 w 610787"/>
              <a:gd name="connsiteY69" fmla="*/ 90542 h 108588"/>
              <a:gd name="connsiteX70" fmla="*/ 258520 w 610787"/>
              <a:gd name="connsiteY70" fmla="*/ 76478 h 108588"/>
              <a:gd name="connsiteX71" fmla="*/ 251921 w 610787"/>
              <a:gd name="connsiteY71" fmla="*/ 62415 h 108588"/>
              <a:gd name="connsiteX72" fmla="*/ 231503 w 610787"/>
              <a:gd name="connsiteY72" fmla="*/ 58433 h 108588"/>
              <a:gd name="connsiteX73" fmla="*/ 211148 w 610787"/>
              <a:gd name="connsiteY73" fmla="*/ 58433 h 108588"/>
              <a:gd name="connsiteX74" fmla="*/ 211148 w 610787"/>
              <a:gd name="connsiteY74" fmla="*/ 94400 h 108588"/>
              <a:gd name="connsiteX75" fmla="*/ 233122 w 610787"/>
              <a:gd name="connsiteY75" fmla="*/ 94400 h 108588"/>
              <a:gd name="connsiteX76" fmla="*/ 293380 w 610787"/>
              <a:gd name="connsiteY76" fmla="*/ 0 h 108588"/>
              <a:gd name="connsiteX77" fmla="*/ 358866 w 610787"/>
              <a:gd name="connsiteY77" fmla="*/ 0 h 108588"/>
              <a:gd name="connsiteX78" fmla="*/ 358866 w 610787"/>
              <a:gd name="connsiteY78" fmla="*/ 12881 h 108588"/>
              <a:gd name="connsiteX79" fmla="*/ 307448 w 610787"/>
              <a:gd name="connsiteY79" fmla="*/ 12881 h 108588"/>
              <a:gd name="connsiteX80" fmla="*/ 307448 w 610787"/>
              <a:gd name="connsiteY80" fmla="*/ 48413 h 108588"/>
              <a:gd name="connsiteX81" fmla="*/ 351085 w 610787"/>
              <a:gd name="connsiteY81" fmla="*/ 48413 h 108588"/>
              <a:gd name="connsiteX82" fmla="*/ 351085 w 610787"/>
              <a:gd name="connsiteY82" fmla="*/ 61108 h 108588"/>
              <a:gd name="connsiteX83" fmla="*/ 307448 w 610787"/>
              <a:gd name="connsiteY83" fmla="*/ 61108 h 108588"/>
              <a:gd name="connsiteX84" fmla="*/ 307448 w 610787"/>
              <a:gd name="connsiteY84" fmla="*/ 107095 h 108588"/>
              <a:gd name="connsiteX85" fmla="*/ 293380 w 610787"/>
              <a:gd name="connsiteY85" fmla="*/ 107095 h 108588"/>
              <a:gd name="connsiteX86" fmla="*/ 293380 w 610787"/>
              <a:gd name="connsiteY86" fmla="*/ 0 h 108588"/>
              <a:gd name="connsiteX87" fmla="*/ 402191 w 610787"/>
              <a:gd name="connsiteY87" fmla="*/ 108588 h 108588"/>
              <a:gd name="connsiteX88" fmla="*/ 373681 w 610787"/>
              <a:gd name="connsiteY88" fmla="*/ 100997 h 108588"/>
              <a:gd name="connsiteX89" fmla="*/ 373681 w 610787"/>
              <a:gd name="connsiteY89" fmla="*/ 86311 h 108588"/>
              <a:gd name="connsiteX90" fmla="*/ 386816 w 610787"/>
              <a:gd name="connsiteY90" fmla="*/ 93965 h 108588"/>
              <a:gd name="connsiteX91" fmla="*/ 402191 w 610787"/>
              <a:gd name="connsiteY91" fmla="*/ 96329 h 108588"/>
              <a:gd name="connsiteX92" fmla="*/ 419247 w 610787"/>
              <a:gd name="connsiteY92" fmla="*/ 89608 h 108588"/>
              <a:gd name="connsiteX93" fmla="*/ 425348 w 610787"/>
              <a:gd name="connsiteY93" fmla="*/ 71998 h 108588"/>
              <a:gd name="connsiteX94" fmla="*/ 419372 w 610787"/>
              <a:gd name="connsiteY94" fmla="*/ 54947 h 108588"/>
              <a:gd name="connsiteX95" fmla="*/ 404307 w 610787"/>
              <a:gd name="connsiteY95" fmla="*/ 49596 h 108588"/>
              <a:gd name="connsiteX96" fmla="*/ 393725 w 610787"/>
              <a:gd name="connsiteY96" fmla="*/ 51836 h 108588"/>
              <a:gd name="connsiteX97" fmla="*/ 387562 w 610787"/>
              <a:gd name="connsiteY97" fmla="*/ 56316 h 108588"/>
              <a:gd name="connsiteX98" fmla="*/ 376668 w 610787"/>
              <a:gd name="connsiteY98" fmla="*/ 56316 h 108588"/>
              <a:gd name="connsiteX99" fmla="*/ 376668 w 610787"/>
              <a:gd name="connsiteY99" fmla="*/ 0 h 108588"/>
              <a:gd name="connsiteX100" fmla="*/ 434623 w 610787"/>
              <a:gd name="connsiteY100" fmla="*/ 0 h 108588"/>
              <a:gd name="connsiteX101" fmla="*/ 434623 w 610787"/>
              <a:gd name="connsiteY101" fmla="*/ 12881 h 108588"/>
              <a:gd name="connsiteX102" fmla="*/ 388931 w 610787"/>
              <a:gd name="connsiteY102" fmla="*/ 12881 h 108588"/>
              <a:gd name="connsiteX103" fmla="*/ 388931 w 610787"/>
              <a:gd name="connsiteY103" fmla="*/ 43498 h 108588"/>
              <a:gd name="connsiteX104" fmla="*/ 396215 w 610787"/>
              <a:gd name="connsiteY104" fmla="*/ 39577 h 108588"/>
              <a:gd name="connsiteX105" fmla="*/ 406548 w 610787"/>
              <a:gd name="connsiteY105" fmla="*/ 37772 h 108588"/>
              <a:gd name="connsiteX106" fmla="*/ 423293 w 610787"/>
              <a:gd name="connsiteY106" fmla="*/ 41693 h 108588"/>
              <a:gd name="connsiteX107" fmla="*/ 435059 w 610787"/>
              <a:gd name="connsiteY107" fmla="*/ 53019 h 108588"/>
              <a:gd name="connsiteX108" fmla="*/ 439541 w 610787"/>
              <a:gd name="connsiteY108" fmla="*/ 71687 h 108588"/>
              <a:gd name="connsiteX109" fmla="*/ 434934 w 610787"/>
              <a:gd name="connsiteY109" fmla="*/ 91103 h 108588"/>
              <a:gd name="connsiteX110" fmla="*/ 422110 w 610787"/>
              <a:gd name="connsiteY110" fmla="*/ 104108 h 108588"/>
              <a:gd name="connsiteX111" fmla="*/ 402191 w 610787"/>
              <a:gd name="connsiteY111" fmla="*/ 108588 h 108588"/>
              <a:gd name="connsiteX112" fmla="*/ 460455 w 610787"/>
              <a:gd name="connsiteY112" fmla="*/ 0 h 108588"/>
              <a:gd name="connsiteX113" fmla="*/ 525879 w 610787"/>
              <a:gd name="connsiteY113" fmla="*/ 0 h 108588"/>
              <a:gd name="connsiteX114" fmla="*/ 525879 w 610787"/>
              <a:gd name="connsiteY114" fmla="*/ 12881 h 108588"/>
              <a:gd name="connsiteX115" fmla="*/ 474524 w 610787"/>
              <a:gd name="connsiteY115" fmla="*/ 12881 h 108588"/>
              <a:gd name="connsiteX116" fmla="*/ 474524 w 610787"/>
              <a:gd name="connsiteY116" fmla="*/ 48413 h 108588"/>
              <a:gd name="connsiteX117" fmla="*/ 518098 w 610787"/>
              <a:gd name="connsiteY117" fmla="*/ 48413 h 108588"/>
              <a:gd name="connsiteX118" fmla="*/ 518098 w 610787"/>
              <a:gd name="connsiteY118" fmla="*/ 61108 h 108588"/>
              <a:gd name="connsiteX119" fmla="*/ 474524 w 610787"/>
              <a:gd name="connsiteY119" fmla="*/ 61108 h 108588"/>
              <a:gd name="connsiteX120" fmla="*/ 474524 w 610787"/>
              <a:gd name="connsiteY120" fmla="*/ 107095 h 108588"/>
              <a:gd name="connsiteX121" fmla="*/ 460455 w 610787"/>
              <a:gd name="connsiteY121" fmla="*/ 107095 h 108588"/>
              <a:gd name="connsiteX122" fmla="*/ 460455 w 610787"/>
              <a:gd name="connsiteY122" fmla="*/ 0 h 108588"/>
              <a:gd name="connsiteX123" fmla="*/ 545364 w 610787"/>
              <a:gd name="connsiteY123" fmla="*/ 0 h 108588"/>
              <a:gd name="connsiteX124" fmla="*/ 610787 w 610787"/>
              <a:gd name="connsiteY124" fmla="*/ 0 h 108588"/>
              <a:gd name="connsiteX125" fmla="*/ 610787 w 610787"/>
              <a:gd name="connsiteY125" fmla="*/ 12881 h 108588"/>
              <a:gd name="connsiteX126" fmla="*/ 559432 w 610787"/>
              <a:gd name="connsiteY126" fmla="*/ 12881 h 108588"/>
              <a:gd name="connsiteX127" fmla="*/ 559432 w 610787"/>
              <a:gd name="connsiteY127" fmla="*/ 48413 h 108588"/>
              <a:gd name="connsiteX128" fmla="*/ 603006 w 610787"/>
              <a:gd name="connsiteY128" fmla="*/ 48413 h 108588"/>
              <a:gd name="connsiteX129" fmla="*/ 603006 w 610787"/>
              <a:gd name="connsiteY129" fmla="*/ 61108 h 108588"/>
              <a:gd name="connsiteX130" fmla="*/ 559432 w 610787"/>
              <a:gd name="connsiteY130" fmla="*/ 61108 h 108588"/>
              <a:gd name="connsiteX131" fmla="*/ 559432 w 610787"/>
              <a:gd name="connsiteY131" fmla="*/ 107095 h 108588"/>
              <a:gd name="connsiteX132" fmla="*/ 545364 w 610787"/>
              <a:gd name="connsiteY132" fmla="*/ 107095 h 108588"/>
              <a:gd name="connsiteX133" fmla="*/ 545364 w 610787"/>
              <a:gd name="connsiteY133" fmla="*/ 0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610787" h="108588">
                <a:moveTo>
                  <a:pt x="22099" y="107095"/>
                </a:moveTo>
                <a:lnTo>
                  <a:pt x="10147" y="107095"/>
                </a:lnTo>
                <a:lnTo>
                  <a:pt x="16435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6" y="38519"/>
                </a:lnTo>
                <a:lnTo>
                  <a:pt x="4047" y="38519"/>
                </a:lnTo>
                <a:lnTo>
                  <a:pt x="4047" y="28065"/>
                </a:lnTo>
                <a:lnTo>
                  <a:pt x="26269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2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3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9" y="107095"/>
                </a:lnTo>
                <a:lnTo>
                  <a:pt x="50796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7" y="38519"/>
                </a:lnTo>
                <a:lnTo>
                  <a:pt x="36167" y="38519"/>
                </a:lnTo>
                <a:lnTo>
                  <a:pt x="30626" y="65713"/>
                </a:lnTo>
                <a:close/>
                <a:moveTo>
                  <a:pt x="107816" y="0"/>
                </a:moveTo>
                <a:lnTo>
                  <a:pt x="174172" y="0"/>
                </a:lnTo>
                <a:lnTo>
                  <a:pt x="174172" y="12881"/>
                </a:lnTo>
                <a:lnTo>
                  <a:pt x="121884" y="12881"/>
                </a:lnTo>
                <a:lnTo>
                  <a:pt x="121884" y="45240"/>
                </a:lnTo>
                <a:lnTo>
                  <a:pt x="166267" y="45240"/>
                </a:lnTo>
                <a:lnTo>
                  <a:pt x="166267" y="57934"/>
                </a:lnTo>
                <a:lnTo>
                  <a:pt x="121884" y="57934"/>
                </a:lnTo>
                <a:lnTo>
                  <a:pt x="121884" y="94400"/>
                </a:lnTo>
                <a:lnTo>
                  <a:pt x="174920" y="94400"/>
                </a:lnTo>
                <a:lnTo>
                  <a:pt x="174920" y="107095"/>
                </a:lnTo>
                <a:lnTo>
                  <a:pt x="107816" y="107095"/>
                </a:lnTo>
                <a:lnTo>
                  <a:pt x="107816" y="0"/>
                </a:lnTo>
                <a:close/>
                <a:moveTo>
                  <a:pt x="197142" y="0"/>
                </a:moveTo>
                <a:lnTo>
                  <a:pt x="233434" y="0"/>
                </a:lnTo>
                <a:cubicBezTo>
                  <a:pt x="245199" y="0"/>
                  <a:pt x="254101" y="1991"/>
                  <a:pt x="260139" y="5974"/>
                </a:cubicBezTo>
                <a:cubicBezTo>
                  <a:pt x="266364" y="9956"/>
                  <a:pt x="269414" y="16677"/>
                  <a:pt x="269414" y="26136"/>
                </a:cubicBezTo>
                <a:cubicBezTo>
                  <a:pt x="269414" y="33790"/>
                  <a:pt x="267484" y="39639"/>
                  <a:pt x="263625" y="43622"/>
                </a:cubicBezTo>
                <a:cubicBezTo>
                  <a:pt x="259702" y="47480"/>
                  <a:pt x="254537" y="50156"/>
                  <a:pt x="248063" y="51525"/>
                </a:cubicBezTo>
                <a:cubicBezTo>
                  <a:pt x="256341" y="52520"/>
                  <a:pt x="262628" y="54947"/>
                  <a:pt x="266862" y="58868"/>
                </a:cubicBezTo>
                <a:cubicBezTo>
                  <a:pt x="271157" y="62664"/>
                  <a:pt x="273336" y="68389"/>
                  <a:pt x="273336" y="76168"/>
                </a:cubicBezTo>
                <a:cubicBezTo>
                  <a:pt x="273336" y="83572"/>
                  <a:pt x="271593" y="89547"/>
                  <a:pt x="268107" y="94089"/>
                </a:cubicBezTo>
                <a:cubicBezTo>
                  <a:pt x="264620" y="98694"/>
                  <a:pt x="259827" y="101992"/>
                  <a:pt x="253727" y="104108"/>
                </a:cubicBezTo>
                <a:cubicBezTo>
                  <a:pt x="247689" y="106099"/>
                  <a:pt x="240779" y="107095"/>
                  <a:pt x="233122" y="107095"/>
                </a:cubicBezTo>
                <a:lnTo>
                  <a:pt x="197142" y="107095"/>
                </a:lnTo>
                <a:lnTo>
                  <a:pt x="197142" y="0"/>
                </a:lnTo>
                <a:close/>
                <a:moveTo>
                  <a:pt x="232376" y="45738"/>
                </a:moveTo>
                <a:cubicBezTo>
                  <a:pt x="239160" y="45738"/>
                  <a:pt x="244639" y="44244"/>
                  <a:pt x="248809" y="41257"/>
                </a:cubicBezTo>
                <a:cubicBezTo>
                  <a:pt x="253105" y="38146"/>
                  <a:pt x="255221" y="33354"/>
                  <a:pt x="255221" y="26882"/>
                </a:cubicBezTo>
                <a:cubicBezTo>
                  <a:pt x="255221" y="21406"/>
                  <a:pt x="253353" y="17735"/>
                  <a:pt x="249557" y="15868"/>
                </a:cubicBezTo>
                <a:cubicBezTo>
                  <a:pt x="245759" y="13877"/>
                  <a:pt x="240406" y="12881"/>
                  <a:pt x="233434" y="12881"/>
                </a:cubicBezTo>
                <a:lnTo>
                  <a:pt x="211148" y="12881"/>
                </a:lnTo>
                <a:lnTo>
                  <a:pt x="211148" y="45738"/>
                </a:lnTo>
                <a:lnTo>
                  <a:pt x="232376" y="45738"/>
                </a:lnTo>
                <a:close/>
                <a:moveTo>
                  <a:pt x="233122" y="94400"/>
                </a:moveTo>
                <a:cubicBezTo>
                  <a:pt x="240716" y="94400"/>
                  <a:pt x="246818" y="93093"/>
                  <a:pt x="251487" y="90542"/>
                </a:cubicBezTo>
                <a:cubicBezTo>
                  <a:pt x="256155" y="87929"/>
                  <a:pt x="258520" y="83262"/>
                  <a:pt x="258520" y="76478"/>
                </a:cubicBezTo>
                <a:cubicBezTo>
                  <a:pt x="258520" y="69696"/>
                  <a:pt x="256341" y="65028"/>
                  <a:pt x="251921" y="62415"/>
                </a:cubicBezTo>
                <a:cubicBezTo>
                  <a:pt x="247689" y="59739"/>
                  <a:pt x="240841" y="58433"/>
                  <a:pt x="231503" y="58433"/>
                </a:cubicBezTo>
                <a:lnTo>
                  <a:pt x="211148" y="58433"/>
                </a:lnTo>
                <a:lnTo>
                  <a:pt x="211148" y="94400"/>
                </a:lnTo>
                <a:lnTo>
                  <a:pt x="233122" y="94400"/>
                </a:lnTo>
                <a:close/>
                <a:moveTo>
                  <a:pt x="293380" y="0"/>
                </a:moveTo>
                <a:lnTo>
                  <a:pt x="358866" y="0"/>
                </a:lnTo>
                <a:lnTo>
                  <a:pt x="358866" y="12881"/>
                </a:lnTo>
                <a:lnTo>
                  <a:pt x="307448" y="12881"/>
                </a:lnTo>
                <a:lnTo>
                  <a:pt x="307448" y="48413"/>
                </a:lnTo>
                <a:lnTo>
                  <a:pt x="351085" y="48413"/>
                </a:lnTo>
                <a:lnTo>
                  <a:pt x="351085" y="61108"/>
                </a:lnTo>
                <a:lnTo>
                  <a:pt x="307448" y="61108"/>
                </a:lnTo>
                <a:lnTo>
                  <a:pt x="307448" y="107095"/>
                </a:lnTo>
                <a:lnTo>
                  <a:pt x="293380" y="107095"/>
                </a:lnTo>
                <a:lnTo>
                  <a:pt x="293380" y="0"/>
                </a:lnTo>
                <a:close/>
                <a:moveTo>
                  <a:pt x="402191" y="108588"/>
                </a:moveTo>
                <a:cubicBezTo>
                  <a:pt x="390238" y="108588"/>
                  <a:pt x="380776" y="106037"/>
                  <a:pt x="373681" y="100997"/>
                </a:cubicBezTo>
                <a:lnTo>
                  <a:pt x="373681" y="86311"/>
                </a:lnTo>
                <a:cubicBezTo>
                  <a:pt x="377851" y="89733"/>
                  <a:pt x="382272" y="92284"/>
                  <a:pt x="386816" y="93965"/>
                </a:cubicBezTo>
                <a:cubicBezTo>
                  <a:pt x="391422" y="95520"/>
                  <a:pt x="396526" y="96329"/>
                  <a:pt x="402191" y="96329"/>
                </a:cubicBezTo>
                <a:cubicBezTo>
                  <a:pt x="409598" y="96329"/>
                  <a:pt x="415263" y="94089"/>
                  <a:pt x="419247" y="89608"/>
                </a:cubicBezTo>
                <a:cubicBezTo>
                  <a:pt x="423355" y="85128"/>
                  <a:pt x="425348" y="79279"/>
                  <a:pt x="425348" y="71998"/>
                </a:cubicBezTo>
                <a:cubicBezTo>
                  <a:pt x="425348" y="64219"/>
                  <a:pt x="423355" y="58556"/>
                  <a:pt x="419372" y="54947"/>
                </a:cubicBezTo>
                <a:cubicBezTo>
                  <a:pt x="415387" y="51401"/>
                  <a:pt x="410407" y="49596"/>
                  <a:pt x="404307" y="49596"/>
                </a:cubicBezTo>
                <a:cubicBezTo>
                  <a:pt x="399950" y="49596"/>
                  <a:pt x="396401" y="50343"/>
                  <a:pt x="393725" y="51836"/>
                </a:cubicBezTo>
                <a:cubicBezTo>
                  <a:pt x="390986" y="53205"/>
                  <a:pt x="388994" y="54698"/>
                  <a:pt x="387562" y="56316"/>
                </a:cubicBezTo>
                <a:lnTo>
                  <a:pt x="376668" y="56316"/>
                </a:lnTo>
                <a:lnTo>
                  <a:pt x="376668" y="0"/>
                </a:lnTo>
                <a:lnTo>
                  <a:pt x="434623" y="0"/>
                </a:lnTo>
                <a:lnTo>
                  <a:pt x="434623" y="12881"/>
                </a:lnTo>
                <a:lnTo>
                  <a:pt x="388931" y="12881"/>
                </a:lnTo>
                <a:lnTo>
                  <a:pt x="388931" y="43498"/>
                </a:lnTo>
                <a:cubicBezTo>
                  <a:pt x="390924" y="42004"/>
                  <a:pt x="393351" y="40697"/>
                  <a:pt x="396215" y="39577"/>
                </a:cubicBezTo>
                <a:cubicBezTo>
                  <a:pt x="399141" y="38394"/>
                  <a:pt x="402563" y="37772"/>
                  <a:pt x="406548" y="37772"/>
                </a:cubicBezTo>
                <a:cubicBezTo>
                  <a:pt x="412711" y="37772"/>
                  <a:pt x="418313" y="39079"/>
                  <a:pt x="423293" y="41693"/>
                </a:cubicBezTo>
                <a:cubicBezTo>
                  <a:pt x="428273" y="44182"/>
                  <a:pt x="432194" y="47978"/>
                  <a:pt x="435059" y="53019"/>
                </a:cubicBezTo>
                <a:cubicBezTo>
                  <a:pt x="438047" y="57997"/>
                  <a:pt x="439541" y="64219"/>
                  <a:pt x="439541" y="71687"/>
                </a:cubicBezTo>
                <a:cubicBezTo>
                  <a:pt x="439541" y="79092"/>
                  <a:pt x="438047" y="85564"/>
                  <a:pt x="434934" y="91103"/>
                </a:cubicBezTo>
                <a:cubicBezTo>
                  <a:pt x="431946" y="96702"/>
                  <a:pt x="427650" y="100997"/>
                  <a:pt x="422110" y="104108"/>
                </a:cubicBezTo>
                <a:cubicBezTo>
                  <a:pt x="416509" y="107095"/>
                  <a:pt x="409910" y="108588"/>
                  <a:pt x="402191" y="108588"/>
                </a:cubicBezTo>
                <a:close/>
                <a:moveTo>
                  <a:pt x="460455" y="0"/>
                </a:moveTo>
                <a:lnTo>
                  <a:pt x="525879" y="0"/>
                </a:lnTo>
                <a:lnTo>
                  <a:pt x="525879" y="12881"/>
                </a:lnTo>
                <a:lnTo>
                  <a:pt x="474524" y="12881"/>
                </a:lnTo>
                <a:lnTo>
                  <a:pt x="474524" y="48413"/>
                </a:lnTo>
                <a:lnTo>
                  <a:pt x="518098" y="48413"/>
                </a:lnTo>
                <a:lnTo>
                  <a:pt x="518098" y="61108"/>
                </a:lnTo>
                <a:lnTo>
                  <a:pt x="474524" y="61108"/>
                </a:lnTo>
                <a:lnTo>
                  <a:pt x="474524" y="107095"/>
                </a:lnTo>
                <a:lnTo>
                  <a:pt x="460455" y="107095"/>
                </a:lnTo>
                <a:lnTo>
                  <a:pt x="460455" y="0"/>
                </a:lnTo>
                <a:close/>
                <a:moveTo>
                  <a:pt x="545364" y="0"/>
                </a:moveTo>
                <a:lnTo>
                  <a:pt x="610787" y="0"/>
                </a:lnTo>
                <a:lnTo>
                  <a:pt x="610787" y="12881"/>
                </a:lnTo>
                <a:lnTo>
                  <a:pt x="559432" y="12881"/>
                </a:lnTo>
                <a:lnTo>
                  <a:pt x="559432" y="48413"/>
                </a:lnTo>
                <a:lnTo>
                  <a:pt x="603006" y="48413"/>
                </a:lnTo>
                <a:lnTo>
                  <a:pt x="603006" y="61108"/>
                </a:lnTo>
                <a:lnTo>
                  <a:pt x="559432" y="61108"/>
                </a:lnTo>
                <a:lnTo>
                  <a:pt x="559432" y="107095"/>
                </a:lnTo>
                <a:lnTo>
                  <a:pt x="545364" y="107095"/>
                </a:lnTo>
                <a:lnTo>
                  <a:pt x="545364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6" name="Полилиния 965">
            <a:extLst>
              <a:ext uri="{FF2B5EF4-FFF2-40B4-BE49-F238E27FC236}">
                <a16:creationId xmlns:a16="http://schemas.microsoft.com/office/drawing/2014/main" id="{8B248F5B-5D98-73F5-7DCD-87CB64FA9F3C}"/>
              </a:ext>
            </a:extLst>
          </p:cNvPr>
          <p:cNvSpPr/>
          <p:nvPr userDrawn="1"/>
        </p:nvSpPr>
        <p:spPr>
          <a:xfrm>
            <a:off x="12270615" y="3787620"/>
            <a:ext cx="1398954" cy="726227"/>
          </a:xfrm>
          <a:custGeom>
            <a:avLst/>
            <a:gdLst>
              <a:gd name="connsiteX0" fmla="*/ 0 w 1198727"/>
              <a:gd name="connsiteY0" fmla="*/ 1022 h 622284"/>
              <a:gd name="connsiteX1" fmla="*/ 1198728 w 1198727"/>
              <a:gd name="connsiteY1" fmla="*/ 1022 h 622284"/>
              <a:gd name="connsiteX2" fmla="*/ 1198728 w 1198727"/>
              <a:gd name="connsiteY2" fmla="*/ 623306 h 622284"/>
              <a:gd name="connsiteX3" fmla="*/ 0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022"/>
                </a:moveTo>
                <a:lnTo>
                  <a:pt x="1198728" y="1022"/>
                </a:lnTo>
                <a:lnTo>
                  <a:pt x="1198728" y="623306"/>
                </a:lnTo>
                <a:lnTo>
                  <a:pt x="0" y="623306"/>
                </a:lnTo>
                <a:close/>
              </a:path>
            </a:pathLst>
          </a:custGeom>
          <a:solidFill>
            <a:srgbClr val="00464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7" name="Полилиния 966">
            <a:extLst>
              <a:ext uri="{FF2B5EF4-FFF2-40B4-BE49-F238E27FC236}">
                <a16:creationId xmlns:a16="http://schemas.microsoft.com/office/drawing/2014/main" id="{BC64E5BA-F323-09DD-6DF1-CE5D7B8EE742}"/>
              </a:ext>
            </a:extLst>
          </p:cNvPr>
          <p:cNvSpPr/>
          <p:nvPr userDrawn="1"/>
        </p:nvSpPr>
        <p:spPr>
          <a:xfrm>
            <a:off x="12393824" y="4089368"/>
            <a:ext cx="694050" cy="128468"/>
          </a:xfrm>
          <a:custGeom>
            <a:avLst/>
            <a:gdLst>
              <a:gd name="connsiteX0" fmla="*/ 22111 w 594714"/>
              <a:gd name="connsiteY0" fmla="*/ 108588 h 110081"/>
              <a:gd name="connsiteX1" fmla="*/ 10159 w 594714"/>
              <a:gd name="connsiteY1" fmla="*/ 108588 h 110081"/>
              <a:gd name="connsiteX2" fmla="*/ 16434 w 594714"/>
              <a:gd name="connsiteY2" fmla="*/ 77661 h 110081"/>
              <a:gd name="connsiteX3" fmla="*/ 0 w 594714"/>
              <a:gd name="connsiteY3" fmla="*/ 77661 h 110081"/>
              <a:gd name="connsiteX4" fmla="*/ 0 w 594714"/>
              <a:gd name="connsiteY4" fmla="*/ 67206 h 110081"/>
              <a:gd name="connsiteX5" fmla="*/ 18675 w 594714"/>
              <a:gd name="connsiteY5" fmla="*/ 67206 h 110081"/>
              <a:gd name="connsiteX6" fmla="*/ 24202 w 594714"/>
              <a:gd name="connsiteY6" fmla="*/ 40012 h 110081"/>
              <a:gd name="connsiteX7" fmla="*/ 4034 w 594714"/>
              <a:gd name="connsiteY7" fmla="*/ 40012 h 110081"/>
              <a:gd name="connsiteX8" fmla="*/ 4034 w 594714"/>
              <a:gd name="connsiteY8" fmla="*/ 29559 h 110081"/>
              <a:gd name="connsiteX9" fmla="*/ 26294 w 594714"/>
              <a:gd name="connsiteY9" fmla="*/ 29559 h 110081"/>
              <a:gd name="connsiteX10" fmla="*/ 32120 w 594714"/>
              <a:gd name="connsiteY10" fmla="*/ 1493 h 110081"/>
              <a:gd name="connsiteX11" fmla="*/ 44072 w 594714"/>
              <a:gd name="connsiteY11" fmla="*/ 1493 h 110081"/>
              <a:gd name="connsiteX12" fmla="*/ 38246 w 594714"/>
              <a:gd name="connsiteY12" fmla="*/ 29559 h 110081"/>
              <a:gd name="connsiteX13" fmla="*/ 60655 w 594714"/>
              <a:gd name="connsiteY13" fmla="*/ 29559 h 110081"/>
              <a:gd name="connsiteX14" fmla="*/ 66482 w 594714"/>
              <a:gd name="connsiteY14" fmla="*/ 1493 h 110081"/>
              <a:gd name="connsiteX15" fmla="*/ 78434 w 594714"/>
              <a:gd name="connsiteY15" fmla="*/ 1493 h 110081"/>
              <a:gd name="connsiteX16" fmla="*/ 72607 w 594714"/>
              <a:gd name="connsiteY16" fmla="*/ 29559 h 110081"/>
              <a:gd name="connsiteX17" fmla="*/ 89340 w 594714"/>
              <a:gd name="connsiteY17" fmla="*/ 29559 h 110081"/>
              <a:gd name="connsiteX18" fmla="*/ 89340 w 594714"/>
              <a:gd name="connsiteY18" fmla="*/ 40012 h 110081"/>
              <a:gd name="connsiteX19" fmla="*/ 70516 w 594714"/>
              <a:gd name="connsiteY19" fmla="*/ 40012 h 110081"/>
              <a:gd name="connsiteX20" fmla="*/ 64988 w 594714"/>
              <a:gd name="connsiteY20" fmla="*/ 67206 h 110081"/>
              <a:gd name="connsiteX21" fmla="*/ 85306 w 594714"/>
              <a:gd name="connsiteY21" fmla="*/ 67206 h 110081"/>
              <a:gd name="connsiteX22" fmla="*/ 85306 w 594714"/>
              <a:gd name="connsiteY22" fmla="*/ 77661 h 110081"/>
              <a:gd name="connsiteX23" fmla="*/ 62747 w 594714"/>
              <a:gd name="connsiteY23" fmla="*/ 77661 h 110081"/>
              <a:gd name="connsiteX24" fmla="*/ 56472 w 594714"/>
              <a:gd name="connsiteY24" fmla="*/ 108588 h 110081"/>
              <a:gd name="connsiteX25" fmla="*/ 44520 w 594714"/>
              <a:gd name="connsiteY25" fmla="*/ 108588 h 110081"/>
              <a:gd name="connsiteX26" fmla="*/ 50795 w 594714"/>
              <a:gd name="connsiteY26" fmla="*/ 77661 h 110081"/>
              <a:gd name="connsiteX27" fmla="*/ 28386 w 594714"/>
              <a:gd name="connsiteY27" fmla="*/ 77661 h 110081"/>
              <a:gd name="connsiteX28" fmla="*/ 22111 w 594714"/>
              <a:gd name="connsiteY28" fmla="*/ 108588 h 110081"/>
              <a:gd name="connsiteX29" fmla="*/ 30626 w 594714"/>
              <a:gd name="connsiteY29" fmla="*/ 67206 h 110081"/>
              <a:gd name="connsiteX30" fmla="*/ 53036 w 594714"/>
              <a:gd name="connsiteY30" fmla="*/ 67206 h 110081"/>
              <a:gd name="connsiteX31" fmla="*/ 58564 w 594714"/>
              <a:gd name="connsiteY31" fmla="*/ 40012 h 110081"/>
              <a:gd name="connsiteX32" fmla="*/ 36154 w 594714"/>
              <a:gd name="connsiteY32" fmla="*/ 40012 h 110081"/>
              <a:gd name="connsiteX33" fmla="*/ 30626 w 594714"/>
              <a:gd name="connsiteY33" fmla="*/ 67206 h 110081"/>
              <a:gd name="connsiteX34" fmla="*/ 136659 w 594714"/>
              <a:gd name="connsiteY34" fmla="*/ 110082 h 110081"/>
              <a:gd name="connsiteX35" fmla="*/ 118432 w 594714"/>
              <a:gd name="connsiteY35" fmla="*/ 104233 h 110081"/>
              <a:gd name="connsiteX36" fmla="*/ 105734 w 594714"/>
              <a:gd name="connsiteY36" fmla="*/ 86311 h 110081"/>
              <a:gd name="connsiteX37" fmla="*/ 101252 w 594714"/>
              <a:gd name="connsiteY37" fmla="*/ 54947 h 110081"/>
              <a:gd name="connsiteX38" fmla="*/ 105734 w 594714"/>
              <a:gd name="connsiteY38" fmla="*/ 23584 h 110081"/>
              <a:gd name="connsiteX39" fmla="*/ 118432 w 594714"/>
              <a:gd name="connsiteY39" fmla="*/ 5849 h 110081"/>
              <a:gd name="connsiteX40" fmla="*/ 136659 w 594714"/>
              <a:gd name="connsiteY40" fmla="*/ 186 h 110081"/>
              <a:gd name="connsiteX41" fmla="*/ 154736 w 594714"/>
              <a:gd name="connsiteY41" fmla="*/ 5849 h 110081"/>
              <a:gd name="connsiteX42" fmla="*/ 167136 w 594714"/>
              <a:gd name="connsiteY42" fmla="*/ 23584 h 110081"/>
              <a:gd name="connsiteX43" fmla="*/ 171618 w 594714"/>
              <a:gd name="connsiteY43" fmla="*/ 54698 h 110081"/>
              <a:gd name="connsiteX44" fmla="*/ 167136 w 594714"/>
              <a:gd name="connsiteY44" fmla="*/ 86062 h 110081"/>
              <a:gd name="connsiteX45" fmla="*/ 154736 w 594714"/>
              <a:gd name="connsiteY45" fmla="*/ 104233 h 110081"/>
              <a:gd name="connsiteX46" fmla="*/ 136659 w 594714"/>
              <a:gd name="connsiteY46" fmla="*/ 110082 h 110081"/>
              <a:gd name="connsiteX47" fmla="*/ 136509 w 594714"/>
              <a:gd name="connsiteY47" fmla="*/ 98258 h 110081"/>
              <a:gd name="connsiteX48" fmla="*/ 147864 w 594714"/>
              <a:gd name="connsiteY48" fmla="*/ 94275 h 110081"/>
              <a:gd name="connsiteX49" fmla="*/ 155035 w 594714"/>
              <a:gd name="connsiteY49" fmla="*/ 80648 h 110081"/>
              <a:gd name="connsiteX50" fmla="*/ 157575 w 594714"/>
              <a:gd name="connsiteY50" fmla="*/ 55134 h 110081"/>
              <a:gd name="connsiteX51" fmla="*/ 155184 w 594714"/>
              <a:gd name="connsiteY51" fmla="*/ 29745 h 110081"/>
              <a:gd name="connsiteX52" fmla="*/ 148013 w 594714"/>
              <a:gd name="connsiteY52" fmla="*/ 16117 h 110081"/>
              <a:gd name="connsiteX53" fmla="*/ 136659 w 594714"/>
              <a:gd name="connsiteY53" fmla="*/ 11947 h 110081"/>
              <a:gd name="connsiteX54" fmla="*/ 125155 w 594714"/>
              <a:gd name="connsiteY54" fmla="*/ 16117 h 110081"/>
              <a:gd name="connsiteX55" fmla="*/ 117835 w 594714"/>
              <a:gd name="connsiteY55" fmla="*/ 29745 h 110081"/>
              <a:gd name="connsiteX56" fmla="*/ 115295 w 594714"/>
              <a:gd name="connsiteY56" fmla="*/ 55134 h 110081"/>
              <a:gd name="connsiteX57" fmla="*/ 117685 w 594714"/>
              <a:gd name="connsiteY57" fmla="*/ 80648 h 110081"/>
              <a:gd name="connsiteX58" fmla="*/ 125006 w 594714"/>
              <a:gd name="connsiteY58" fmla="*/ 94275 h 110081"/>
              <a:gd name="connsiteX59" fmla="*/ 136509 w 594714"/>
              <a:gd name="connsiteY59" fmla="*/ 98258 h 110081"/>
              <a:gd name="connsiteX60" fmla="*/ 218798 w 594714"/>
              <a:gd name="connsiteY60" fmla="*/ 110082 h 110081"/>
              <a:gd name="connsiteX61" fmla="*/ 200572 w 594714"/>
              <a:gd name="connsiteY61" fmla="*/ 104233 h 110081"/>
              <a:gd name="connsiteX62" fmla="*/ 187873 w 594714"/>
              <a:gd name="connsiteY62" fmla="*/ 86311 h 110081"/>
              <a:gd name="connsiteX63" fmla="*/ 183391 w 594714"/>
              <a:gd name="connsiteY63" fmla="*/ 54947 h 110081"/>
              <a:gd name="connsiteX64" fmla="*/ 187873 w 594714"/>
              <a:gd name="connsiteY64" fmla="*/ 23584 h 110081"/>
              <a:gd name="connsiteX65" fmla="*/ 200572 w 594714"/>
              <a:gd name="connsiteY65" fmla="*/ 5849 h 110081"/>
              <a:gd name="connsiteX66" fmla="*/ 218798 w 594714"/>
              <a:gd name="connsiteY66" fmla="*/ 186 h 110081"/>
              <a:gd name="connsiteX67" fmla="*/ 236875 w 594714"/>
              <a:gd name="connsiteY67" fmla="*/ 5849 h 110081"/>
              <a:gd name="connsiteX68" fmla="*/ 249275 w 594714"/>
              <a:gd name="connsiteY68" fmla="*/ 23584 h 110081"/>
              <a:gd name="connsiteX69" fmla="*/ 253757 w 594714"/>
              <a:gd name="connsiteY69" fmla="*/ 54698 h 110081"/>
              <a:gd name="connsiteX70" fmla="*/ 249275 w 594714"/>
              <a:gd name="connsiteY70" fmla="*/ 86062 h 110081"/>
              <a:gd name="connsiteX71" fmla="*/ 236875 w 594714"/>
              <a:gd name="connsiteY71" fmla="*/ 104233 h 110081"/>
              <a:gd name="connsiteX72" fmla="*/ 218798 w 594714"/>
              <a:gd name="connsiteY72" fmla="*/ 110082 h 110081"/>
              <a:gd name="connsiteX73" fmla="*/ 218649 w 594714"/>
              <a:gd name="connsiteY73" fmla="*/ 98258 h 110081"/>
              <a:gd name="connsiteX74" fmla="*/ 230003 w 594714"/>
              <a:gd name="connsiteY74" fmla="*/ 94275 h 110081"/>
              <a:gd name="connsiteX75" fmla="*/ 237174 w 594714"/>
              <a:gd name="connsiteY75" fmla="*/ 80648 h 110081"/>
              <a:gd name="connsiteX76" fmla="*/ 239714 w 594714"/>
              <a:gd name="connsiteY76" fmla="*/ 55134 h 110081"/>
              <a:gd name="connsiteX77" fmla="*/ 237324 w 594714"/>
              <a:gd name="connsiteY77" fmla="*/ 29745 h 110081"/>
              <a:gd name="connsiteX78" fmla="*/ 230152 w 594714"/>
              <a:gd name="connsiteY78" fmla="*/ 16117 h 110081"/>
              <a:gd name="connsiteX79" fmla="*/ 218798 w 594714"/>
              <a:gd name="connsiteY79" fmla="*/ 11947 h 110081"/>
              <a:gd name="connsiteX80" fmla="*/ 207295 w 594714"/>
              <a:gd name="connsiteY80" fmla="*/ 16117 h 110081"/>
              <a:gd name="connsiteX81" fmla="*/ 199974 w 594714"/>
              <a:gd name="connsiteY81" fmla="*/ 29745 h 110081"/>
              <a:gd name="connsiteX82" fmla="*/ 197434 w 594714"/>
              <a:gd name="connsiteY82" fmla="*/ 55134 h 110081"/>
              <a:gd name="connsiteX83" fmla="*/ 199825 w 594714"/>
              <a:gd name="connsiteY83" fmla="*/ 80648 h 110081"/>
              <a:gd name="connsiteX84" fmla="*/ 207145 w 594714"/>
              <a:gd name="connsiteY84" fmla="*/ 94275 h 110081"/>
              <a:gd name="connsiteX85" fmla="*/ 218649 w 594714"/>
              <a:gd name="connsiteY85" fmla="*/ 98258 h 110081"/>
              <a:gd name="connsiteX86" fmla="*/ 323049 w 594714"/>
              <a:gd name="connsiteY86" fmla="*/ 108588 h 110081"/>
              <a:gd name="connsiteX87" fmla="*/ 309902 w 594714"/>
              <a:gd name="connsiteY87" fmla="*/ 108588 h 110081"/>
              <a:gd name="connsiteX88" fmla="*/ 309902 w 594714"/>
              <a:gd name="connsiteY88" fmla="*/ 83199 h 110081"/>
              <a:gd name="connsiteX89" fmla="*/ 263589 w 594714"/>
              <a:gd name="connsiteY89" fmla="*/ 83199 h 110081"/>
              <a:gd name="connsiteX90" fmla="*/ 263589 w 594714"/>
              <a:gd name="connsiteY90" fmla="*/ 73927 h 110081"/>
              <a:gd name="connsiteX91" fmla="*/ 305420 w 594714"/>
              <a:gd name="connsiteY91" fmla="*/ 1493 h 110081"/>
              <a:gd name="connsiteX92" fmla="*/ 323049 w 594714"/>
              <a:gd name="connsiteY92" fmla="*/ 1493 h 110081"/>
              <a:gd name="connsiteX93" fmla="*/ 323049 w 594714"/>
              <a:gd name="connsiteY93" fmla="*/ 71873 h 110081"/>
              <a:gd name="connsiteX94" fmla="*/ 337541 w 594714"/>
              <a:gd name="connsiteY94" fmla="*/ 71873 h 110081"/>
              <a:gd name="connsiteX95" fmla="*/ 337541 w 594714"/>
              <a:gd name="connsiteY95" fmla="*/ 83199 h 110081"/>
              <a:gd name="connsiteX96" fmla="*/ 323049 w 594714"/>
              <a:gd name="connsiteY96" fmla="*/ 83199 h 110081"/>
              <a:gd name="connsiteX97" fmla="*/ 323049 w 594714"/>
              <a:gd name="connsiteY97" fmla="*/ 108588 h 110081"/>
              <a:gd name="connsiteX98" fmla="*/ 277184 w 594714"/>
              <a:gd name="connsiteY98" fmla="*/ 71873 h 110081"/>
              <a:gd name="connsiteX99" fmla="*/ 309902 w 594714"/>
              <a:gd name="connsiteY99" fmla="*/ 71873 h 110081"/>
              <a:gd name="connsiteX100" fmla="*/ 309902 w 594714"/>
              <a:gd name="connsiteY100" fmla="*/ 16117 h 110081"/>
              <a:gd name="connsiteX101" fmla="*/ 277184 w 594714"/>
              <a:gd name="connsiteY101" fmla="*/ 71873 h 110081"/>
              <a:gd name="connsiteX102" fmla="*/ 419680 w 594714"/>
              <a:gd name="connsiteY102" fmla="*/ 73491 h 110081"/>
              <a:gd name="connsiteX103" fmla="*/ 414899 w 594714"/>
              <a:gd name="connsiteY103" fmla="*/ 92782 h 110081"/>
              <a:gd name="connsiteX104" fmla="*/ 402200 w 594714"/>
              <a:gd name="connsiteY104" fmla="*/ 105601 h 110081"/>
              <a:gd name="connsiteX105" fmla="*/ 384123 w 594714"/>
              <a:gd name="connsiteY105" fmla="*/ 110082 h 110081"/>
              <a:gd name="connsiteX106" fmla="*/ 362461 w 594714"/>
              <a:gd name="connsiteY106" fmla="*/ 104108 h 110081"/>
              <a:gd name="connsiteX107" fmla="*/ 350360 w 594714"/>
              <a:gd name="connsiteY107" fmla="*/ 87555 h 110081"/>
              <a:gd name="connsiteX108" fmla="*/ 346625 w 594714"/>
              <a:gd name="connsiteY108" fmla="*/ 63161 h 110081"/>
              <a:gd name="connsiteX109" fmla="*/ 351107 w 594714"/>
              <a:gd name="connsiteY109" fmla="*/ 30181 h 110081"/>
              <a:gd name="connsiteX110" fmla="*/ 365150 w 594714"/>
              <a:gd name="connsiteY110" fmla="*/ 8089 h 110081"/>
              <a:gd name="connsiteX111" fmla="*/ 389651 w 594714"/>
              <a:gd name="connsiteY111" fmla="*/ 0 h 110081"/>
              <a:gd name="connsiteX112" fmla="*/ 412210 w 594714"/>
              <a:gd name="connsiteY112" fmla="*/ 5538 h 110081"/>
              <a:gd name="connsiteX113" fmla="*/ 412210 w 594714"/>
              <a:gd name="connsiteY113" fmla="*/ 18855 h 110081"/>
              <a:gd name="connsiteX114" fmla="*/ 389651 w 594714"/>
              <a:gd name="connsiteY114" fmla="*/ 12259 h 110081"/>
              <a:gd name="connsiteX115" fmla="*/ 374114 w 594714"/>
              <a:gd name="connsiteY115" fmla="*/ 17361 h 110081"/>
              <a:gd name="connsiteX116" fmla="*/ 364253 w 594714"/>
              <a:gd name="connsiteY116" fmla="*/ 31238 h 110081"/>
              <a:gd name="connsiteX117" fmla="*/ 360070 w 594714"/>
              <a:gd name="connsiteY117" fmla="*/ 50778 h 110081"/>
              <a:gd name="connsiteX118" fmla="*/ 371425 w 594714"/>
              <a:gd name="connsiteY118" fmla="*/ 40759 h 110081"/>
              <a:gd name="connsiteX119" fmla="*/ 385468 w 594714"/>
              <a:gd name="connsiteY119" fmla="*/ 37523 h 110081"/>
              <a:gd name="connsiteX120" fmla="*/ 402798 w 594714"/>
              <a:gd name="connsiteY120" fmla="*/ 41693 h 110081"/>
              <a:gd name="connsiteX121" fmla="*/ 415049 w 594714"/>
              <a:gd name="connsiteY121" fmla="*/ 53952 h 110081"/>
              <a:gd name="connsiteX122" fmla="*/ 419680 w 594714"/>
              <a:gd name="connsiteY122" fmla="*/ 73491 h 110081"/>
              <a:gd name="connsiteX123" fmla="*/ 383675 w 594714"/>
              <a:gd name="connsiteY123" fmla="*/ 98134 h 110081"/>
              <a:gd name="connsiteX124" fmla="*/ 394432 w 594714"/>
              <a:gd name="connsiteY124" fmla="*/ 95458 h 110081"/>
              <a:gd name="connsiteX125" fmla="*/ 402350 w 594714"/>
              <a:gd name="connsiteY125" fmla="*/ 87244 h 110081"/>
              <a:gd name="connsiteX126" fmla="*/ 405487 w 594714"/>
              <a:gd name="connsiteY126" fmla="*/ 73803 h 110081"/>
              <a:gd name="connsiteX127" fmla="*/ 402499 w 594714"/>
              <a:gd name="connsiteY127" fmla="*/ 60174 h 110081"/>
              <a:gd name="connsiteX128" fmla="*/ 394880 w 594714"/>
              <a:gd name="connsiteY128" fmla="*/ 51961 h 110081"/>
              <a:gd name="connsiteX129" fmla="*/ 385169 w 594714"/>
              <a:gd name="connsiteY129" fmla="*/ 49160 h 110081"/>
              <a:gd name="connsiteX130" fmla="*/ 368586 w 594714"/>
              <a:gd name="connsiteY130" fmla="*/ 55570 h 110081"/>
              <a:gd name="connsiteX131" fmla="*/ 362013 w 594714"/>
              <a:gd name="connsiteY131" fmla="*/ 74114 h 110081"/>
              <a:gd name="connsiteX132" fmla="*/ 367839 w 594714"/>
              <a:gd name="connsiteY132" fmla="*/ 91538 h 110081"/>
              <a:gd name="connsiteX133" fmla="*/ 383675 w 594714"/>
              <a:gd name="connsiteY133" fmla="*/ 98134 h 110081"/>
              <a:gd name="connsiteX134" fmla="*/ 487328 w 594714"/>
              <a:gd name="connsiteY134" fmla="*/ 108588 h 110081"/>
              <a:gd name="connsiteX135" fmla="*/ 474181 w 594714"/>
              <a:gd name="connsiteY135" fmla="*/ 108588 h 110081"/>
              <a:gd name="connsiteX136" fmla="*/ 474181 w 594714"/>
              <a:gd name="connsiteY136" fmla="*/ 83199 h 110081"/>
              <a:gd name="connsiteX137" fmla="*/ 427868 w 594714"/>
              <a:gd name="connsiteY137" fmla="*/ 83199 h 110081"/>
              <a:gd name="connsiteX138" fmla="*/ 427868 w 594714"/>
              <a:gd name="connsiteY138" fmla="*/ 73927 h 110081"/>
              <a:gd name="connsiteX139" fmla="*/ 469699 w 594714"/>
              <a:gd name="connsiteY139" fmla="*/ 1493 h 110081"/>
              <a:gd name="connsiteX140" fmla="*/ 487328 w 594714"/>
              <a:gd name="connsiteY140" fmla="*/ 1493 h 110081"/>
              <a:gd name="connsiteX141" fmla="*/ 487328 w 594714"/>
              <a:gd name="connsiteY141" fmla="*/ 71873 h 110081"/>
              <a:gd name="connsiteX142" fmla="*/ 501819 w 594714"/>
              <a:gd name="connsiteY142" fmla="*/ 71873 h 110081"/>
              <a:gd name="connsiteX143" fmla="*/ 501819 w 594714"/>
              <a:gd name="connsiteY143" fmla="*/ 83199 h 110081"/>
              <a:gd name="connsiteX144" fmla="*/ 487328 w 594714"/>
              <a:gd name="connsiteY144" fmla="*/ 83199 h 110081"/>
              <a:gd name="connsiteX145" fmla="*/ 487328 w 594714"/>
              <a:gd name="connsiteY145" fmla="*/ 108588 h 110081"/>
              <a:gd name="connsiteX146" fmla="*/ 441463 w 594714"/>
              <a:gd name="connsiteY146" fmla="*/ 71873 h 110081"/>
              <a:gd name="connsiteX147" fmla="*/ 474181 w 594714"/>
              <a:gd name="connsiteY147" fmla="*/ 71873 h 110081"/>
              <a:gd name="connsiteX148" fmla="*/ 474181 w 594714"/>
              <a:gd name="connsiteY148" fmla="*/ 16117 h 110081"/>
              <a:gd name="connsiteX149" fmla="*/ 441463 w 594714"/>
              <a:gd name="connsiteY149" fmla="*/ 71873 h 110081"/>
              <a:gd name="connsiteX150" fmla="*/ 518521 w 594714"/>
              <a:gd name="connsiteY150" fmla="*/ 1493 h 110081"/>
              <a:gd name="connsiteX151" fmla="*/ 554825 w 594714"/>
              <a:gd name="connsiteY151" fmla="*/ 1493 h 110081"/>
              <a:gd name="connsiteX152" fmla="*/ 581567 w 594714"/>
              <a:gd name="connsiteY152" fmla="*/ 7467 h 110081"/>
              <a:gd name="connsiteX153" fmla="*/ 590830 w 594714"/>
              <a:gd name="connsiteY153" fmla="*/ 27629 h 110081"/>
              <a:gd name="connsiteX154" fmla="*/ 585003 w 594714"/>
              <a:gd name="connsiteY154" fmla="*/ 45116 h 110081"/>
              <a:gd name="connsiteX155" fmla="*/ 569466 w 594714"/>
              <a:gd name="connsiteY155" fmla="*/ 53018 h 110081"/>
              <a:gd name="connsiteX156" fmla="*/ 588290 w 594714"/>
              <a:gd name="connsiteY156" fmla="*/ 60361 h 110081"/>
              <a:gd name="connsiteX157" fmla="*/ 594714 w 594714"/>
              <a:gd name="connsiteY157" fmla="*/ 77661 h 110081"/>
              <a:gd name="connsiteX158" fmla="*/ 589485 w 594714"/>
              <a:gd name="connsiteY158" fmla="*/ 95583 h 110081"/>
              <a:gd name="connsiteX159" fmla="*/ 575143 w 594714"/>
              <a:gd name="connsiteY159" fmla="*/ 105601 h 110081"/>
              <a:gd name="connsiteX160" fmla="*/ 554526 w 594714"/>
              <a:gd name="connsiteY160" fmla="*/ 108588 h 110081"/>
              <a:gd name="connsiteX161" fmla="*/ 518521 w 594714"/>
              <a:gd name="connsiteY161" fmla="*/ 108588 h 110081"/>
              <a:gd name="connsiteX162" fmla="*/ 518521 w 594714"/>
              <a:gd name="connsiteY162" fmla="*/ 1493 h 110081"/>
              <a:gd name="connsiteX163" fmla="*/ 553779 w 594714"/>
              <a:gd name="connsiteY163" fmla="*/ 47231 h 110081"/>
              <a:gd name="connsiteX164" fmla="*/ 570213 w 594714"/>
              <a:gd name="connsiteY164" fmla="*/ 42751 h 110081"/>
              <a:gd name="connsiteX165" fmla="*/ 576637 w 594714"/>
              <a:gd name="connsiteY165" fmla="*/ 28376 h 110081"/>
              <a:gd name="connsiteX166" fmla="*/ 570960 w 594714"/>
              <a:gd name="connsiteY166" fmla="*/ 17361 h 110081"/>
              <a:gd name="connsiteX167" fmla="*/ 554825 w 594714"/>
              <a:gd name="connsiteY167" fmla="*/ 14374 h 110081"/>
              <a:gd name="connsiteX168" fmla="*/ 532565 w 594714"/>
              <a:gd name="connsiteY168" fmla="*/ 14374 h 110081"/>
              <a:gd name="connsiteX169" fmla="*/ 532565 w 594714"/>
              <a:gd name="connsiteY169" fmla="*/ 47231 h 110081"/>
              <a:gd name="connsiteX170" fmla="*/ 553779 w 594714"/>
              <a:gd name="connsiteY170" fmla="*/ 47231 h 110081"/>
              <a:gd name="connsiteX171" fmla="*/ 554526 w 594714"/>
              <a:gd name="connsiteY171" fmla="*/ 95893 h 110081"/>
              <a:gd name="connsiteX172" fmla="*/ 572902 w 594714"/>
              <a:gd name="connsiteY172" fmla="*/ 92035 h 110081"/>
              <a:gd name="connsiteX173" fmla="*/ 579924 w 594714"/>
              <a:gd name="connsiteY173" fmla="*/ 77972 h 110081"/>
              <a:gd name="connsiteX174" fmla="*/ 573350 w 594714"/>
              <a:gd name="connsiteY174" fmla="*/ 63908 h 110081"/>
              <a:gd name="connsiteX175" fmla="*/ 552883 w 594714"/>
              <a:gd name="connsiteY175" fmla="*/ 59926 h 110081"/>
              <a:gd name="connsiteX176" fmla="*/ 532565 w 594714"/>
              <a:gd name="connsiteY176" fmla="*/ 59926 h 110081"/>
              <a:gd name="connsiteX177" fmla="*/ 532565 w 594714"/>
              <a:gd name="connsiteY177" fmla="*/ 95893 h 110081"/>
              <a:gd name="connsiteX178" fmla="*/ 554526 w 594714"/>
              <a:gd name="connsiteY17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594714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323049" y="108588"/>
                </a:moveTo>
                <a:lnTo>
                  <a:pt x="309902" y="108588"/>
                </a:lnTo>
                <a:lnTo>
                  <a:pt x="309902" y="83199"/>
                </a:lnTo>
                <a:lnTo>
                  <a:pt x="263589" y="83199"/>
                </a:lnTo>
                <a:lnTo>
                  <a:pt x="263589" y="73927"/>
                </a:lnTo>
                <a:lnTo>
                  <a:pt x="305420" y="1493"/>
                </a:lnTo>
                <a:lnTo>
                  <a:pt x="323049" y="1493"/>
                </a:lnTo>
                <a:lnTo>
                  <a:pt x="323049" y="71873"/>
                </a:lnTo>
                <a:lnTo>
                  <a:pt x="337541" y="71873"/>
                </a:lnTo>
                <a:lnTo>
                  <a:pt x="337541" y="83199"/>
                </a:lnTo>
                <a:lnTo>
                  <a:pt x="323049" y="83199"/>
                </a:lnTo>
                <a:lnTo>
                  <a:pt x="323049" y="108588"/>
                </a:lnTo>
                <a:close/>
                <a:moveTo>
                  <a:pt x="277184" y="71873"/>
                </a:moveTo>
                <a:lnTo>
                  <a:pt x="309902" y="71873"/>
                </a:lnTo>
                <a:lnTo>
                  <a:pt x="309902" y="16117"/>
                </a:lnTo>
                <a:lnTo>
                  <a:pt x="277184" y="71873"/>
                </a:lnTo>
                <a:close/>
                <a:moveTo>
                  <a:pt x="419680" y="73491"/>
                </a:moveTo>
                <a:cubicBezTo>
                  <a:pt x="419680" y="80772"/>
                  <a:pt x="418086" y="87182"/>
                  <a:pt x="414899" y="92782"/>
                </a:cubicBezTo>
                <a:cubicBezTo>
                  <a:pt x="411812" y="98258"/>
                  <a:pt x="407579" y="102490"/>
                  <a:pt x="402200" y="105601"/>
                </a:cubicBezTo>
                <a:cubicBezTo>
                  <a:pt x="396822" y="108588"/>
                  <a:pt x="390796" y="110082"/>
                  <a:pt x="384123" y="110082"/>
                </a:cubicBezTo>
                <a:cubicBezTo>
                  <a:pt x="375159" y="110082"/>
                  <a:pt x="367939" y="108091"/>
                  <a:pt x="362461" y="104108"/>
                </a:cubicBezTo>
                <a:cubicBezTo>
                  <a:pt x="356983" y="100125"/>
                  <a:pt x="352949" y="94587"/>
                  <a:pt x="350360" y="87555"/>
                </a:cubicBezTo>
                <a:cubicBezTo>
                  <a:pt x="347870" y="80461"/>
                  <a:pt x="346625" y="72372"/>
                  <a:pt x="346625" y="63161"/>
                </a:cubicBezTo>
                <a:cubicBezTo>
                  <a:pt x="346625" y="50653"/>
                  <a:pt x="348119" y="39639"/>
                  <a:pt x="351107" y="30181"/>
                </a:cubicBezTo>
                <a:cubicBezTo>
                  <a:pt x="354194" y="20722"/>
                  <a:pt x="358875" y="13379"/>
                  <a:pt x="365150" y="8089"/>
                </a:cubicBezTo>
                <a:cubicBezTo>
                  <a:pt x="371524" y="2675"/>
                  <a:pt x="379691" y="0"/>
                  <a:pt x="389651" y="0"/>
                </a:cubicBezTo>
                <a:cubicBezTo>
                  <a:pt x="398217" y="0"/>
                  <a:pt x="405736" y="1866"/>
                  <a:pt x="412210" y="5538"/>
                </a:cubicBezTo>
                <a:lnTo>
                  <a:pt x="412210" y="18855"/>
                </a:lnTo>
                <a:cubicBezTo>
                  <a:pt x="405736" y="14437"/>
                  <a:pt x="398217" y="12259"/>
                  <a:pt x="389651" y="12259"/>
                </a:cubicBezTo>
                <a:cubicBezTo>
                  <a:pt x="383476" y="12259"/>
                  <a:pt x="378297" y="13939"/>
                  <a:pt x="374114" y="17361"/>
                </a:cubicBezTo>
                <a:cubicBezTo>
                  <a:pt x="369931" y="20722"/>
                  <a:pt x="366644" y="25327"/>
                  <a:pt x="364253" y="31238"/>
                </a:cubicBezTo>
                <a:cubicBezTo>
                  <a:pt x="361963" y="37026"/>
                  <a:pt x="360568" y="43498"/>
                  <a:pt x="360070" y="50778"/>
                </a:cubicBezTo>
                <a:cubicBezTo>
                  <a:pt x="363357" y="46298"/>
                  <a:pt x="367142" y="42999"/>
                  <a:pt x="371425" y="40759"/>
                </a:cubicBezTo>
                <a:cubicBezTo>
                  <a:pt x="375707" y="38581"/>
                  <a:pt x="380388" y="37523"/>
                  <a:pt x="385468" y="37523"/>
                </a:cubicBezTo>
                <a:cubicBezTo>
                  <a:pt x="391942" y="37523"/>
                  <a:pt x="397719" y="38893"/>
                  <a:pt x="402798" y="41693"/>
                </a:cubicBezTo>
                <a:cubicBezTo>
                  <a:pt x="407977" y="44493"/>
                  <a:pt x="412061" y="48538"/>
                  <a:pt x="415049" y="53952"/>
                </a:cubicBezTo>
                <a:cubicBezTo>
                  <a:pt x="418136" y="59179"/>
                  <a:pt x="419680" y="65713"/>
                  <a:pt x="419680" y="73491"/>
                </a:cubicBezTo>
                <a:close/>
                <a:moveTo>
                  <a:pt x="383675" y="98134"/>
                </a:moveTo>
                <a:cubicBezTo>
                  <a:pt x="387559" y="98134"/>
                  <a:pt x="391145" y="97263"/>
                  <a:pt x="394432" y="95458"/>
                </a:cubicBezTo>
                <a:cubicBezTo>
                  <a:pt x="397719" y="93529"/>
                  <a:pt x="400358" y="90791"/>
                  <a:pt x="402350" y="87244"/>
                </a:cubicBezTo>
                <a:cubicBezTo>
                  <a:pt x="404441" y="83635"/>
                  <a:pt x="405487" y="79154"/>
                  <a:pt x="405487" y="73803"/>
                </a:cubicBezTo>
                <a:cubicBezTo>
                  <a:pt x="405487" y="68389"/>
                  <a:pt x="404491" y="63908"/>
                  <a:pt x="402499" y="60174"/>
                </a:cubicBezTo>
                <a:cubicBezTo>
                  <a:pt x="400507" y="56503"/>
                  <a:pt x="397968" y="53765"/>
                  <a:pt x="394880" y="51961"/>
                </a:cubicBezTo>
                <a:cubicBezTo>
                  <a:pt x="391792" y="50093"/>
                  <a:pt x="388555" y="49160"/>
                  <a:pt x="385169" y="49160"/>
                </a:cubicBezTo>
                <a:cubicBezTo>
                  <a:pt x="378596" y="49160"/>
                  <a:pt x="373068" y="51276"/>
                  <a:pt x="368586" y="55570"/>
                </a:cubicBezTo>
                <a:cubicBezTo>
                  <a:pt x="364204" y="59739"/>
                  <a:pt x="362013" y="65900"/>
                  <a:pt x="362013" y="74114"/>
                </a:cubicBezTo>
                <a:cubicBezTo>
                  <a:pt x="362013" y="81270"/>
                  <a:pt x="363955" y="87058"/>
                  <a:pt x="367839" y="91538"/>
                </a:cubicBezTo>
                <a:cubicBezTo>
                  <a:pt x="371723" y="95956"/>
                  <a:pt x="377002" y="98134"/>
                  <a:pt x="383675" y="98134"/>
                </a:cubicBezTo>
                <a:close/>
                <a:moveTo>
                  <a:pt x="487328" y="108588"/>
                </a:moveTo>
                <a:lnTo>
                  <a:pt x="474181" y="108588"/>
                </a:lnTo>
                <a:lnTo>
                  <a:pt x="474181" y="83199"/>
                </a:lnTo>
                <a:lnTo>
                  <a:pt x="427868" y="83199"/>
                </a:lnTo>
                <a:lnTo>
                  <a:pt x="427868" y="73927"/>
                </a:lnTo>
                <a:lnTo>
                  <a:pt x="469699" y="1493"/>
                </a:lnTo>
                <a:lnTo>
                  <a:pt x="487328" y="1493"/>
                </a:lnTo>
                <a:lnTo>
                  <a:pt x="487328" y="71873"/>
                </a:lnTo>
                <a:lnTo>
                  <a:pt x="501819" y="71873"/>
                </a:lnTo>
                <a:lnTo>
                  <a:pt x="501819" y="83199"/>
                </a:lnTo>
                <a:lnTo>
                  <a:pt x="487328" y="83199"/>
                </a:lnTo>
                <a:lnTo>
                  <a:pt x="487328" y="108588"/>
                </a:lnTo>
                <a:close/>
                <a:moveTo>
                  <a:pt x="441463" y="71873"/>
                </a:moveTo>
                <a:lnTo>
                  <a:pt x="474181" y="71873"/>
                </a:lnTo>
                <a:lnTo>
                  <a:pt x="474181" y="16117"/>
                </a:lnTo>
                <a:lnTo>
                  <a:pt x="441463" y="71873"/>
                </a:lnTo>
                <a:close/>
                <a:moveTo>
                  <a:pt x="518521" y="1493"/>
                </a:moveTo>
                <a:lnTo>
                  <a:pt x="554825" y="1493"/>
                </a:lnTo>
                <a:cubicBezTo>
                  <a:pt x="566577" y="1493"/>
                  <a:pt x="575492" y="3484"/>
                  <a:pt x="581567" y="7467"/>
                </a:cubicBezTo>
                <a:cubicBezTo>
                  <a:pt x="587742" y="11450"/>
                  <a:pt x="590830" y="18170"/>
                  <a:pt x="590830" y="27629"/>
                </a:cubicBezTo>
                <a:cubicBezTo>
                  <a:pt x="590830" y="35283"/>
                  <a:pt x="588888" y="41133"/>
                  <a:pt x="585003" y="45116"/>
                </a:cubicBezTo>
                <a:cubicBezTo>
                  <a:pt x="581119" y="48974"/>
                  <a:pt x="575940" y="51649"/>
                  <a:pt x="569466" y="53018"/>
                </a:cubicBezTo>
                <a:cubicBezTo>
                  <a:pt x="577733" y="54014"/>
                  <a:pt x="584007" y="56441"/>
                  <a:pt x="588290" y="60361"/>
                </a:cubicBezTo>
                <a:cubicBezTo>
                  <a:pt x="592573" y="64157"/>
                  <a:pt x="594714" y="69882"/>
                  <a:pt x="594714" y="77661"/>
                </a:cubicBezTo>
                <a:cubicBezTo>
                  <a:pt x="594714" y="85066"/>
                  <a:pt x="592971" y="91040"/>
                  <a:pt x="589485" y="95583"/>
                </a:cubicBezTo>
                <a:cubicBezTo>
                  <a:pt x="585999" y="100188"/>
                  <a:pt x="581218" y="103486"/>
                  <a:pt x="575143" y="105601"/>
                </a:cubicBezTo>
                <a:cubicBezTo>
                  <a:pt x="569067" y="107592"/>
                  <a:pt x="562195" y="108588"/>
                  <a:pt x="554526" y="108588"/>
                </a:cubicBezTo>
                <a:lnTo>
                  <a:pt x="518521" y="108588"/>
                </a:lnTo>
                <a:lnTo>
                  <a:pt x="518521" y="1493"/>
                </a:lnTo>
                <a:close/>
                <a:moveTo>
                  <a:pt x="553779" y="47231"/>
                </a:moveTo>
                <a:cubicBezTo>
                  <a:pt x="560552" y="47231"/>
                  <a:pt x="566030" y="45738"/>
                  <a:pt x="570213" y="42751"/>
                </a:cubicBezTo>
                <a:cubicBezTo>
                  <a:pt x="574496" y="39639"/>
                  <a:pt x="576637" y="34848"/>
                  <a:pt x="576637" y="28376"/>
                </a:cubicBezTo>
                <a:cubicBezTo>
                  <a:pt x="576637" y="22900"/>
                  <a:pt x="574745" y="19228"/>
                  <a:pt x="570960" y="17361"/>
                </a:cubicBezTo>
                <a:cubicBezTo>
                  <a:pt x="567175" y="15370"/>
                  <a:pt x="561797" y="14374"/>
                  <a:pt x="554825" y="14374"/>
                </a:cubicBezTo>
                <a:lnTo>
                  <a:pt x="532565" y="14374"/>
                </a:lnTo>
                <a:lnTo>
                  <a:pt x="532565" y="47231"/>
                </a:lnTo>
                <a:lnTo>
                  <a:pt x="553779" y="47231"/>
                </a:lnTo>
                <a:close/>
                <a:moveTo>
                  <a:pt x="554526" y="95893"/>
                </a:moveTo>
                <a:cubicBezTo>
                  <a:pt x="562096" y="95893"/>
                  <a:pt x="568221" y="94587"/>
                  <a:pt x="572902" y="92035"/>
                </a:cubicBezTo>
                <a:cubicBezTo>
                  <a:pt x="577583" y="89422"/>
                  <a:pt x="579924" y="84755"/>
                  <a:pt x="579924" y="77972"/>
                </a:cubicBezTo>
                <a:cubicBezTo>
                  <a:pt x="579924" y="71189"/>
                  <a:pt x="577733" y="66522"/>
                  <a:pt x="573350" y="63908"/>
                </a:cubicBezTo>
                <a:cubicBezTo>
                  <a:pt x="569067" y="61233"/>
                  <a:pt x="562245" y="59926"/>
                  <a:pt x="552883" y="59926"/>
                </a:cubicBezTo>
                <a:lnTo>
                  <a:pt x="532565" y="59926"/>
                </a:lnTo>
                <a:lnTo>
                  <a:pt x="532565" y="95893"/>
                </a:lnTo>
                <a:lnTo>
                  <a:pt x="554526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8" name="Полилиния 967">
            <a:extLst>
              <a:ext uri="{FF2B5EF4-FFF2-40B4-BE49-F238E27FC236}">
                <a16:creationId xmlns:a16="http://schemas.microsoft.com/office/drawing/2014/main" id="{25A9EF5D-33B7-49A0-35A3-2A1D8EF57471}"/>
              </a:ext>
            </a:extLst>
          </p:cNvPr>
          <p:cNvSpPr/>
          <p:nvPr userDrawn="1"/>
        </p:nvSpPr>
        <p:spPr>
          <a:xfrm>
            <a:off x="12270615" y="4513847"/>
            <a:ext cx="1398954" cy="726227"/>
          </a:xfrm>
          <a:custGeom>
            <a:avLst/>
            <a:gdLst>
              <a:gd name="connsiteX0" fmla="*/ 0 w 1198727"/>
              <a:gd name="connsiteY0" fmla="*/ 1122 h 622284"/>
              <a:gd name="connsiteX1" fmla="*/ 1198728 w 1198727"/>
              <a:gd name="connsiteY1" fmla="*/ 1122 h 622284"/>
              <a:gd name="connsiteX2" fmla="*/ 1198728 w 1198727"/>
              <a:gd name="connsiteY2" fmla="*/ 623406 h 622284"/>
              <a:gd name="connsiteX3" fmla="*/ 0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122"/>
                </a:moveTo>
                <a:lnTo>
                  <a:pt x="1198728" y="1122"/>
                </a:lnTo>
                <a:lnTo>
                  <a:pt x="1198728" y="623406"/>
                </a:lnTo>
                <a:lnTo>
                  <a:pt x="0" y="623406"/>
                </a:lnTo>
                <a:close/>
              </a:path>
            </a:pathLst>
          </a:custGeom>
          <a:solidFill>
            <a:srgbClr val="006469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9" name="Полилиния 968">
            <a:extLst>
              <a:ext uri="{FF2B5EF4-FFF2-40B4-BE49-F238E27FC236}">
                <a16:creationId xmlns:a16="http://schemas.microsoft.com/office/drawing/2014/main" id="{A4BC5B49-6451-488E-4A68-440356AB9477}"/>
              </a:ext>
            </a:extLst>
          </p:cNvPr>
          <p:cNvSpPr/>
          <p:nvPr userDrawn="1"/>
        </p:nvSpPr>
        <p:spPr>
          <a:xfrm>
            <a:off x="12393824" y="4815595"/>
            <a:ext cx="681497" cy="128468"/>
          </a:xfrm>
          <a:custGeom>
            <a:avLst/>
            <a:gdLst>
              <a:gd name="connsiteX0" fmla="*/ 22111 w 583957"/>
              <a:gd name="connsiteY0" fmla="*/ 108588 h 110081"/>
              <a:gd name="connsiteX1" fmla="*/ 10159 w 583957"/>
              <a:gd name="connsiteY1" fmla="*/ 108588 h 110081"/>
              <a:gd name="connsiteX2" fmla="*/ 16434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02 w 583957"/>
              <a:gd name="connsiteY6" fmla="*/ 40012 h 110081"/>
              <a:gd name="connsiteX7" fmla="*/ 4034 w 583957"/>
              <a:gd name="connsiteY7" fmla="*/ 40012 h 110081"/>
              <a:gd name="connsiteX8" fmla="*/ 4034 w 583957"/>
              <a:gd name="connsiteY8" fmla="*/ 29559 h 110081"/>
              <a:gd name="connsiteX9" fmla="*/ 26294 w 583957"/>
              <a:gd name="connsiteY9" fmla="*/ 29559 h 110081"/>
              <a:gd name="connsiteX10" fmla="*/ 32120 w 583957"/>
              <a:gd name="connsiteY10" fmla="*/ 1493 h 110081"/>
              <a:gd name="connsiteX11" fmla="*/ 44072 w 583957"/>
              <a:gd name="connsiteY11" fmla="*/ 1493 h 110081"/>
              <a:gd name="connsiteX12" fmla="*/ 38246 w 583957"/>
              <a:gd name="connsiteY12" fmla="*/ 29559 h 110081"/>
              <a:gd name="connsiteX13" fmla="*/ 60655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607 w 583957"/>
              <a:gd name="connsiteY16" fmla="*/ 29559 h 110081"/>
              <a:gd name="connsiteX17" fmla="*/ 89340 w 583957"/>
              <a:gd name="connsiteY17" fmla="*/ 29559 h 110081"/>
              <a:gd name="connsiteX18" fmla="*/ 89340 w 583957"/>
              <a:gd name="connsiteY18" fmla="*/ 40012 h 110081"/>
              <a:gd name="connsiteX19" fmla="*/ 70516 w 583957"/>
              <a:gd name="connsiteY19" fmla="*/ 40012 h 110081"/>
              <a:gd name="connsiteX20" fmla="*/ 64988 w 583957"/>
              <a:gd name="connsiteY20" fmla="*/ 67206 h 110081"/>
              <a:gd name="connsiteX21" fmla="*/ 85306 w 583957"/>
              <a:gd name="connsiteY21" fmla="*/ 67206 h 110081"/>
              <a:gd name="connsiteX22" fmla="*/ 85306 w 583957"/>
              <a:gd name="connsiteY22" fmla="*/ 77661 h 110081"/>
              <a:gd name="connsiteX23" fmla="*/ 62747 w 583957"/>
              <a:gd name="connsiteY23" fmla="*/ 77661 h 110081"/>
              <a:gd name="connsiteX24" fmla="*/ 56472 w 583957"/>
              <a:gd name="connsiteY24" fmla="*/ 108588 h 110081"/>
              <a:gd name="connsiteX25" fmla="*/ 44520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111 w 583957"/>
              <a:gd name="connsiteY28" fmla="*/ 108588 h 110081"/>
              <a:gd name="connsiteX29" fmla="*/ 30626 w 583957"/>
              <a:gd name="connsiteY29" fmla="*/ 67206 h 110081"/>
              <a:gd name="connsiteX30" fmla="*/ 53036 w 583957"/>
              <a:gd name="connsiteY30" fmla="*/ 67206 h 110081"/>
              <a:gd name="connsiteX31" fmla="*/ 58564 w 583957"/>
              <a:gd name="connsiteY31" fmla="*/ 40012 h 110081"/>
              <a:gd name="connsiteX32" fmla="*/ 36154 w 583957"/>
              <a:gd name="connsiteY32" fmla="*/ 40012 h 110081"/>
              <a:gd name="connsiteX33" fmla="*/ 30626 w 583957"/>
              <a:gd name="connsiteY33" fmla="*/ 67206 h 110081"/>
              <a:gd name="connsiteX34" fmla="*/ 136659 w 583957"/>
              <a:gd name="connsiteY34" fmla="*/ 110082 h 110081"/>
              <a:gd name="connsiteX35" fmla="*/ 118432 w 583957"/>
              <a:gd name="connsiteY35" fmla="*/ 104233 h 110081"/>
              <a:gd name="connsiteX36" fmla="*/ 105734 w 583957"/>
              <a:gd name="connsiteY36" fmla="*/ 86311 h 110081"/>
              <a:gd name="connsiteX37" fmla="*/ 101252 w 583957"/>
              <a:gd name="connsiteY37" fmla="*/ 54947 h 110081"/>
              <a:gd name="connsiteX38" fmla="*/ 105734 w 583957"/>
              <a:gd name="connsiteY38" fmla="*/ 23584 h 110081"/>
              <a:gd name="connsiteX39" fmla="*/ 118432 w 583957"/>
              <a:gd name="connsiteY39" fmla="*/ 5849 h 110081"/>
              <a:gd name="connsiteX40" fmla="*/ 136659 w 583957"/>
              <a:gd name="connsiteY40" fmla="*/ 186 h 110081"/>
              <a:gd name="connsiteX41" fmla="*/ 154736 w 583957"/>
              <a:gd name="connsiteY41" fmla="*/ 5849 h 110081"/>
              <a:gd name="connsiteX42" fmla="*/ 167136 w 583957"/>
              <a:gd name="connsiteY42" fmla="*/ 23584 h 110081"/>
              <a:gd name="connsiteX43" fmla="*/ 171618 w 583957"/>
              <a:gd name="connsiteY43" fmla="*/ 54698 h 110081"/>
              <a:gd name="connsiteX44" fmla="*/ 167136 w 583957"/>
              <a:gd name="connsiteY44" fmla="*/ 86062 h 110081"/>
              <a:gd name="connsiteX45" fmla="*/ 154736 w 583957"/>
              <a:gd name="connsiteY45" fmla="*/ 104233 h 110081"/>
              <a:gd name="connsiteX46" fmla="*/ 136659 w 583957"/>
              <a:gd name="connsiteY46" fmla="*/ 110082 h 110081"/>
              <a:gd name="connsiteX47" fmla="*/ 136509 w 583957"/>
              <a:gd name="connsiteY47" fmla="*/ 98258 h 110081"/>
              <a:gd name="connsiteX48" fmla="*/ 147864 w 583957"/>
              <a:gd name="connsiteY48" fmla="*/ 94275 h 110081"/>
              <a:gd name="connsiteX49" fmla="*/ 155035 w 583957"/>
              <a:gd name="connsiteY49" fmla="*/ 80648 h 110081"/>
              <a:gd name="connsiteX50" fmla="*/ 157575 w 583957"/>
              <a:gd name="connsiteY50" fmla="*/ 55134 h 110081"/>
              <a:gd name="connsiteX51" fmla="*/ 155184 w 583957"/>
              <a:gd name="connsiteY51" fmla="*/ 29745 h 110081"/>
              <a:gd name="connsiteX52" fmla="*/ 148013 w 583957"/>
              <a:gd name="connsiteY52" fmla="*/ 16117 h 110081"/>
              <a:gd name="connsiteX53" fmla="*/ 136659 w 583957"/>
              <a:gd name="connsiteY53" fmla="*/ 11947 h 110081"/>
              <a:gd name="connsiteX54" fmla="*/ 125155 w 583957"/>
              <a:gd name="connsiteY54" fmla="*/ 16117 h 110081"/>
              <a:gd name="connsiteX55" fmla="*/ 117835 w 583957"/>
              <a:gd name="connsiteY55" fmla="*/ 29745 h 110081"/>
              <a:gd name="connsiteX56" fmla="*/ 115295 w 583957"/>
              <a:gd name="connsiteY56" fmla="*/ 55134 h 110081"/>
              <a:gd name="connsiteX57" fmla="*/ 117685 w 583957"/>
              <a:gd name="connsiteY57" fmla="*/ 80648 h 110081"/>
              <a:gd name="connsiteX58" fmla="*/ 125006 w 583957"/>
              <a:gd name="connsiteY58" fmla="*/ 94275 h 110081"/>
              <a:gd name="connsiteX59" fmla="*/ 136509 w 583957"/>
              <a:gd name="connsiteY59" fmla="*/ 98258 h 110081"/>
              <a:gd name="connsiteX60" fmla="*/ 218798 w 583957"/>
              <a:gd name="connsiteY60" fmla="*/ 110082 h 110081"/>
              <a:gd name="connsiteX61" fmla="*/ 200572 w 583957"/>
              <a:gd name="connsiteY61" fmla="*/ 104233 h 110081"/>
              <a:gd name="connsiteX62" fmla="*/ 187873 w 583957"/>
              <a:gd name="connsiteY62" fmla="*/ 86311 h 110081"/>
              <a:gd name="connsiteX63" fmla="*/ 183391 w 583957"/>
              <a:gd name="connsiteY63" fmla="*/ 54947 h 110081"/>
              <a:gd name="connsiteX64" fmla="*/ 187873 w 583957"/>
              <a:gd name="connsiteY64" fmla="*/ 23584 h 110081"/>
              <a:gd name="connsiteX65" fmla="*/ 200572 w 583957"/>
              <a:gd name="connsiteY65" fmla="*/ 5849 h 110081"/>
              <a:gd name="connsiteX66" fmla="*/ 218798 w 583957"/>
              <a:gd name="connsiteY66" fmla="*/ 186 h 110081"/>
              <a:gd name="connsiteX67" fmla="*/ 236875 w 583957"/>
              <a:gd name="connsiteY67" fmla="*/ 5849 h 110081"/>
              <a:gd name="connsiteX68" fmla="*/ 249275 w 583957"/>
              <a:gd name="connsiteY68" fmla="*/ 23584 h 110081"/>
              <a:gd name="connsiteX69" fmla="*/ 253757 w 583957"/>
              <a:gd name="connsiteY69" fmla="*/ 54698 h 110081"/>
              <a:gd name="connsiteX70" fmla="*/ 249275 w 583957"/>
              <a:gd name="connsiteY70" fmla="*/ 86062 h 110081"/>
              <a:gd name="connsiteX71" fmla="*/ 236875 w 583957"/>
              <a:gd name="connsiteY71" fmla="*/ 104233 h 110081"/>
              <a:gd name="connsiteX72" fmla="*/ 218798 w 583957"/>
              <a:gd name="connsiteY72" fmla="*/ 110082 h 110081"/>
              <a:gd name="connsiteX73" fmla="*/ 218649 w 583957"/>
              <a:gd name="connsiteY73" fmla="*/ 98258 h 110081"/>
              <a:gd name="connsiteX74" fmla="*/ 230003 w 583957"/>
              <a:gd name="connsiteY74" fmla="*/ 94275 h 110081"/>
              <a:gd name="connsiteX75" fmla="*/ 237174 w 583957"/>
              <a:gd name="connsiteY75" fmla="*/ 80648 h 110081"/>
              <a:gd name="connsiteX76" fmla="*/ 239714 w 583957"/>
              <a:gd name="connsiteY76" fmla="*/ 55134 h 110081"/>
              <a:gd name="connsiteX77" fmla="*/ 237324 w 583957"/>
              <a:gd name="connsiteY77" fmla="*/ 29745 h 110081"/>
              <a:gd name="connsiteX78" fmla="*/ 230152 w 583957"/>
              <a:gd name="connsiteY78" fmla="*/ 16117 h 110081"/>
              <a:gd name="connsiteX79" fmla="*/ 218798 w 583957"/>
              <a:gd name="connsiteY79" fmla="*/ 11947 h 110081"/>
              <a:gd name="connsiteX80" fmla="*/ 207295 w 583957"/>
              <a:gd name="connsiteY80" fmla="*/ 16117 h 110081"/>
              <a:gd name="connsiteX81" fmla="*/ 199974 w 583957"/>
              <a:gd name="connsiteY81" fmla="*/ 29745 h 110081"/>
              <a:gd name="connsiteX82" fmla="*/ 197434 w 583957"/>
              <a:gd name="connsiteY82" fmla="*/ 55134 h 110081"/>
              <a:gd name="connsiteX83" fmla="*/ 199825 w 583957"/>
              <a:gd name="connsiteY83" fmla="*/ 80648 h 110081"/>
              <a:gd name="connsiteX84" fmla="*/ 207145 w 583957"/>
              <a:gd name="connsiteY84" fmla="*/ 94275 h 110081"/>
              <a:gd name="connsiteX85" fmla="*/ 218649 w 583957"/>
              <a:gd name="connsiteY85" fmla="*/ 98258 h 110081"/>
              <a:gd name="connsiteX86" fmla="*/ 337541 w 583957"/>
              <a:gd name="connsiteY86" fmla="*/ 73491 h 110081"/>
              <a:gd name="connsiteX87" fmla="*/ 332760 w 583957"/>
              <a:gd name="connsiteY87" fmla="*/ 92782 h 110081"/>
              <a:gd name="connsiteX88" fmla="*/ 320061 w 583957"/>
              <a:gd name="connsiteY88" fmla="*/ 105601 h 110081"/>
              <a:gd name="connsiteX89" fmla="*/ 301984 w 583957"/>
              <a:gd name="connsiteY89" fmla="*/ 110082 h 110081"/>
              <a:gd name="connsiteX90" fmla="*/ 280321 w 583957"/>
              <a:gd name="connsiteY90" fmla="*/ 104108 h 110081"/>
              <a:gd name="connsiteX91" fmla="*/ 268220 w 583957"/>
              <a:gd name="connsiteY91" fmla="*/ 87555 h 110081"/>
              <a:gd name="connsiteX92" fmla="*/ 264485 w 583957"/>
              <a:gd name="connsiteY92" fmla="*/ 63161 h 110081"/>
              <a:gd name="connsiteX93" fmla="*/ 268967 w 583957"/>
              <a:gd name="connsiteY93" fmla="*/ 30181 h 110081"/>
              <a:gd name="connsiteX94" fmla="*/ 283011 w 583957"/>
              <a:gd name="connsiteY94" fmla="*/ 8089 h 110081"/>
              <a:gd name="connsiteX95" fmla="*/ 307512 w 583957"/>
              <a:gd name="connsiteY95" fmla="*/ 0 h 110081"/>
              <a:gd name="connsiteX96" fmla="*/ 330071 w 583957"/>
              <a:gd name="connsiteY96" fmla="*/ 5538 h 110081"/>
              <a:gd name="connsiteX97" fmla="*/ 330071 w 583957"/>
              <a:gd name="connsiteY97" fmla="*/ 18855 h 110081"/>
              <a:gd name="connsiteX98" fmla="*/ 307512 w 583957"/>
              <a:gd name="connsiteY98" fmla="*/ 12259 h 110081"/>
              <a:gd name="connsiteX99" fmla="*/ 291974 w 583957"/>
              <a:gd name="connsiteY99" fmla="*/ 17361 h 110081"/>
              <a:gd name="connsiteX100" fmla="*/ 282114 w 583957"/>
              <a:gd name="connsiteY100" fmla="*/ 31238 h 110081"/>
              <a:gd name="connsiteX101" fmla="*/ 277931 w 583957"/>
              <a:gd name="connsiteY101" fmla="*/ 50778 h 110081"/>
              <a:gd name="connsiteX102" fmla="*/ 289285 w 583957"/>
              <a:gd name="connsiteY102" fmla="*/ 40759 h 110081"/>
              <a:gd name="connsiteX103" fmla="*/ 303329 w 583957"/>
              <a:gd name="connsiteY103" fmla="*/ 37523 h 110081"/>
              <a:gd name="connsiteX104" fmla="*/ 320659 w 583957"/>
              <a:gd name="connsiteY104" fmla="*/ 41693 h 110081"/>
              <a:gd name="connsiteX105" fmla="*/ 332909 w 583957"/>
              <a:gd name="connsiteY105" fmla="*/ 53952 h 110081"/>
              <a:gd name="connsiteX106" fmla="*/ 337541 w 583957"/>
              <a:gd name="connsiteY106" fmla="*/ 73491 h 110081"/>
              <a:gd name="connsiteX107" fmla="*/ 301536 w 583957"/>
              <a:gd name="connsiteY107" fmla="*/ 98134 h 110081"/>
              <a:gd name="connsiteX108" fmla="*/ 312292 w 583957"/>
              <a:gd name="connsiteY108" fmla="*/ 95458 h 110081"/>
              <a:gd name="connsiteX109" fmla="*/ 320210 w 583957"/>
              <a:gd name="connsiteY109" fmla="*/ 87244 h 110081"/>
              <a:gd name="connsiteX110" fmla="*/ 323348 w 583957"/>
              <a:gd name="connsiteY110" fmla="*/ 73803 h 110081"/>
              <a:gd name="connsiteX111" fmla="*/ 320360 w 583957"/>
              <a:gd name="connsiteY111" fmla="*/ 60174 h 110081"/>
              <a:gd name="connsiteX112" fmla="*/ 312741 w 583957"/>
              <a:gd name="connsiteY112" fmla="*/ 51961 h 110081"/>
              <a:gd name="connsiteX113" fmla="*/ 303030 w 583957"/>
              <a:gd name="connsiteY113" fmla="*/ 49160 h 110081"/>
              <a:gd name="connsiteX114" fmla="*/ 286447 w 583957"/>
              <a:gd name="connsiteY114" fmla="*/ 55570 h 110081"/>
              <a:gd name="connsiteX115" fmla="*/ 279873 w 583957"/>
              <a:gd name="connsiteY115" fmla="*/ 74114 h 110081"/>
              <a:gd name="connsiteX116" fmla="*/ 285700 w 583957"/>
              <a:gd name="connsiteY116" fmla="*/ 91538 h 110081"/>
              <a:gd name="connsiteX117" fmla="*/ 301536 w 583957"/>
              <a:gd name="connsiteY117" fmla="*/ 98134 h 110081"/>
              <a:gd name="connsiteX118" fmla="*/ 405188 w 583957"/>
              <a:gd name="connsiteY118" fmla="*/ 108588 h 110081"/>
              <a:gd name="connsiteX119" fmla="*/ 392041 w 583957"/>
              <a:gd name="connsiteY119" fmla="*/ 108588 h 110081"/>
              <a:gd name="connsiteX120" fmla="*/ 392041 w 583957"/>
              <a:gd name="connsiteY120" fmla="*/ 83199 h 110081"/>
              <a:gd name="connsiteX121" fmla="*/ 345728 w 583957"/>
              <a:gd name="connsiteY121" fmla="*/ 83199 h 110081"/>
              <a:gd name="connsiteX122" fmla="*/ 345728 w 583957"/>
              <a:gd name="connsiteY122" fmla="*/ 73927 h 110081"/>
              <a:gd name="connsiteX123" fmla="*/ 387559 w 583957"/>
              <a:gd name="connsiteY123" fmla="*/ 1493 h 110081"/>
              <a:gd name="connsiteX124" fmla="*/ 405188 w 583957"/>
              <a:gd name="connsiteY124" fmla="*/ 1493 h 110081"/>
              <a:gd name="connsiteX125" fmla="*/ 405188 w 583957"/>
              <a:gd name="connsiteY125" fmla="*/ 71873 h 110081"/>
              <a:gd name="connsiteX126" fmla="*/ 419680 w 583957"/>
              <a:gd name="connsiteY126" fmla="*/ 71873 h 110081"/>
              <a:gd name="connsiteX127" fmla="*/ 419680 w 583957"/>
              <a:gd name="connsiteY127" fmla="*/ 83199 h 110081"/>
              <a:gd name="connsiteX128" fmla="*/ 405188 w 583957"/>
              <a:gd name="connsiteY128" fmla="*/ 83199 h 110081"/>
              <a:gd name="connsiteX129" fmla="*/ 405188 w 583957"/>
              <a:gd name="connsiteY129" fmla="*/ 108588 h 110081"/>
              <a:gd name="connsiteX130" fmla="*/ 359323 w 583957"/>
              <a:gd name="connsiteY130" fmla="*/ 71873 h 110081"/>
              <a:gd name="connsiteX131" fmla="*/ 392041 w 583957"/>
              <a:gd name="connsiteY131" fmla="*/ 71873 h 110081"/>
              <a:gd name="connsiteX132" fmla="*/ 392041 w 583957"/>
              <a:gd name="connsiteY132" fmla="*/ 16117 h 110081"/>
              <a:gd name="connsiteX133" fmla="*/ 359323 w 583957"/>
              <a:gd name="connsiteY133" fmla="*/ 71873 h 110081"/>
              <a:gd name="connsiteX134" fmla="*/ 501819 w 583957"/>
              <a:gd name="connsiteY134" fmla="*/ 73491 h 110081"/>
              <a:gd name="connsiteX135" fmla="*/ 497039 w 583957"/>
              <a:gd name="connsiteY135" fmla="*/ 92782 h 110081"/>
              <a:gd name="connsiteX136" fmla="*/ 484340 w 583957"/>
              <a:gd name="connsiteY136" fmla="*/ 105601 h 110081"/>
              <a:gd name="connsiteX137" fmla="*/ 466263 w 583957"/>
              <a:gd name="connsiteY137" fmla="*/ 110082 h 110081"/>
              <a:gd name="connsiteX138" fmla="*/ 444600 w 583957"/>
              <a:gd name="connsiteY138" fmla="*/ 104108 h 110081"/>
              <a:gd name="connsiteX139" fmla="*/ 432499 w 583957"/>
              <a:gd name="connsiteY139" fmla="*/ 87555 h 110081"/>
              <a:gd name="connsiteX140" fmla="*/ 428764 w 583957"/>
              <a:gd name="connsiteY140" fmla="*/ 63161 h 110081"/>
              <a:gd name="connsiteX141" fmla="*/ 433246 w 583957"/>
              <a:gd name="connsiteY141" fmla="*/ 30181 h 110081"/>
              <a:gd name="connsiteX142" fmla="*/ 447289 w 583957"/>
              <a:gd name="connsiteY142" fmla="*/ 8089 h 110081"/>
              <a:gd name="connsiteX143" fmla="*/ 471790 w 583957"/>
              <a:gd name="connsiteY143" fmla="*/ 0 h 110081"/>
              <a:gd name="connsiteX144" fmla="*/ 494349 w 583957"/>
              <a:gd name="connsiteY144" fmla="*/ 5538 h 110081"/>
              <a:gd name="connsiteX145" fmla="*/ 494349 w 583957"/>
              <a:gd name="connsiteY145" fmla="*/ 18855 h 110081"/>
              <a:gd name="connsiteX146" fmla="*/ 471790 w 583957"/>
              <a:gd name="connsiteY146" fmla="*/ 12259 h 110081"/>
              <a:gd name="connsiteX147" fmla="*/ 456253 w 583957"/>
              <a:gd name="connsiteY147" fmla="*/ 17361 h 110081"/>
              <a:gd name="connsiteX148" fmla="*/ 446393 w 583957"/>
              <a:gd name="connsiteY148" fmla="*/ 31238 h 110081"/>
              <a:gd name="connsiteX149" fmla="*/ 442210 w 583957"/>
              <a:gd name="connsiteY149" fmla="*/ 50778 h 110081"/>
              <a:gd name="connsiteX150" fmla="*/ 453564 w 583957"/>
              <a:gd name="connsiteY150" fmla="*/ 40759 h 110081"/>
              <a:gd name="connsiteX151" fmla="*/ 467607 w 583957"/>
              <a:gd name="connsiteY151" fmla="*/ 37523 h 110081"/>
              <a:gd name="connsiteX152" fmla="*/ 484937 w 583957"/>
              <a:gd name="connsiteY152" fmla="*/ 41693 h 110081"/>
              <a:gd name="connsiteX153" fmla="*/ 497188 w 583957"/>
              <a:gd name="connsiteY153" fmla="*/ 53952 h 110081"/>
              <a:gd name="connsiteX154" fmla="*/ 501819 w 583957"/>
              <a:gd name="connsiteY154" fmla="*/ 73491 h 110081"/>
              <a:gd name="connsiteX155" fmla="*/ 465815 w 583957"/>
              <a:gd name="connsiteY155" fmla="*/ 98134 h 110081"/>
              <a:gd name="connsiteX156" fmla="*/ 476571 w 583957"/>
              <a:gd name="connsiteY156" fmla="*/ 95458 h 110081"/>
              <a:gd name="connsiteX157" fmla="*/ 484489 w 583957"/>
              <a:gd name="connsiteY157" fmla="*/ 87244 h 110081"/>
              <a:gd name="connsiteX158" fmla="*/ 487627 w 583957"/>
              <a:gd name="connsiteY158" fmla="*/ 73803 h 110081"/>
              <a:gd name="connsiteX159" fmla="*/ 484639 w 583957"/>
              <a:gd name="connsiteY159" fmla="*/ 60174 h 110081"/>
              <a:gd name="connsiteX160" fmla="*/ 477019 w 583957"/>
              <a:gd name="connsiteY160" fmla="*/ 51961 h 110081"/>
              <a:gd name="connsiteX161" fmla="*/ 467308 w 583957"/>
              <a:gd name="connsiteY161" fmla="*/ 49160 h 110081"/>
              <a:gd name="connsiteX162" fmla="*/ 450725 w 583957"/>
              <a:gd name="connsiteY162" fmla="*/ 55570 h 110081"/>
              <a:gd name="connsiteX163" fmla="*/ 444152 w 583957"/>
              <a:gd name="connsiteY163" fmla="*/ 74114 h 110081"/>
              <a:gd name="connsiteX164" fmla="*/ 449978 w 583957"/>
              <a:gd name="connsiteY164" fmla="*/ 91538 h 110081"/>
              <a:gd name="connsiteX165" fmla="*/ 465815 w 583957"/>
              <a:gd name="connsiteY165" fmla="*/ 98134 h 110081"/>
              <a:gd name="connsiteX166" fmla="*/ 510903 w 583957"/>
              <a:gd name="connsiteY166" fmla="*/ 35844 h 110081"/>
              <a:gd name="connsiteX167" fmla="*/ 515535 w 583957"/>
              <a:gd name="connsiteY167" fmla="*/ 17051 h 110081"/>
              <a:gd name="connsiteX168" fmla="*/ 528382 w 583957"/>
              <a:gd name="connsiteY168" fmla="*/ 4480 h 110081"/>
              <a:gd name="connsiteX169" fmla="*/ 546459 w 583957"/>
              <a:gd name="connsiteY169" fmla="*/ 0 h 110081"/>
              <a:gd name="connsiteX170" fmla="*/ 568121 w 583957"/>
              <a:gd name="connsiteY170" fmla="*/ 5849 h 110081"/>
              <a:gd name="connsiteX171" fmla="*/ 580222 w 583957"/>
              <a:gd name="connsiteY171" fmla="*/ 21842 h 110081"/>
              <a:gd name="connsiteX172" fmla="*/ 583957 w 583957"/>
              <a:gd name="connsiteY172" fmla="*/ 45426 h 110081"/>
              <a:gd name="connsiteX173" fmla="*/ 579326 w 583957"/>
              <a:gd name="connsiteY173" fmla="*/ 80088 h 110081"/>
              <a:gd name="connsiteX174" fmla="*/ 564984 w 583957"/>
              <a:gd name="connsiteY174" fmla="*/ 102303 h 110081"/>
              <a:gd name="connsiteX175" fmla="*/ 540483 w 583957"/>
              <a:gd name="connsiteY175" fmla="*/ 110082 h 110081"/>
              <a:gd name="connsiteX176" fmla="*/ 517476 w 583957"/>
              <a:gd name="connsiteY176" fmla="*/ 104543 h 110081"/>
              <a:gd name="connsiteX177" fmla="*/ 517476 w 583957"/>
              <a:gd name="connsiteY177" fmla="*/ 91413 h 110081"/>
              <a:gd name="connsiteX178" fmla="*/ 540483 w 583957"/>
              <a:gd name="connsiteY178" fmla="*/ 98010 h 110081"/>
              <a:gd name="connsiteX179" fmla="*/ 556020 w 583957"/>
              <a:gd name="connsiteY179" fmla="*/ 92907 h 110081"/>
              <a:gd name="connsiteX180" fmla="*/ 565731 w 583957"/>
              <a:gd name="connsiteY180" fmla="*/ 79154 h 110081"/>
              <a:gd name="connsiteX181" fmla="*/ 570063 w 583957"/>
              <a:gd name="connsiteY181" fmla="*/ 59739 h 110081"/>
              <a:gd name="connsiteX182" fmla="*/ 559008 w 583957"/>
              <a:gd name="connsiteY182" fmla="*/ 68389 h 110081"/>
              <a:gd name="connsiteX183" fmla="*/ 545114 w 583957"/>
              <a:gd name="connsiteY183" fmla="*/ 71127 h 110081"/>
              <a:gd name="connsiteX184" fmla="*/ 527784 w 583957"/>
              <a:gd name="connsiteY184" fmla="*/ 67082 h 110081"/>
              <a:gd name="connsiteX185" fmla="*/ 515385 w 583957"/>
              <a:gd name="connsiteY185" fmla="*/ 55134 h 110081"/>
              <a:gd name="connsiteX186" fmla="*/ 510903 w 583957"/>
              <a:gd name="connsiteY186" fmla="*/ 35844 h 110081"/>
              <a:gd name="connsiteX187" fmla="*/ 546907 w 583957"/>
              <a:gd name="connsiteY187" fmla="*/ 12134 h 110081"/>
              <a:gd name="connsiteX188" fmla="*/ 536150 w 583957"/>
              <a:gd name="connsiteY188" fmla="*/ 14810 h 110081"/>
              <a:gd name="connsiteX189" fmla="*/ 528083 w 583957"/>
              <a:gd name="connsiteY189" fmla="*/ 22589 h 110081"/>
              <a:gd name="connsiteX190" fmla="*/ 525095 w 583957"/>
              <a:gd name="connsiteY190" fmla="*/ 35532 h 110081"/>
              <a:gd name="connsiteX191" fmla="*/ 528083 w 583957"/>
              <a:gd name="connsiteY191" fmla="*/ 48725 h 110081"/>
              <a:gd name="connsiteX192" fmla="*/ 535702 w 583957"/>
              <a:gd name="connsiteY192" fmla="*/ 56752 h 110081"/>
              <a:gd name="connsiteX193" fmla="*/ 545413 w 583957"/>
              <a:gd name="connsiteY193" fmla="*/ 59428 h 110081"/>
              <a:gd name="connsiteX194" fmla="*/ 561847 w 583957"/>
              <a:gd name="connsiteY194" fmla="*/ 53329 h 110081"/>
              <a:gd name="connsiteX195" fmla="*/ 568569 w 583957"/>
              <a:gd name="connsiteY195" fmla="*/ 35283 h 110081"/>
              <a:gd name="connsiteX196" fmla="*/ 562743 w 583957"/>
              <a:gd name="connsiteY196" fmla="*/ 18544 h 110081"/>
              <a:gd name="connsiteX197" fmla="*/ 546907 w 583957"/>
              <a:gd name="connsiteY197" fmla="*/ 12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58395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337541" y="73491"/>
                </a:moveTo>
                <a:cubicBezTo>
                  <a:pt x="337541" y="80772"/>
                  <a:pt x="335947" y="87182"/>
                  <a:pt x="332760" y="92782"/>
                </a:cubicBezTo>
                <a:cubicBezTo>
                  <a:pt x="329672" y="98258"/>
                  <a:pt x="325439" y="102490"/>
                  <a:pt x="320061" y="105601"/>
                </a:cubicBezTo>
                <a:cubicBezTo>
                  <a:pt x="314683" y="108588"/>
                  <a:pt x="308657" y="110082"/>
                  <a:pt x="301984" y="110082"/>
                </a:cubicBezTo>
                <a:cubicBezTo>
                  <a:pt x="293020" y="110082"/>
                  <a:pt x="285799" y="108091"/>
                  <a:pt x="280321" y="104108"/>
                </a:cubicBezTo>
                <a:cubicBezTo>
                  <a:pt x="274843" y="100125"/>
                  <a:pt x="270810" y="94587"/>
                  <a:pt x="268220" y="87555"/>
                </a:cubicBezTo>
                <a:cubicBezTo>
                  <a:pt x="265730" y="80461"/>
                  <a:pt x="264485" y="72372"/>
                  <a:pt x="264485" y="63161"/>
                </a:cubicBezTo>
                <a:cubicBezTo>
                  <a:pt x="264485" y="50653"/>
                  <a:pt x="265979" y="39639"/>
                  <a:pt x="268967" y="30181"/>
                </a:cubicBezTo>
                <a:cubicBezTo>
                  <a:pt x="272055" y="20722"/>
                  <a:pt x="276736" y="13379"/>
                  <a:pt x="283011" y="8089"/>
                </a:cubicBezTo>
                <a:cubicBezTo>
                  <a:pt x="289385" y="2675"/>
                  <a:pt x="297552" y="0"/>
                  <a:pt x="307512" y="0"/>
                </a:cubicBezTo>
                <a:cubicBezTo>
                  <a:pt x="316077" y="0"/>
                  <a:pt x="323597" y="1866"/>
                  <a:pt x="330071" y="5538"/>
                </a:cubicBezTo>
                <a:lnTo>
                  <a:pt x="330071" y="18855"/>
                </a:lnTo>
                <a:cubicBezTo>
                  <a:pt x="323597" y="14437"/>
                  <a:pt x="316077" y="12259"/>
                  <a:pt x="307512" y="12259"/>
                </a:cubicBezTo>
                <a:cubicBezTo>
                  <a:pt x="301337" y="12259"/>
                  <a:pt x="296157" y="13939"/>
                  <a:pt x="291974" y="17361"/>
                </a:cubicBezTo>
                <a:cubicBezTo>
                  <a:pt x="287791" y="20722"/>
                  <a:pt x="284504" y="25327"/>
                  <a:pt x="282114" y="31238"/>
                </a:cubicBezTo>
                <a:cubicBezTo>
                  <a:pt x="279823" y="37026"/>
                  <a:pt x="278429" y="43498"/>
                  <a:pt x="277931" y="50778"/>
                </a:cubicBezTo>
                <a:cubicBezTo>
                  <a:pt x="281218" y="46298"/>
                  <a:pt x="285002" y="42999"/>
                  <a:pt x="289285" y="40759"/>
                </a:cubicBezTo>
                <a:cubicBezTo>
                  <a:pt x="293568" y="38581"/>
                  <a:pt x="298249" y="37523"/>
                  <a:pt x="303329" y="37523"/>
                </a:cubicBezTo>
                <a:cubicBezTo>
                  <a:pt x="309802" y="37523"/>
                  <a:pt x="315579" y="38893"/>
                  <a:pt x="320659" y="41693"/>
                </a:cubicBezTo>
                <a:cubicBezTo>
                  <a:pt x="325838" y="44493"/>
                  <a:pt x="329921" y="48538"/>
                  <a:pt x="332909" y="53952"/>
                </a:cubicBezTo>
                <a:cubicBezTo>
                  <a:pt x="335997" y="59179"/>
                  <a:pt x="337541" y="65713"/>
                  <a:pt x="337541" y="73491"/>
                </a:cubicBezTo>
                <a:close/>
                <a:moveTo>
                  <a:pt x="301536" y="98134"/>
                </a:moveTo>
                <a:cubicBezTo>
                  <a:pt x="305420" y="98134"/>
                  <a:pt x="309006" y="97263"/>
                  <a:pt x="312292" y="95458"/>
                </a:cubicBezTo>
                <a:cubicBezTo>
                  <a:pt x="315579" y="93529"/>
                  <a:pt x="318219" y="90791"/>
                  <a:pt x="320210" y="87244"/>
                </a:cubicBezTo>
                <a:cubicBezTo>
                  <a:pt x="322302" y="83635"/>
                  <a:pt x="323348" y="79154"/>
                  <a:pt x="323348" y="73803"/>
                </a:cubicBezTo>
                <a:cubicBezTo>
                  <a:pt x="323348" y="68389"/>
                  <a:pt x="322352" y="63908"/>
                  <a:pt x="320360" y="60174"/>
                </a:cubicBezTo>
                <a:cubicBezTo>
                  <a:pt x="318368" y="56503"/>
                  <a:pt x="315828" y="53765"/>
                  <a:pt x="312741" y="51961"/>
                </a:cubicBezTo>
                <a:cubicBezTo>
                  <a:pt x="309653" y="50093"/>
                  <a:pt x="306416" y="49160"/>
                  <a:pt x="303030" y="49160"/>
                </a:cubicBezTo>
                <a:cubicBezTo>
                  <a:pt x="296456" y="49160"/>
                  <a:pt x="290929" y="51276"/>
                  <a:pt x="286447" y="55570"/>
                </a:cubicBezTo>
                <a:cubicBezTo>
                  <a:pt x="282064" y="59739"/>
                  <a:pt x="279873" y="65900"/>
                  <a:pt x="279873" y="74114"/>
                </a:cubicBezTo>
                <a:cubicBezTo>
                  <a:pt x="279873" y="81270"/>
                  <a:pt x="281815" y="87058"/>
                  <a:pt x="285700" y="91538"/>
                </a:cubicBezTo>
                <a:cubicBezTo>
                  <a:pt x="289584" y="95956"/>
                  <a:pt x="294863" y="98134"/>
                  <a:pt x="301536" y="98134"/>
                </a:cubicBezTo>
                <a:close/>
                <a:moveTo>
                  <a:pt x="405188" y="108588"/>
                </a:moveTo>
                <a:lnTo>
                  <a:pt x="392041" y="108588"/>
                </a:lnTo>
                <a:lnTo>
                  <a:pt x="392041" y="83199"/>
                </a:lnTo>
                <a:lnTo>
                  <a:pt x="345728" y="83199"/>
                </a:lnTo>
                <a:lnTo>
                  <a:pt x="345728" y="73927"/>
                </a:lnTo>
                <a:lnTo>
                  <a:pt x="387559" y="1493"/>
                </a:lnTo>
                <a:lnTo>
                  <a:pt x="405188" y="1493"/>
                </a:lnTo>
                <a:lnTo>
                  <a:pt x="405188" y="71873"/>
                </a:lnTo>
                <a:lnTo>
                  <a:pt x="419680" y="71873"/>
                </a:lnTo>
                <a:lnTo>
                  <a:pt x="419680" y="83199"/>
                </a:lnTo>
                <a:lnTo>
                  <a:pt x="405188" y="83199"/>
                </a:lnTo>
                <a:lnTo>
                  <a:pt x="405188" y="108588"/>
                </a:lnTo>
                <a:close/>
                <a:moveTo>
                  <a:pt x="359323" y="71873"/>
                </a:moveTo>
                <a:lnTo>
                  <a:pt x="392041" y="71873"/>
                </a:lnTo>
                <a:lnTo>
                  <a:pt x="392041" y="16117"/>
                </a:lnTo>
                <a:lnTo>
                  <a:pt x="359323" y="71873"/>
                </a:lnTo>
                <a:close/>
                <a:moveTo>
                  <a:pt x="501819" y="73491"/>
                </a:moveTo>
                <a:cubicBezTo>
                  <a:pt x="501819" y="80772"/>
                  <a:pt x="500226" y="87182"/>
                  <a:pt x="497039" y="92782"/>
                </a:cubicBezTo>
                <a:cubicBezTo>
                  <a:pt x="493951" y="98258"/>
                  <a:pt x="489718" y="102490"/>
                  <a:pt x="484340" y="105601"/>
                </a:cubicBezTo>
                <a:cubicBezTo>
                  <a:pt x="478961" y="108588"/>
                  <a:pt x="472936" y="110082"/>
                  <a:pt x="466263" y="110082"/>
                </a:cubicBezTo>
                <a:cubicBezTo>
                  <a:pt x="457299" y="110082"/>
                  <a:pt x="450078" y="108091"/>
                  <a:pt x="444600" y="104108"/>
                </a:cubicBezTo>
                <a:cubicBezTo>
                  <a:pt x="439122" y="100125"/>
                  <a:pt x="435088" y="94587"/>
                  <a:pt x="432499" y="87555"/>
                </a:cubicBezTo>
                <a:cubicBezTo>
                  <a:pt x="430009" y="80461"/>
                  <a:pt x="428764" y="72372"/>
                  <a:pt x="428764" y="63161"/>
                </a:cubicBezTo>
                <a:cubicBezTo>
                  <a:pt x="428764" y="50653"/>
                  <a:pt x="430258" y="39639"/>
                  <a:pt x="433246" y="30181"/>
                </a:cubicBezTo>
                <a:cubicBezTo>
                  <a:pt x="436333" y="20722"/>
                  <a:pt x="441015" y="13379"/>
                  <a:pt x="447289" y="8089"/>
                </a:cubicBezTo>
                <a:cubicBezTo>
                  <a:pt x="453663" y="2675"/>
                  <a:pt x="461831" y="0"/>
                  <a:pt x="471790" y="0"/>
                </a:cubicBezTo>
                <a:cubicBezTo>
                  <a:pt x="480356" y="0"/>
                  <a:pt x="487876" y="1866"/>
                  <a:pt x="494349" y="5538"/>
                </a:cubicBezTo>
                <a:lnTo>
                  <a:pt x="494349" y="18855"/>
                </a:lnTo>
                <a:cubicBezTo>
                  <a:pt x="487876" y="14437"/>
                  <a:pt x="480356" y="12259"/>
                  <a:pt x="471790" y="12259"/>
                </a:cubicBezTo>
                <a:cubicBezTo>
                  <a:pt x="465615" y="12259"/>
                  <a:pt x="460436" y="13939"/>
                  <a:pt x="456253" y="17361"/>
                </a:cubicBezTo>
                <a:cubicBezTo>
                  <a:pt x="452070" y="20722"/>
                  <a:pt x="448783" y="25327"/>
                  <a:pt x="446393" y="31238"/>
                </a:cubicBezTo>
                <a:cubicBezTo>
                  <a:pt x="444102" y="37026"/>
                  <a:pt x="442708" y="43498"/>
                  <a:pt x="442210" y="50778"/>
                </a:cubicBezTo>
                <a:cubicBezTo>
                  <a:pt x="445496" y="46298"/>
                  <a:pt x="449281" y="42999"/>
                  <a:pt x="453564" y="40759"/>
                </a:cubicBezTo>
                <a:cubicBezTo>
                  <a:pt x="457847" y="38581"/>
                  <a:pt x="462528" y="37523"/>
                  <a:pt x="467607" y="37523"/>
                </a:cubicBezTo>
                <a:cubicBezTo>
                  <a:pt x="474081" y="37523"/>
                  <a:pt x="479858" y="38893"/>
                  <a:pt x="484937" y="41693"/>
                </a:cubicBezTo>
                <a:cubicBezTo>
                  <a:pt x="490116" y="44493"/>
                  <a:pt x="494200" y="48538"/>
                  <a:pt x="497188" y="53952"/>
                </a:cubicBezTo>
                <a:cubicBezTo>
                  <a:pt x="500275" y="59179"/>
                  <a:pt x="501819" y="65713"/>
                  <a:pt x="501819" y="73491"/>
                </a:cubicBezTo>
                <a:close/>
                <a:moveTo>
                  <a:pt x="465815" y="98134"/>
                </a:moveTo>
                <a:cubicBezTo>
                  <a:pt x="469699" y="98134"/>
                  <a:pt x="473284" y="97263"/>
                  <a:pt x="476571" y="95458"/>
                </a:cubicBezTo>
                <a:cubicBezTo>
                  <a:pt x="479858" y="93529"/>
                  <a:pt x="482497" y="90791"/>
                  <a:pt x="484489" y="87244"/>
                </a:cubicBezTo>
                <a:cubicBezTo>
                  <a:pt x="486581" y="83635"/>
                  <a:pt x="487627" y="79154"/>
                  <a:pt x="487627" y="73803"/>
                </a:cubicBezTo>
                <a:cubicBezTo>
                  <a:pt x="487627" y="68389"/>
                  <a:pt x="486631" y="63908"/>
                  <a:pt x="484639" y="60174"/>
                </a:cubicBezTo>
                <a:cubicBezTo>
                  <a:pt x="482647" y="56503"/>
                  <a:pt x="480107" y="53765"/>
                  <a:pt x="477019" y="51961"/>
                </a:cubicBezTo>
                <a:cubicBezTo>
                  <a:pt x="473932" y="50093"/>
                  <a:pt x="470695" y="49160"/>
                  <a:pt x="467308" y="49160"/>
                </a:cubicBezTo>
                <a:cubicBezTo>
                  <a:pt x="460735" y="49160"/>
                  <a:pt x="455207" y="51276"/>
                  <a:pt x="450725" y="55570"/>
                </a:cubicBezTo>
                <a:cubicBezTo>
                  <a:pt x="446343" y="59739"/>
                  <a:pt x="444152" y="65900"/>
                  <a:pt x="444152" y="74114"/>
                </a:cubicBezTo>
                <a:cubicBezTo>
                  <a:pt x="444152" y="81270"/>
                  <a:pt x="446094" y="87058"/>
                  <a:pt x="449978" y="91538"/>
                </a:cubicBezTo>
                <a:cubicBezTo>
                  <a:pt x="453863" y="95956"/>
                  <a:pt x="459141" y="98134"/>
                  <a:pt x="465815" y="98134"/>
                </a:cubicBezTo>
                <a:close/>
                <a:moveTo>
                  <a:pt x="510903" y="35844"/>
                </a:moveTo>
                <a:cubicBezTo>
                  <a:pt x="510903" y="28687"/>
                  <a:pt x="512447" y="22402"/>
                  <a:pt x="515535" y="17051"/>
                </a:cubicBezTo>
                <a:cubicBezTo>
                  <a:pt x="518721" y="11637"/>
                  <a:pt x="523003" y="7467"/>
                  <a:pt x="528382" y="4480"/>
                </a:cubicBezTo>
                <a:cubicBezTo>
                  <a:pt x="533760" y="1493"/>
                  <a:pt x="539786" y="0"/>
                  <a:pt x="546459" y="0"/>
                </a:cubicBezTo>
                <a:cubicBezTo>
                  <a:pt x="555422" y="0"/>
                  <a:pt x="562643" y="1929"/>
                  <a:pt x="568121" y="5849"/>
                </a:cubicBezTo>
                <a:cubicBezTo>
                  <a:pt x="573699" y="9645"/>
                  <a:pt x="577733" y="14934"/>
                  <a:pt x="580222" y="21842"/>
                </a:cubicBezTo>
                <a:cubicBezTo>
                  <a:pt x="582712" y="28563"/>
                  <a:pt x="583957" y="36466"/>
                  <a:pt x="583957" y="45426"/>
                </a:cubicBezTo>
                <a:cubicBezTo>
                  <a:pt x="583957" y="58868"/>
                  <a:pt x="582414" y="70380"/>
                  <a:pt x="579326" y="80088"/>
                </a:cubicBezTo>
                <a:cubicBezTo>
                  <a:pt x="576239" y="89733"/>
                  <a:pt x="571458" y="97138"/>
                  <a:pt x="564984" y="102303"/>
                </a:cubicBezTo>
                <a:cubicBezTo>
                  <a:pt x="558610" y="107468"/>
                  <a:pt x="550443" y="110082"/>
                  <a:pt x="540483" y="110082"/>
                </a:cubicBezTo>
                <a:cubicBezTo>
                  <a:pt x="531519" y="110082"/>
                  <a:pt x="523850" y="108215"/>
                  <a:pt x="517476" y="104543"/>
                </a:cubicBezTo>
                <a:lnTo>
                  <a:pt x="517476" y="91413"/>
                </a:lnTo>
                <a:cubicBezTo>
                  <a:pt x="524248" y="95769"/>
                  <a:pt x="531917" y="98010"/>
                  <a:pt x="540483" y="98010"/>
                </a:cubicBezTo>
                <a:cubicBezTo>
                  <a:pt x="546658" y="98010"/>
                  <a:pt x="551837" y="96267"/>
                  <a:pt x="556020" y="92907"/>
                </a:cubicBezTo>
                <a:cubicBezTo>
                  <a:pt x="560203" y="89546"/>
                  <a:pt x="563440" y="84941"/>
                  <a:pt x="565731" y="79154"/>
                </a:cubicBezTo>
                <a:cubicBezTo>
                  <a:pt x="568121" y="73367"/>
                  <a:pt x="569565" y="66896"/>
                  <a:pt x="570063" y="59739"/>
                </a:cubicBezTo>
                <a:cubicBezTo>
                  <a:pt x="566976" y="63660"/>
                  <a:pt x="563291" y="66522"/>
                  <a:pt x="559008" y="68389"/>
                </a:cubicBezTo>
                <a:cubicBezTo>
                  <a:pt x="554725" y="70193"/>
                  <a:pt x="550094" y="71127"/>
                  <a:pt x="545114" y="71127"/>
                </a:cubicBezTo>
                <a:cubicBezTo>
                  <a:pt x="538740" y="71127"/>
                  <a:pt x="532963" y="69758"/>
                  <a:pt x="527784" y="67082"/>
                </a:cubicBezTo>
                <a:cubicBezTo>
                  <a:pt x="522605" y="64406"/>
                  <a:pt x="518472" y="60424"/>
                  <a:pt x="515385" y="55134"/>
                </a:cubicBezTo>
                <a:cubicBezTo>
                  <a:pt x="512397" y="49845"/>
                  <a:pt x="510903" y="43435"/>
                  <a:pt x="510903" y="35844"/>
                </a:cubicBezTo>
                <a:close/>
                <a:moveTo>
                  <a:pt x="546907" y="12134"/>
                </a:moveTo>
                <a:cubicBezTo>
                  <a:pt x="543122" y="12134"/>
                  <a:pt x="539537" y="13006"/>
                  <a:pt x="536150" y="14810"/>
                </a:cubicBezTo>
                <a:cubicBezTo>
                  <a:pt x="532863" y="16490"/>
                  <a:pt x="530174" y="19104"/>
                  <a:pt x="528083" y="22589"/>
                </a:cubicBezTo>
                <a:cubicBezTo>
                  <a:pt x="526091" y="25949"/>
                  <a:pt x="525095" y="30305"/>
                  <a:pt x="525095" y="35532"/>
                </a:cubicBezTo>
                <a:cubicBezTo>
                  <a:pt x="525095" y="40759"/>
                  <a:pt x="526091" y="45116"/>
                  <a:pt x="528083" y="48725"/>
                </a:cubicBezTo>
                <a:cubicBezTo>
                  <a:pt x="530075" y="52271"/>
                  <a:pt x="532615" y="54947"/>
                  <a:pt x="535702" y="56752"/>
                </a:cubicBezTo>
                <a:cubicBezTo>
                  <a:pt x="538790" y="58556"/>
                  <a:pt x="542027" y="59428"/>
                  <a:pt x="545413" y="59428"/>
                </a:cubicBezTo>
                <a:cubicBezTo>
                  <a:pt x="551986" y="59428"/>
                  <a:pt x="557464" y="57437"/>
                  <a:pt x="561847" y="53329"/>
                </a:cubicBezTo>
                <a:cubicBezTo>
                  <a:pt x="566329" y="49160"/>
                  <a:pt x="568569" y="43124"/>
                  <a:pt x="568569" y="35283"/>
                </a:cubicBezTo>
                <a:cubicBezTo>
                  <a:pt x="568569" y="28313"/>
                  <a:pt x="566627" y="22713"/>
                  <a:pt x="562743" y="18544"/>
                </a:cubicBezTo>
                <a:cubicBezTo>
                  <a:pt x="558859" y="14250"/>
                  <a:pt x="553580" y="12134"/>
                  <a:pt x="546907" y="12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0" name="Полилиния 969">
            <a:extLst>
              <a:ext uri="{FF2B5EF4-FFF2-40B4-BE49-F238E27FC236}">
                <a16:creationId xmlns:a16="http://schemas.microsoft.com/office/drawing/2014/main" id="{F6418930-AF7E-1495-00E6-D9744D17281A}"/>
              </a:ext>
            </a:extLst>
          </p:cNvPr>
          <p:cNvSpPr/>
          <p:nvPr userDrawn="1"/>
        </p:nvSpPr>
        <p:spPr>
          <a:xfrm>
            <a:off x="12270615" y="5240073"/>
            <a:ext cx="1398954" cy="726227"/>
          </a:xfrm>
          <a:custGeom>
            <a:avLst/>
            <a:gdLst>
              <a:gd name="connsiteX0" fmla="*/ 0 w 1198727"/>
              <a:gd name="connsiteY0" fmla="*/ 1222 h 622284"/>
              <a:gd name="connsiteX1" fmla="*/ 1198728 w 1198727"/>
              <a:gd name="connsiteY1" fmla="*/ 1222 h 622284"/>
              <a:gd name="connsiteX2" fmla="*/ 1198728 w 1198727"/>
              <a:gd name="connsiteY2" fmla="*/ 623506 h 622284"/>
              <a:gd name="connsiteX3" fmla="*/ 0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222"/>
                </a:moveTo>
                <a:lnTo>
                  <a:pt x="1198728" y="1222"/>
                </a:lnTo>
                <a:lnTo>
                  <a:pt x="1198728" y="623506"/>
                </a:lnTo>
                <a:lnTo>
                  <a:pt x="0" y="623506"/>
                </a:lnTo>
                <a:close/>
              </a:path>
            </a:pathLst>
          </a:custGeom>
          <a:solidFill>
            <a:srgbClr val="00919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1" name="Полилиния 970">
            <a:extLst>
              <a:ext uri="{FF2B5EF4-FFF2-40B4-BE49-F238E27FC236}">
                <a16:creationId xmlns:a16="http://schemas.microsoft.com/office/drawing/2014/main" id="{6E504196-5B25-5596-C955-4C5719583711}"/>
              </a:ext>
            </a:extLst>
          </p:cNvPr>
          <p:cNvSpPr/>
          <p:nvPr userDrawn="1"/>
        </p:nvSpPr>
        <p:spPr>
          <a:xfrm>
            <a:off x="12393824" y="5541820"/>
            <a:ext cx="655344" cy="128468"/>
          </a:xfrm>
          <a:custGeom>
            <a:avLst/>
            <a:gdLst>
              <a:gd name="connsiteX0" fmla="*/ 22111 w 561547"/>
              <a:gd name="connsiteY0" fmla="*/ 108588 h 110081"/>
              <a:gd name="connsiteX1" fmla="*/ 10159 w 561547"/>
              <a:gd name="connsiteY1" fmla="*/ 108588 h 110081"/>
              <a:gd name="connsiteX2" fmla="*/ 16434 w 561547"/>
              <a:gd name="connsiteY2" fmla="*/ 77661 h 110081"/>
              <a:gd name="connsiteX3" fmla="*/ 0 w 561547"/>
              <a:gd name="connsiteY3" fmla="*/ 77661 h 110081"/>
              <a:gd name="connsiteX4" fmla="*/ 0 w 561547"/>
              <a:gd name="connsiteY4" fmla="*/ 67206 h 110081"/>
              <a:gd name="connsiteX5" fmla="*/ 18675 w 561547"/>
              <a:gd name="connsiteY5" fmla="*/ 67206 h 110081"/>
              <a:gd name="connsiteX6" fmla="*/ 24202 w 561547"/>
              <a:gd name="connsiteY6" fmla="*/ 40012 h 110081"/>
              <a:gd name="connsiteX7" fmla="*/ 4034 w 561547"/>
              <a:gd name="connsiteY7" fmla="*/ 40012 h 110081"/>
              <a:gd name="connsiteX8" fmla="*/ 4034 w 561547"/>
              <a:gd name="connsiteY8" fmla="*/ 29559 h 110081"/>
              <a:gd name="connsiteX9" fmla="*/ 26294 w 561547"/>
              <a:gd name="connsiteY9" fmla="*/ 29559 h 110081"/>
              <a:gd name="connsiteX10" fmla="*/ 32120 w 561547"/>
              <a:gd name="connsiteY10" fmla="*/ 1493 h 110081"/>
              <a:gd name="connsiteX11" fmla="*/ 44072 w 561547"/>
              <a:gd name="connsiteY11" fmla="*/ 1493 h 110081"/>
              <a:gd name="connsiteX12" fmla="*/ 38246 w 561547"/>
              <a:gd name="connsiteY12" fmla="*/ 29559 h 110081"/>
              <a:gd name="connsiteX13" fmla="*/ 60655 w 561547"/>
              <a:gd name="connsiteY13" fmla="*/ 29559 h 110081"/>
              <a:gd name="connsiteX14" fmla="*/ 66482 w 561547"/>
              <a:gd name="connsiteY14" fmla="*/ 1493 h 110081"/>
              <a:gd name="connsiteX15" fmla="*/ 78434 w 561547"/>
              <a:gd name="connsiteY15" fmla="*/ 1493 h 110081"/>
              <a:gd name="connsiteX16" fmla="*/ 72607 w 561547"/>
              <a:gd name="connsiteY16" fmla="*/ 29559 h 110081"/>
              <a:gd name="connsiteX17" fmla="*/ 89340 w 561547"/>
              <a:gd name="connsiteY17" fmla="*/ 29559 h 110081"/>
              <a:gd name="connsiteX18" fmla="*/ 89340 w 561547"/>
              <a:gd name="connsiteY18" fmla="*/ 40012 h 110081"/>
              <a:gd name="connsiteX19" fmla="*/ 70516 w 561547"/>
              <a:gd name="connsiteY19" fmla="*/ 40012 h 110081"/>
              <a:gd name="connsiteX20" fmla="*/ 64988 w 561547"/>
              <a:gd name="connsiteY20" fmla="*/ 67206 h 110081"/>
              <a:gd name="connsiteX21" fmla="*/ 85306 w 561547"/>
              <a:gd name="connsiteY21" fmla="*/ 67206 h 110081"/>
              <a:gd name="connsiteX22" fmla="*/ 85306 w 561547"/>
              <a:gd name="connsiteY22" fmla="*/ 77661 h 110081"/>
              <a:gd name="connsiteX23" fmla="*/ 62747 w 561547"/>
              <a:gd name="connsiteY23" fmla="*/ 77661 h 110081"/>
              <a:gd name="connsiteX24" fmla="*/ 56472 w 561547"/>
              <a:gd name="connsiteY24" fmla="*/ 108588 h 110081"/>
              <a:gd name="connsiteX25" fmla="*/ 44520 w 561547"/>
              <a:gd name="connsiteY25" fmla="*/ 108588 h 110081"/>
              <a:gd name="connsiteX26" fmla="*/ 50795 w 561547"/>
              <a:gd name="connsiteY26" fmla="*/ 77661 h 110081"/>
              <a:gd name="connsiteX27" fmla="*/ 28386 w 561547"/>
              <a:gd name="connsiteY27" fmla="*/ 77661 h 110081"/>
              <a:gd name="connsiteX28" fmla="*/ 22111 w 561547"/>
              <a:gd name="connsiteY28" fmla="*/ 108588 h 110081"/>
              <a:gd name="connsiteX29" fmla="*/ 30626 w 561547"/>
              <a:gd name="connsiteY29" fmla="*/ 67206 h 110081"/>
              <a:gd name="connsiteX30" fmla="*/ 53036 w 561547"/>
              <a:gd name="connsiteY30" fmla="*/ 67206 h 110081"/>
              <a:gd name="connsiteX31" fmla="*/ 58564 w 561547"/>
              <a:gd name="connsiteY31" fmla="*/ 40012 h 110081"/>
              <a:gd name="connsiteX32" fmla="*/ 36154 w 561547"/>
              <a:gd name="connsiteY32" fmla="*/ 40012 h 110081"/>
              <a:gd name="connsiteX33" fmla="*/ 30626 w 561547"/>
              <a:gd name="connsiteY33" fmla="*/ 67206 h 110081"/>
              <a:gd name="connsiteX34" fmla="*/ 136659 w 561547"/>
              <a:gd name="connsiteY34" fmla="*/ 110082 h 110081"/>
              <a:gd name="connsiteX35" fmla="*/ 118432 w 561547"/>
              <a:gd name="connsiteY35" fmla="*/ 104233 h 110081"/>
              <a:gd name="connsiteX36" fmla="*/ 105734 w 561547"/>
              <a:gd name="connsiteY36" fmla="*/ 86311 h 110081"/>
              <a:gd name="connsiteX37" fmla="*/ 101252 w 561547"/>
              <a:gd name="connsiteY37" fmla="*/ 54947 h 110081"/>
              <a:gd name="connsiteX38" fmla="*/ 105734 w 561547"/>
              <a:gd name="connsiteY38" fmla="*/ 23584 h 110081"/>
              <a:gd name="connsiteX39" fmla="*/ 118432 w 561547"/>
              <a:gd name="connsiteY39" fmla="*/ 5849 h 110081"/>
              <a:gd name="connsiteX40" fmla="*/ 136659 w 561547"/>
              <a:gd name="connsiteY40" fmla="*/ 186 h 110081"/>
              <a:gd name="connsiteX41" fmla="*/ 154736 w 561547"/>
              <a:gd name="connsiteY41" fmla="*/ 5849 h 110081"/>
              <a:gd name="connsiteX42" fmla="*/ 167136 w 561547"/>
              <a:gd name="connsiteY42" fmla="*/ 23584 h 110081"/>
              <a:gd name="connsiteX43" fmla="*/ 171618 w 561547"/>
              <a:gd name="connsiteY43" fmla="*/ 54698 h 110081"/>
              <a:gd name="connsiteX44" fmla="*/ 167136 w 561547"/>
              <a:gd name="connsiteY44" fmla="*/ 86062 h 110081"/>
              <a:gd name="connsiteX45" fmla="*/ 154736 w 561547"/>
              <a:gd name="connsiteY45" fmla="*/ 104233 h 110081"/>
              <a:gd name="connsiteX46" fmla="*/ 136659 w 561547"/>
              <a:gd name="connsiteY46" fmla="*/ 110082 h 110081"/>
              <a:gd name="connsiteX47" fmla="*/ 136509 w 561547"/>
              <a:gd name="connsiteY47" fmla="*/ 98258 h 110081"/>
              <a:gd name="connsiteX48" fmla="*/ 147864 w 561547"/>
              <a:gd name="connsiteY48" fmla="*/ 94275 h 110081"/>
              <a:gd name="connsiteX49" fmla="*/ 155035 w 561547"/>
              <a:gd name="connsiteY49" fmla="*/ 80648 h 110081"/>
              <a:gd name="connsiteX50" fmla="*/ 157575 w 561547"/>
              <a:gd name="connsiteY50" fmla="*/ 55134 h 110081"/>
              <a:gd name="connsiteX51" fmla="*/ 155184 w 561547"/>
              <a:gd name="connsiteY51" fmla="*/ 29745 h 110081"/>
              <a:gd name="connsiteX52" fmla="*/ 148013 w 561547"/>
              <a:gd name="connsiteY52" fmla="*/ 16117 h 110081"/>
              <a:gd name="connsiteX53" fmla="*/ 136659 w 561547"/>
              <a:gd name="connsiteY53" fmla="*/ 11947 h 110081"/>
              <a:gd name="connsiteX54" fmla="*/ 125155 w 561547"/>
              <a:gd name="connsiteY54" fmla="*/ 16117 h 110081"/>
              <a:gd name="connsiteX55" fmla="*/ 117835 w 561547"/>
              <a:gd name="connsiteY55" fmla="*/ 29745 h 110081"/>
              <a:gd name="connsiteX56" fmla="*/ 115295 w 561547"/>
              <a:gd name="connsiteY56" fmla="*/ 55134 h 110081"/>
              <a:gd name="connsiteX57" fmla="*/ 117685 w 561547"/>
              <a:gd name="connsiteY57" fmla="*/ 80648 h 110081"/>
              <a:gd name="connsiteX58" fmla="*/ 125006 w 561547"/>
              <a:gd name="connsiteY58" fmla="*/ 94275 h 110081"/>
              <a:gd name="connsiteX59" fmla="*/ 136509 w 561547"/>
              <a:gd name="connsiteY59" fmla="*/ 98258 h 110081"/>
              <a:gd name="connsiteX60" fmla="*/ 218798 w 561547"/>
              <a:gd name="connsiteY60" fmla="*/ 110082 h 110081"/>
              <a:gd name="connsiteX61" fmla="*/ 200572 w 561547"/>
              <a:gd name="connsiteY61" fmla="*/ 104233 h 110081"/>
              <a:gd name="connsiteX62" fmla="*/ 187873 w 561547"/>
              <a:gd name="connsiteY62" fmla="*/ 86311 h 110081"/>
              <a:gd name="connsiteX63" fmla="*/ 183391 w 561547"/>
              <a:gd name="connsiteY63" fmla="*/ 54947 h 110081"/>
              <a:gd name="connsiteX64" fmla="*/ 187873 w 561547"/>
              <a:gd name="connsiteY64" fmla="*/ 23584 h 110081"/>
              <a:gd name="connsiteX65" fmla="*/ 200572 w 561547"/>
              <a:gd name="connsiteY65" fmla="*/ 5849 h 110081"/>
              <a:gd name="connsiteX66" fmla="*/ 218798 w 561547"/>
              <a:gd name="connsiteY66" fmla="*/ 186 h 110081"/>
              <a:gd name="connsiteX67" fmla="*/ 236875 w 561547"/>
              <a:gd name="connsiteY67" fmla="*/ 5849 h 110081"/>
              <a:gd name="connsiteX68" fmla="*/ 249275 w 561547"/>
              <a:gd name="connsiteY68" fmla="*/ 23584 h 110081"/>
              <a:gd name="connsiteX69" fmla="*/ 253757 w 561547"/>
              <a:gd name="connsiteY69" fmla="*/ 54698 h 110081"/>
              <a:gd name="connsiteX70" fmla="*/ 249275 w 561547"/>
              <a:gd name="connsiteY70" fmla="*/ 86062 h 110081"/>
              <a:gd name="connsiteX71" fmla="*/ 236875 w 561547"/>
              <a:gd name="connsiteY71" fmla="*/ 104233 h 110081"/>
              <a:gd name="connsiteX72" fmla="*/ 218798 w 561547"/>
              <a:gd name="connsiteY72" fmla="*/ 110082 h 110081"/>
              <a:gd name="connsiteX73" fmla="*/ 218649 w 561547"/>
              <a:gd name="connsiteY73" fmla="*/ 98258 h 110081"/>
              <a:gd name="connsiteX74" fmla="*/ 230003 w 561547"/>
              <a:gd name="connsiteY74" fmla="*/ 94275 h 110081"/>
              <a:gd name="connsiteX75" fmla="*/ 237174 w 561547"/>
              <a:gd name="connsiteY75" fmla="*/ 80648 h 110081"/>
              <a:gd name="connsiteX76" fmla="*/ 239714 w 561547"/>
              <a:gd name="connsiteY76" fmla="*/ 55134 h 110081"/>
              <a:gd name="connsiteX77" fmla="*/ 237324 w 561547"/>
              <a:gd name="connsiteY77" fmla="*/ 29745 h 110081"/>
              <a:gd name="connsiteX78" fmla="*/ 230152 w 561547"/>
              <a:gd name="connsiteY78" fmla="*/ 16117 h 110081"/>
              <a:gd name="connsiteX79" fmla="*/ 218798 w 561547"/>
              <a:gd name="connsiteY79" fmla="*/ 11947 h 110081"/>
              <a:gd name="connsiteX80" fmla="*/ 207295 w 561547"/>
              <a:gd name="connsiteY80" fmla="*/ 16117 h 110081"/>
              <a:gd name="connsiteX81" fmla="*/ 199974 w 561547"/>
              <a:gd name="connsiteY81" fmla="*/ 29745 h 110081"/>
              <a:gd name="connsiteX82" fmla="*/ 197434 w 561547"/>
              <a:gd name="connsiteY82" fmla="*/ 55134 h 110081"/>
              <a:gd name="connsiteX83" fmla="*/ 199825 w 561547"/>
              <a:gd name="connsiteY83" fmla="*/ 80648 h 110081"/>
              <a:gd name="connsiteX84" fmla="*/ 207145 w 561547"/>
              <a:gd name="connsiteY84" fmla="*/ 94275 h 110081"/>
              <a:gd name="connsiteX85" fmla="*/ 218649 w 561547"/>
              <a:gd name="connsiteY85" fmla="*/ 98258 h 110081"/>
              <a:gd name="connsiteX86" fmla="*/ 264485 w 561547"/>
              <a:gd name="connsiteY86" fmla="*/ 35844 h 110081"/>
              <a:gd name="connsiteX87" fmla="*/ 269117 w 561547"/>
              <a:gd name="connsiteY87" fmla="*/ 17051 h 110081"/>
              <a:gd name="connsiteX88" fmla="*/ 281965 w 561547"/>
              <a:gd name="connsiteY88" fmla="*/ 4480 h 110081"/>
              <a:gd name="connsiteX89" fmla="*/ 300042 w 561547"/>
              <a:gd name="connsiteY89" fmla="*/ 0 h 110081"/>
              <a:gd name="connsiteX90" fmla="*/ 321704 w 561547"/>
              <a:gd name="connsiteY90" fmla="*/ 5849 h 110081"/>
              <a:gd name="connsiteX91" fmla="*/ 333806 w 561547"/>
              <a:gd name="connsiteY91" fmla="*/ 21842 h 110081"/>
              <a:gd name="connsiteX92" fmla="*/ 337541 w 561547"/>
              <a:gd name="connsiteY92" fmla="*/ 45426 h 110081"/>
              <a:gd name="connsiteX93" fmla="*/ 332909 w 561547"/>
              <a:gd name="connsiteY93" fmla="*/ 80088 h 110081"/>
              <a:gd name="connsiteX94" fmla="*/ 318567 w 561547"/>
              <a:gd name="connsiteY94" fmla="*/ 102303 h 110081"/>
              <a:gd name="connsiteX95" fmla="*/ 294066 w 561547"/>
              <a:gd name="connsiteY95" fmla="*/ 110082 h 110081"/>
              <a:gd name="connsiteX96" fmla="*/ 271059 w 561547"/>
              <a:gd name="connsiteY96" fmla="*/ 104543 h 110081"/>
              <a:gd name="connsiteX97" fmla="*/ 271059 w 561547"/>
              <a:gd name="connsiteY97" fmla="*/ 91413 h 110081"/>
              <a:gd name="connsiteX98" fmla="*/ 294066 w 561547"/>
              <a:gd name="connsiteY98" fmla="*/ 98010 h 110081"/>
              <a:gd name="connsiteX99" fmla="*/ 309603 w 561547"/>
              <a:gd name="connsiteY99" fmla="*/ 92907 h 110081"/>
              <a:gd name="connsiteX100" fmla="*/ 319314 w 561547"/>
              <a:gd name="connsiteY100" fmla="*/ 79154 h 110081"/>
              <a:gd name="connsiteX101" fmla="*/ 323647 w 561547"/>
              <a:gd name="connsiteY101" fmla="*/ 59739 h 110081"/>
              <a:gd name="connsiteX102" fmla="*/ 312591 w 561547"/>
              <a:gd name="connsiteY102" fmla="*/ 68389 h 110081"/>
              <a:gd name="connsiteX103" fmla="*/ 298697 w 561547"/>
              <a:gd name="connsiteY103" fmla="*/ 71127 h 110081"/>
              <a:gd name="connsiteX104" fmla="*/ 281367 w 561547"/>
              <a:gd name="connsiteY104" fmla="*/ 67082 h 110081"/>
              <a:gd name="connsiteX105" fmla="*/ 268967 w 561547"/>
              <a:gd name="connsiteY105" fmla="*/ 55134 h 110081"/>
              <a:gd name="connsiteX106" fmla="*/ 264485 w 561547"/>
              <a:gd name="connsiteY106" fmla="*/ 35844 h 110081"/>
              <a:gd name="connsiteX107" fmla="*/ 300490 w 561547"/>
              <a:gd name="connsiteY107" fmla="*/ 12134 h 110081"/>
              <a:gd name="connsiteX108" fmla="*/ 289733 w 561547"/>
              <a:gd name="connsiteY108" fmla="*/ 14810 h 110081"/>
              <a:gd name="connsiteX109" fmla="*/ 281666 w 561547"/>
              <a:gd name="connsiteY109" fmla="*/ 22589 h 110081"/>
              <a:gd name="connsiteX110" fmla="*/ 278678 w 561547"/>
              <a:gd name="connsiteY110" fmla="*/ 35532 h 110081"/>
              <a:gd name="connsiteX111" fmla="*/ 281666 w 561547"/>
              <a:gd name="connsiteY111" fmla="*/ 48725 h 110081"/>
              <a:gd name="connsiteX112" fmla="*/ 289285 w 561547"/>
              <a:gd name="connsiteY112" fmla="*/ 56752 h 110081"/>
              <a:gd name="connsiteX113" fmla="*/ 298995 w 561547"/>
              <a:gd name="connsiteY113" fmla="*/ 59428 h 110081"/>
              <a:gd name="connsiteX114" fmla="*/ 315430 w 561547"/>
              <a:gd name="connsiteY114" fmla="*/ 53329 h 110081"/>
              <a:gd name="connsiteX115" fmla="*/ 322153 w 561547"/>
              <a:gd name="connsiteY115" fmla="*/ 35283 h 110081"/>
              <a:gd name="connsiteX116" fmla="*/ 316326 w 561547"/>
              <a:gd name="connsiteY116" fmla="*/ 18544 h 110081"/>
              <a:gd name="connsiteX117" fmla="*/ 300490 w 561547"/>
              <a:gd name="connsiteY117" fmla="*/ 12134 h 110081"/>
              <a:gd name="connsiteX118" fmla="*/ 397270 w 561547"/>
              <a:gd name="connsiteY118" fmla="*/ 108588 h 110081"/>
              <a:gd name="connsiteX119" fmla="*/ 383675 w 561547"/>
              <a:gd name="connsiteY119" fmla="*/ 108588 h 110081"/>
              <a:gd name="connsiteX120" fmla="*/ 383675 w 561547"/>
              <a:gd name="connsiteY120" fmla="*/ 18357 h 110081"/>
              <a:gd name="connsiteX121" fmla="*/ 354094 w 561547"/>
              <a:gd name="connsiteY121" fmla="*/ 41071 h 110081"/>
              <a:gd name="connsiteX122" fmla="*/ 354094 w 561547"/>
              <a:gd name="connsiteY122" fmla="*/ 26011 h 110081"/>
              <a:gd name="connsiteX123" fmla="*/ 385916 w 561547"/>
              <a:gd name="connsiteY123" fmla="*/ 1493 h 110081"/>
              <a:gd name="connsiteX124" fmla="*/ 397270 w 561547"/>
              <a:gd name="connsiteY124" fmla="*/ 1493 h 110081"/>
              <a:gd name="connsiteX125" fmla="*/ 397270 w 561547"/>
              <a:gd name="connsiteY125" fmla="*/ 108588 h 110081"/>
              <a:gd name="connsiteX126" fmla="*/ 428764 w 561547"/>
              <a:gd name="connsiteY126" fmla="*/ 35844 h 110081"/>
              <a:gd name="connsiteX127" fmla="*/ 433395 w 561547"/>
              <a:gd name="connsiteY127" fmla="*/ 17051 h 110081"/>
              <a:gd name="connsiteX128" fmla="*/ 446243 w 561547"/>
              <a:gd name="connsiteY128" fmla="*/ 4480 h 110081"/>
              <a:gd name="connsiteX129" fmla="*/ 464321 w 561547"/>
              <a:gd name="connsiteY129" fmla="*/ 0 h 110081"/>
              <a:gd name="connsiteX130" fmla="*/ 485983 w 561547"/>
              <a:gd name="connsiteY130" fmla="*/ 5849 h 110081"/>
              <a:gd name="connsiteX131" fmla="*/ 498084 w 561547"/>
              <a:gd name="connsiteY131" fmla="*/ 21842 h 110081"/>
              <a:gd name="connsiteX132" fmla="*/ 501819 w 561547"/>
              <a:gd name="connsiteY132" fmla="*/ 45426 h 110081"/>
              <a:gd name="connsiteX133" fmla="*/ 497188 w 561547"/>
              <a:gd name="connsiteY133" fmla="*/ 80088 h 110081"/>
              <a:gd name="connsiteX134" fmla="*/ 482846 w 561547"/>
              <a:gd name="connsiteY134" fmla="*/ 102303 h 110081"/>
              <a:gd name="connsiteX135" fmla="*/ 458345 w 561547"/>
              <a:gd name="connsiteY135" fmla="*/ 110082 h 110081"/>
              <a:gd name="connsiteX136" fmla="*/ 435337 w 561547"/>
              <a:gd name="connsiteY136" fmla="*/ 104543 h 110081"/>
              <a:gd name="connsiteX137" fmla="*/ 435337 w 561547"/>
              <a:gd name="connsiteY137" fmla="*/ 91413 h 110081"/>
              <a:gd name="connsiteX138" fmla="*/ 458345 w 561547"/>
              <a:gd name="connsiteY138" fmla="*/ 98010 h 110081"/>
              <a:gd name="connsiteX139" fmla="*/ 473882 w 561547"/>
              <a:gd name="connsiteY139" fmla="*/ 92907 h 110081"/>
              <a:gd name="connsiteX140" fmla="*/ 483593 w 561547"/>
              <a:gd name="connsiteY140" fmla="*/ 79154 h 110081"/>
              <a:gd name="connsiteX141" fmla="*/ 487925 w 561547"/>
              <a:gd name="connsiteY141" fmla="*/ 59739 h 110081"/>
              <a:gd name="connsiteX142" fmla="*/ 476870 w 561547"/>
              <a:gd name="connsiteY142" fmla="*/ 68389 h 110081"/>
              <a:gd name="connsiteX143" fmla="*/ 462976 w 561547"/>
              <a:gd name="connsiteY143" fmla="*/ 71127 h 110081"/>
              <a:gd name="connsiteX144" fmla="*/ 445646 w 561547"/>
              <a:gd name="connsiteY144" fmla="*/ 67082 h 110081"/>
              <a:gd name="connsiteX145" fmla="*/ 433246 w 561547"/>
              <a:gd name="connsiteY145" fmla="*/ 55134 h 110081"/>
              <a:gd name="connsiteX146" fmla="*/ 428764 w 561547"/>
              <a:gd name="connsiteY146" fmla="*/ 35844 h 110081"/>
              <a:gd name="connsiteX147" fmla="*/ 464769 w 561547"/>
              <a:gd name="connsiteY147" fmla="*/ 12134 h 110081"/>
              <a:gd name="connsiteX148" fmla="*/ 454012 w 561547"/>
              <a:gd name="connsiteY148" fmla="*/ 14810 h 110081"/>
              <a:gd name="connsiteX149" fmla="*/ 445945 w 561547"/>
              <a:gd name="connsiteY149" fmla="*/ 22589 h 110081"/>
              <a:gd name="connsiteX150" fmla="*/ 442957 w 561547"/>
              <a:gd name="connsiteY150" fmla="*/ 35532 h 110081"/>
              <a:gd name="connsiteX151" fmla="*/ 445945 w 561547"/>
              <a:gd name="connsiteY151" fmla="*/ 48725 h 110081"/>
              <a:gd name="connsiteX152" fmla="*/ 453564 w 561547"/>
              <a:gd name="connsiteY152" fmla="*/ 56752 h 110081"/>
              <a:gd name="connsiteX153" fmla="*/ 463275 w 561547"/>
              <a:gd name="connsiteY153" fmla="*/ 59428 h 110081"/>
              <a:gd name="connsiteX154" fmla="*/ 479708 w 561547"/>
              <a:gd name="connsiteY154" fmla="*/ 53329 h 110081"/>
              <a:gd name="connsiteX155" fmla="*/ 486431 w 561547"/>
              <a:gd name="connsiteY155" fmla="*/ 35283 h 110081"/>
              <a:gd name="connsiteX156" fmla="*/ 480605 w 561547"/>
              <a:gd name="connsiteY156" fmla="*/ 18544 h 110081"/>
              <a:gd name="connsiteX157" fmla="*/ 464769 w 561547"/>
              <a:gd name="connsiteY157" fmla="*/ 12134 h 110081"/>
              <a:gd name="connsiteX158" fmla="*/ 561548 w 561547"/>
              <a:gd name="connsiteY158" fmla="*/ 108588 h 110081"/>
              <a:gd name="connsiteX159" fmla="*/ 547953 w 561547"/>
              <a:gd name="connsiteY159" fmla="*/ 108588 h 110081"/>
              <a:gd name="connsiteX160" fmla="*/ 547953 w 561547"/>
              <a:gd name="connsiteY160" fmla="*/ 18357 h 110081"/>
              <a:gd name="connsiteX161" fmla="*/ 518372 w 561547"/>
              <a:gd name="connsiteY161" fmla="*/ 41071 h 110081"/>
              <a:gd name="connsiteX162" fmla="*/ 518372 w 561547"/>
              <a:gd name="connsiteY162" fmla="*/ 26011 h 110081"/>
              <a:gd name="connsiteX163" fmla="*/ 550194 w 561547"/>
              <a:gd name="connsiteY163" fmla="*/ 1493 h 110081"/>
              <a:gd name="connsiteX164" fmla="*/ 561548 w 561547"/>
              <a:gd name="connsiteY164" fmla="*/ 1493 h 110081"/>
              <a:gd name="connsiteX165" fmla="*/ 561548 w 561547"/>
              <a:gd name="connsiteY165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56154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264485" y="35844"/>
                </a:moveTo>
                <a:cubicBezTo>
                  <a:pt x="264485" y="28687"/>
                  <a:pt x="266029" y="22402"/>
                  <a:pt x="269117" y="17051"/>
                </a:cubicBezTo>
                <a:cubicBezTo>
                  <a:pt x="272304" y="11637"/>
                  <a:pt x="276586" y="7467"/>
                  <a:pt x="281965" y="4480"/>
                </a:cubicBezTo>
                <a:cubicBezTo>
                  <a:pt x="287343" y="1493"/>
                  <a:pt x="293369" y="0"/>
                  <a:pt x="300042" y="0"/>
                </a:cubicBezTo>
                <a:cubicBezTo>
                  <a:pt x="309006" y="0"/>
                  <a:pt x="316227" y="1929"/>
                  <a:pt x="321704" y="5849"/>
                </a:cubicBezTo>
                <a:cubicBezTo>
                  <a:pt x="327282" y="9645"/>
                  <a:pt x="331316" y="14934"/>
                  <a:pt x="333806" y="21842"/>
                </a:cubicBezTo>
                <a:cubicBezTo>
                  <a:pt x="336296" y="28563"/>
                  <a:pt x="337541" y="36466"/>
                  <a:pt x="337541" y="45426"/>
                </a:cubicBezTo>
                <a:cubicBezTo>
                  <a:pt x="337541" y="58868"/>
                  <a:pt x="335997" y="70380"/>
                  <a:pt x="332909" y="80088"/>
                </a:cubicBezTo>
                <a:cubicBezTo>
                  <a:pt x="329822" y="89733"/>
                  <a:pt x="325041" y="97138"/>
                  <a:pt x="318567" y="102303"/>
                </a:cubicBezTo>
                <a:cubicBezTo>
                  <a:pt x="312193" y="107468"/>
                  <a:pt x="304026" y="110082"/>
                  <a:pt x="294066" y="110082"/>
                </a:cubicBezTo>
                <a:cubicBezTo>
                  <a:pt x="285102" y="110082"/>
                  <a:pt x="277433" y="108215"/>
                  <a:pt x="271059" y="104543"/>
                </a:cubicBezTo>
                <a:lnTo>
                  <a:pt x="271059" y="91413"/>
                </a:lnTo>
                <a:cubicBezTo>
                  <a:pt x="277831" y="95769"/>
                  <a:pt x="285500" y="98010"/>
                  <a:pt x="294066" y="98010"/>
                </a:cubicBezTo>
                <a:cubicBezTo>
                  <a:pt x="300241" y="98010"/>
                  <a:pt x="305420" y="96267"/>
                  <a:pt x="309603" y="92907"/>
                </a:cubicBezTo>
                <a:cubicBezTo>
                  <a:pt x="313786" y="89546"/>
                  <a:pt x="317023" y="84941"/>
                  <a:pt x="319314" y="79154"/>
                </a:cubicBezTo>
                <a:cubicBezTo>
                  <a:pt x="321704" y="73367"/>
                  <a:pt x="323149" y="66896"/>
                  <a:pt x="323647" y="59739"/>
                </a:cubicBezTo>
                <a:cubicBezTo>
                  <a:pt x="320559" y="63660"/>
                  <a:pt x="316874" y="66522"/>
                  <a:pt x="312591" y="68389"/>
                </a:cubicBezTo>
                <a:cubicBezTo>
                  <a:pt x="308308" y="70193"/>
                  <a:pt x="303677" y="71127"/>
                  <a:pt x="298697" y="71127"/>
                </a:cubicBezTo>
                <a:cubicBezTo>
                  <a:pt x="292323" y="71127"/>
                  <a:pt x="286546" y="69758"/>
                  <a:pt x="281367" y="67082"/>
                </a:cubicBezTo>
                <a:cubicBezTo>
                  <a:pt x="276188" y="64406"/>
                  <a:pt x="272055" y="60424"/>
                  <a:pt x="268967" y="55134"/>
                </a:cubicBezTo>
                <a:cubicBezTo>
                  <a:pt x="265979" y="49845"/>
                  <a:pt x="264485" y="43435"/>
                  <a:pt x="264485" y="35844"/>
                </a:cubicBezTo>
                <a:close/>
                <a:moveTo>
                  <a:pt x="300490" y="12134"/>
                </a:moveTo>
                <a:cubicBezTo>
                  <a:pt x="296705" y="12134"/>
                  <a:pt x="293120" y="13006"/>
                  <a:pt x="289733" y="14810"/>
                </a:cubicBezTo>
                <a:cubicBezTo>
                  <a:pt x="286447" y="16490"/>
                  <a:pt x="283757" y="19104"/>
                  <a:pt x="281666" y="22589"/>
                </a:cubicBezTo>
                <a:cubicBezTo>
                  <a:pt x="279674" y="25949"/>
                  <a:pt x="278678" y="30305"/>
                  <a:pt x="278678" y="35532"/>
                </a:cubicBezTo>
                <a:cubicBezTo>
                  <a:pt x="278678" y="40759"/>
                  <a:pt x="279674" y="45116"/>
                  <a:pt x="281666" y="48725"/>
                </a:cubicBezTo>
                <a:cubicBezTo>
                  <a:pt x="283658" y="52271"/>
                  <a:pt x="286198" y="54947"/>
                  <a:pt x="289285" y="56752"/>
                </a:cubicBezTo>
                <a:cubicBezTo>
                  <a:pt x="292373" y="58556"/>
                  <a:pt x="295610" y="59428"/>
                  <a:pt x="298995" y="59428"/>
                </a:cubicBezTo>
                <a:cubicBezTo>
                  <a:pt x="305570" y="59428"/>
                  <a:pt x="311047" y="57437"/>
                  <a:pt x="315430" y="53329"/>
                </a:cubicBezTo>
                <a:cubicBezTo>
                  <a:pt x="319912" y="49160"/>
                  <a:pt x="322153" y="43124"/>
                  <a:pt x="322153" y="35283"/>
                </a:cubicBezTo>
                <a:cubicBezTo>
                  <a:pt x="322153" y="28313"/>
                  <a:pt x="320210" y="22713"/>
                  <a:pt x="316326" y="18544"/>
                </a:cubicBezTo>
                <a:cubicBezTo>
                  <a:pt x="312442" y="14250"/>
                  <a:pt x="307163" y="12134"/>
                  <a:pt x="300490" y="12134"/>
                </a:cubicBezTo>
                <a:close/>
                <a:moveTo>
                  <a:pt x="397270" y="108588"/>
                </a:moveTo>
                <a:lnTo>
                  <a:pt x="383675" y="108588"/>
                </a:lnTo>
                <a:lnTo>
                  <a:pt x="383675" y="18357"/>
                </a:lnTo>
                <a:lnTo>
                  <a:pt x="354094" y="41071"/>
                </a:lnTo>
                <a:lnTo>
                  <a:pt x="354094" y="26011"/>
                </a:lnTo>
                <a:lnTo>
                  <a:pt x="385916" y="1493"/>
                </a:lnTo>
                <a:lnTo>
                  <a:pt x="397270" y="1493"/>
                </a:lnTo>
                <a:lnTo>
                  <a:pt x="397270" y="108588"/>
                </a:lnTo>
                <a:close/>
                <a:moveTo>
                  <a:pt x="428764" y="35844"/>
                </a:moveTo>
                <a:cubicBezTo>
                  <a:pt x="428764" y="28687"/>
                  <a:pt x="430308" y="22402"/>
                  <a:pt x="433395" y="17051"/>
                </a:cubicBezTo>
                <a:cubicBezTo>
                  <a:pt x="436582" y="11637"/>
                  <a:pt x="440865" y="7467"/>
                  <a:pt x="446243" y="4480"/>
                </a:cubicBezTo>
                <a:cubicBezTo>
                  <a:pt x="451622" y="1493"/>
                  <a:pt x="457647" y="0"/>
                  <a:pt x="464321" y="0"/>
                </a:cubicBezTo>
                <a:cubicBezTo>
                  <a:pt x="473284" y="0"/>
                  <a:pt x="480505" y="1929"/>
                  <a:pt x="485983" y="5849"/>
                </a:cubicBezTo>
                <a:cubicBezTo>
                  <a:pt x="491561" y="9645"/>
                  <a:pt x="495594" y="14934"/>
                  <a:pt x="498084" y="21842"/>
                </a:cubicBezTo>
                <a:cubicBezTo>
                  <a:pt x="500574" y="28563"/>
                  <a:pt x="501819" y="36466"/>
                  <a:pt x="501819" y="45426"/>
                </a:cubicBezTo>
                <a:cubicBezTo>
                  <a:pt x="501819" y="58868"/>
                  <a:pt x="500275" y="70380"/>
                  <a:pt x="497188" y="80088"/>
                </a:cubicBezTo>
                <a:cubicBezTo>
                  <a:pt x="494100" y="89733"/>
                  <a:pt x="489320" y="97138"/>
                  <a:pt x="482846" y="102303"/>
                </a:cubicBezTo>
                <a:cubicBezTo>
                  <a:pt x="476472" y="107468"/>
                  <a:pt x="468304" y="110082"/>
                  <a:pt x="458345" y="110082"/>
                </a:cubicBezTo>
                <a:cubicBezTo>
                  <a:pt x="449381" y="110082"/>
                  <a:pt x="441712" y="108215"/>
                  <a:pt x="435337" y="104543"/>
                </a:cubicBezTo>
                <a:lnTo>
                  <a:pt x="435337" y="91413"/>
                </a:lnTo>
                <a:cubicBezTo>
                  <a:pt x="442110" y="95769"/>
                  <a:pt x="449779" y="98010"/>
                  <a:pt x="458345" y="98010"/>
                </a:cubicBezTo>
                <a:cubicBezTo>
                  <a:pt x="464520" y="98010"/>
                  <a:pt x="469699" y="96267"/>
                  <a:pt x="473882" y="92907"/>
                </a:cubicBezTo>
                <a:cubicBezTo>
                  <a:pt x="478065" y="89546"/>
                  <a:pt x="481302" y="84941"/>
                  <a:pt x="483593" y="79154"/>
                </a:cubicBezTo>
                <a:cubicBezTo>
                  <a:pt x="485983" y="73367"/>
                  <a:pt x="487427" y="66896"/>
                  <a:pt x="487925" y="59739"/>
                </a:cubicBezTo>
                <a:cubicBezTo>
                  <a:pt x="484838" y="63660"/>
                  <a:pt x="481153" y="66522"/>
                  <a:pt x="476870" y="68389"/>
                </a:cubicBezTo>
                <a:cubicBezTo>
                  <a:pt x="472587" y="70193"/>
                  <a:pt x="467956" y="71127"/>
                  <a:pt x="462976" y="71127"/>
                </a:cubicBezTo>
                <a:cubicBezTo>
                  <a:pt x="456602" y="71127"/>
                  <a:pt x="450825" y="69758"/>
                  <a:pt x="445646" y="67082"/>
                </a:cubicBezTo>
                <a:cubicBezTo>
                  <a:pt x="440467" y="64406"/>
                  <a:pt x="436333" y="60424"/>
                  <a:pt x="433246" y="55134"/>
                </a:cubicBezTo>
                <a:cubicBezTo>
                  <a:pt x="430258" y="49845"/>
                  <a:pt x="428764" y="43435"/>
                  <a:pt x="428764" y="35844"/>
                </a:cubicBezTo>
                <a:close/>
                <a:moveTo>
                  <a:pt x="464769" y="12134"/>
                </a:moveTo>
                <a:cubicBezTo>
                  <a:pt x="460984" y="12134"/>
                  <a:pt x="457398" y="13006"/>
                  <a:pt x="454012" y="14810"/>
                </a:cubicBezTo>
                <a:cubicBezTo>
                  <a:pt x="450725" y="16490"/>
                  <a:pt x="448036" y="19104"/>
                  <a:pt x="445945" y="22589"/>
                </a:cubicBezTo>
                <a:cubicBezTo>
                  <a:pt x="443953" y="25949"/>
                  <a:pt x="442957" y="30305"/>
                  <a:pt x="442957" y="35532"/>
                </a:cubicBezTo>
                <a:cubicBezTo>
                  <a:pt x="442957" y="40759"/>
                  <a:pt x="443953" y="45116"/>
                  <a:pt x="445945" y="48725"/>
                </a:cubicBezTo>
                <a:cubicBezTo>
                  <a:pt x="447937" y="52271"/>
                  <a:pt x="450476" y="54947"/>
                  <a:pt x="453564" y="56752"/>
                </a:cubicBezTo>
                <a:cubicBezTo>
                  <a:pt x="456651" y="58556"/>
                  <a:pt x="459888" y="59428"/>
                  <a:pt x="463275" y="59428"/>
                </a:cubicBezTo>
                <a:cubicBezTo>
                  <a:pt x="469848" y="59428"/>
                  <a:pt x="475326" y="57437"/>
                  <a:pt x="479708" y="53329"/>
                </a:cubicBezTo>
                <a:cubicBezTo>
                  <a:pt x="484190" y="49160"/>
                  <a:pt x="486431" y="43124"/>
                  <a:pt x="486431" y="35283"/>
                </a:cubicBezTo>
                <a:cubicBezTo>
                  <a:pt x="486431" y="28313"/>
                  <a:pt x="484489" y="22713"/>
                  <a:pt x="480605" y="18544"/>
                </a:cubicBezTo>
                <a:cubicBezTo>
                  <a:pt x="476721" y="14250"/>
                  <a:pt x="471442" y="12134"/>
                  <a:pt x="464769" y="12134"/>
                </a:cubicBezTo>
                <a:close/>
                <a:moveTo>
                  <a:pt x="561548" y="108588"/>
                </a:moveTo>
                <a:lnTo>
                  <a:pt x="547953" y="108588"/>
                </a:lnTo>
                <a:lnTo>
                  <a:pt x="547953" y="18357"/>
                </a:lnTo>
                <a:lnTo>
                  <a:pt x="518372" y="41071"/>
                </a:lnTo>
                <a:lnTo>
                  <a:pt x="518372" y="26011"/>
                </a:lnTo>
                <a:lnTo>
                  <a:pt x="550194" y="1493"/>
                </a:lnTo>
                <a:lnTo>
                  <a:pt x="561548" y="1493"/>
                </a:lnTo>
                <a:lnTo>
                  <a:pt x="561548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2" name="Полилиния 971">
            <a:extLst>
              <a:ext uri="{FF2B5EF4-FFF2-40B4-BE49-F238E27FC236}">
                <a16:creationId xmlns:a16="http://schemas.microsoft.com/office/drawing/2014/main" id="{39AE36A7-77E3-7FD8-4D85-17307BB24F76}"/>
              </a:ext>
            </a:extLst>
          </p:cNvPr>
          <p:cNvSpPr/>
          <p:nvPr userDrawn="1"/>
        </p:nvSpPr>
        <p:spPr>
          <a:xfrm>
            <a:off x="12270615" y="5966300"/>
            <a:ext cx="1398954" cy="726227"/>
          </a:xfrm>
          <a:custGeom>
            <a:avLst/>
            <a:gdLst>
              <a:gd name="connsiteX0" fmla="*/ 0 w 1198727"/>
              <a:gd name="connsiteY0" fmla="*/ 1322 h 622284"/>
              <a:gd name="connsiteX1" fmla="*/ 1198728 w 1198727"/>
              <a:gd name="connsiteY1" fmla="*/ 1322 h 622284"/>
              <a:gd name="connsiteX2" fmla="*/ 1198728 w 1198727"/>
              <a:gd name="connsiteY2" fmla="*/ 623606 h 622284"/>
              <a:gd name="connsiteX3" fmla="*/ 0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322"/>
                </a:moveTo>
                <a:lnTo>
                  <a:pt x="1198728" y="1322"/>
                </a:lnTo>
                <a:lnTo>
                  <a:pt x="1198728" y="623606"/>
                </a:lnTo>
                <a:lnTo>
                  <a:pt x="0" y="623606"/>
                </a:lnTo>
                <a:close/>
              </a:path>
            </a:pathLst>
          </a:custGeom>
          <a:solidFill>
            <a:srgbClr val="00B4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3" name="Полилиния 972">
            <a:extLst>
              <a:ext uri="{FF2B5EF4-FFF2-40B4-BE49-F238E27FC236}">
                <a16:creationId xmlns:a16="http://schemas.microsoft.com/office/drawing/2014/main" id="{735C0F43-D1F7-2D8E-F47C-4A8298D7D3AC}"/>
              </a:ext>
            </a:extLst>
          </p:cNvPr>
          <p:cNvSpPr/>
          <p:nvPr userDrawn="1"/>
        </p:nvSpPr>
        <p:spPr>
          <a:xfrm>
            <a:off x="12393824" y="6268264"/>
            <a:ext cx="714528" cy="128252"/>
          </a:xfrm>
          <a:custGeom>
            <a:avLst/>
            <a:gdLst>
              <a:gd name="connsiteX0" fmla="*/ 22111 w 612261"/>
              <a:gd name="connsiteY0" fmla="*/ 108402 h 109895"/>
              <a:gd name="connsiteX1" fmla="*/ 10159 w 612261"/>
              <a:gd name="connsiteY1" fmla="*/ 108402 h 109895"/>
              <a:gd name="connsiteX2" fmla="*/ 16434 w 612261"/>
              <a:gd name="connsiteY2" fmla="*/ 77475 h 109895"/>
              <a:gd name="connsiteX3" fmla="*/ 0 w 612261"/>
              <a:gd name="connsiteY3" fmla="*/ 77475 h 109895"/>
              <a:gd name="connsiteX4" fmla="*/ 0 w 612261"/>
              <a:gd name="connsiteY4" fmla="*/ 67020 h 109895"/>
              <a:gd name="connsiteX5" fmla="*/ 18675 w 612261"/>
              <a:gd name="connsiteY5" fmla="*/ 67020 h 109895"/>
              <a:gd name="connsiteX6" fmla="*/ 24202 w 612261"/>
              <a:gd name="connsiteY6" fmla="*/ 39826 h 109895"/>
              <a:gd name="connsiteX7" fmla="*/ 4034 w 612261"/>
              <a:gd name="connsiteY7" fmla="*/ 39826 h 109895"/>
              <a:gd name="connsiteX8" fmla="*/ 4034 w 612261"/>
              <a:gd name="connsiteY8" fmla="*/ 29372 h 109895"/>
              <a:gd name="connsiteX9" fmla="*/ 26294 w 612261"/>
              <a:gd name="connsiteY9" fmla="*/ 29372 h 109895"/>
              <a:gd name="connsiteX10" fmla="*/ 32120 w 612261"/>
              <a:gd name="connsiteY10" fmla="*/ 1307 h 109895"/>
              <a:gd name="connsiteX11" fmla="*/ 44072 w 612261"/>
              <a:gd name="connsiteY11" fmla="*/ 1307 h 109895"/>
              <a:gd name="connsiteX12" fmla="*/ 38246 w 612261"/>
              <a:gd name="connsiteY12" fmla="*/ 29372 h 109895"/>
              <a:gd name="connsiteX13" fmla="*/ 60655 w 612261"/>
              <a:gd name="connsiteY13" fmla="*/ 29372 h 109895"/>
              <a:gd name="connsiteX14" fmla="*/ 66482 w 612261"/>
              <a:gd name="connsiteY14" fmla="*/ 1307 h 109895"/>
              <a:gd name="connsiteX15" fmla="*/ 78434 w 612261"/>
              <a:gd name="connsiteY15" fmla="*/ 1307 h 109895"/>
              <a:gd name="connsiteX16" fmla="*/ 72607 w 612261"/>
              <a:gd name="connsiteY16" fmla="*/ 29372 h 109895"/>
              <a:gd name="connsiteX17" fmla="*/ 89340 w 612261"/>
              <a:gd name="connsiteY17" fmla="*/ 29372 h 109895"/>
              <a:gd name="connsiteX18" fmla="*/ 89340 w 612261"/>
              <a:gd name="connsiteY18" fmla="*/ 39826 h 109895"/>
              <a:gd name="connsiteX19" fmla="*/ 70516 w 612261"/>
              <a:gd name="connsiteY19" fmla="*/ 39826 h 109895"/>
              <a:gd name="connsiteX20" fmla="*/ 64988 w 612261"/>
              <a:gd name="connsiteY20" fmla="*/ 67020 h 109895"/>
              <a:gd name="connsiteX21" fmla="*/ 85306 w 612261"/>
              <a:gd name="connsiteY21" fmla="*/ 67020 h 109895"/>
              <a:gd name="connsiteX22" fmla="*/ 85306 w 612261"/>
              <a:gd name="connsiteY22" fmla="*/ 77475 h 109895"/>
              <a:gd name="connsiteX23" fmla="*/ 62747 w 612261"/>
              <a:gd name="connsiteY23" fmla="*/ 77475 h 109895"/>
              <a:gd name="connsiteX24" fmla="*/ 56472 w 612261"/>
              <a:gd name="connsiteY24" fmla="*/ 108402 h 109895"/>
              <a:gd name="connsiteX25" fmla="*/ 44520 w 612261"/>
              <a:gd name="connsiteY25" fmla="*/ 108402 h 109895"/>
              <a:gd name="connsiteX26" fmla="*/ 50795 w 612261"/>
              <a:gd name="connsiteY26" fmla="*/ 77475 h 109895"/>
              <a:gd name="connsiteX27" fmla="*/ 28386 w 612261"/>
              <a:gd name="connsiteY27" fmla="*/ 77475 h 109895"/>
              <a:gd name="connsiteX28" fmla="*/ 22111 w 612261"/>
              <a:gd name="connsiteY28" fmla="*/ 108402 h 109895"/>
              <a:gd name="connsiteX29" fmla="*/ 30626 w 612261"/>
              <a:gd name="connsiteY29" fmla="*/ 67020 h 109895"/>
              <a:gd name="connsiteX30" fmla="*/ 53036 w 612261"/>
              <a:gd name="connsiteY30" fmla="*/ 67020 h 109895"/>
              <a:gd name="connsiteX31" fmla="*/ 58564 w 612261"/>
              <a:gd name="connsiteY31" fmla="*/ 39826 h 109895"/>
              <a:gd name="connsiteX32" fmla="*/ 36154 w 612261"/>
              <a:gd name="connsiteY32" fmla="*/ 39826 h 109895"/>
              <a:gd name="connsiteX33" fmla="*/ 30626 w 612261"/>
              <a:gd name="connsiteY33" fmla="*/ 67020 h 109895"/>
              <a:gd name="connsiteX34" fmla="*/ 136659 w 612261"/>
              <a:gd name="connsiteY34" fmla="*/ 109896 h 109895"/>
              <a:gd name="connsiteX35" fmla="*/ 118432 w 612261"/>
              <a:gd name="connsiteY35" fmla="*/ 104047 h 109895"/>
              <a:gd name="connsiteX36" fmla="*/ 105734 w 612261"/>
              <a:gd name="connsiteY36" fmla="*/ 86125 h 109895"/>
              <a:gd name="connsiteX37" fmla="*/ 101252 w 612261"/>
              <a:gd name="connsiteY37" fmla="*/ 54761 h 109895"/>
              <a:gd name="connsiteX38" fmla="*/ 105734 w 612261"/>
              <a:gd name="connsiteY38" fmla="*/ 23398 h 109895"/>
              <a:gd name="connsiteX39" fmla="*/ 118432 w 612261"/>
              <a:gd name="connsiteY39" fmla="*/ 5663 h 109895"/>
              <a:gd name="connsiteX40" fmla="*/ 136659 w 612261"/>
              <a:gd name="connsiteY40" fmla="*/ 0 h 109895"/>
              <a:gd name="connsiteX41" fmla="*/ 154736 w 612261"/>
              <a:gd name="connsiteY41" fmla="*/ 5663 h 109895"/>
              <a:gd name="connsiteX42" fmla="*/ 167136 w 612261"/>
              <a:gd name="connsiteY42" fmla="*/ 23398 h 109895"/>
              <a:gd name="connsiteX43" fmla="*/ 171618 w 612261"/>
              <a:gd name="connsiteY43" fmla="*/ 54512 h 109895"/>
              <a:gd name="connsiteX44" fmla="*/ 167136 w 612261"/>
              <a:gd name="connsiteY44" fmla="*/ 85876 h 109895"/>
              <a:gd name="connsiteX45" fmla="*/ 154736 w 612261"/>
              <a:gd name="connsiteY45" fmla="*/ 104047 h 109895"/>
              <a:gd name="connsiteX46" fmla="*/ 136659 w 612261"/>
              <a:gd name="connsiteY46" fmla="*/ 109896 h 109895"/>
              <a:gd name="connsiteX47" fmla="*/ 136509 w 612261"/>
              <a:gd name="connsiteY47" fmla="*/ 98072 h 109895"/>
              <a:gd name="connsiteX48" fmla="*/ 147864 w 612261"/>
              <a:gd name="connsiteY48" fmla="*/ 94089 h 109895"/>
              <a:gd name="connsiteX49" fmla="*/ 155035 w 612261"/>
              <a:gd name="connsiteY49" fmla="*/ 80462 h 109895"/>
              <a:gd name="connsiteX50" fmla="*/ 157575 w 612261"/>
              <a:gd name="connsiteY50" fmla="*/ 54948 h 109895"/>
              <a:gd name="connsiteX51" fmla="*/ 155184 w 612261"/>
              <a:gd name="connsiteY51" fmla="*/ 29559 h 109895"/>
              <a:gd name="connsiteX52" fmla="*/ 148013 w 612261"/>
              <a:gd name="connsiteY52" fmla="*/ 15931 h 109895"/>
              <a:gd name="connsiteX53" fmla="*/ 136659 w 612261"/>
              <a:gd name="connsiteY53" fmla="*/ 11761 h 109895"/>
              <a:gd name="connsiteX54" fmla="*/ 125155 w 612261"/>
              <a:gd name="connsiteY54" fmla="*/ 15931 h 109895"/>
              <a:gd name="connsiteX55" fmla="*/ 117835 w 612261"/>
              <a:gd name="connsiteY55" fmla="*/ 29559 h 109895"/>
              <a:gd name="connsiteX56" fmla="*/ 115295 w 612261"/>
              <a:gd name="connsiteY56" fmla="*/ 54948 h 109895"/>
              <a:gd name="connsiteX57" fmla="*/ 117685 w 612261"/>
              <a:gd name="connsiteY57" fmla="*/ 80462 h 109895"/>
              <a:gd name="connsiteX58" fmla="*/ 125006 w 612261"/>
              <a:gd name="connsiteY58" fmla="*/ 94089 h 109895"/>
              <a:gd name="connsiteX59" fmla="*/ 136509 w 612261"/>
              <a:gd name="connsiteY59" fmla="*/ 98072 h 109895"/>
              <a:gd name="connsiteX60" fmla="*/ 218798 w 612261"/>
              <a:gd name="connsiteY60" fmla="*/ 109896 h 109895"/>
              <a:gd name="connsiteX61" fmla="*/ 200572 w 612261"/>
              <a:gd name="connsiteY61" fmla="*/ 104047 h 109895"/>
              <a:gd name="connsiteX62" fmla="*/ 187873 w 612261"/>
              <a:gd name="connsiteY62" fmla="*/ 86125 h 109895"/>
              <a:gd name="connsiteX63" fmla="*/ 183391 w 612261"/>
              <a:gd name="connsiteY63" fmla="*/ 54761 h 109895"/>
              <a:gd name="connsiteX64" fmla="*/ 187873 w 612261"/>
              <a:gd name="connsiteY64" fmla="*/ 23398 h 109895"/>
              <a:gd name="connsiteX65" fmla="*/ 200572 w 612261"/>
              <a:gd name="connsiteY65" fmla="*/ 5663 h 109895"/>
              <a:gd name="connsiteX66" fmla="*/ 218798 w 612261"/>
              <a:gd name="connsiteY66" fmla="*/ 0 h 109895"/>
              <a:gd name="connsiteX67" fmla="*/ 236875 w 612261"/>
              <a:gd name="connsiteY67" fmla="*/ 5663 h 109895"/>
              <a:gd name="connsiteX68" fmla="*/ 249275 w 612261"/>
              <a:gd name="connsiteY68" fmla="*/ 23398 h 109895"/>
              <a:gd name="connsiteX69" fmla="*/ 253757 w 612261"/>
              <a:gd name="connsiteY69" fmla="*/ 54512 h 109895"/>
              <a:gd name="connsiteX70" fmla="*/ 249275 w 612261"/>
              <a:gd name="connsiteY70" fmla="*/ 85876 h 109895"/>
              <a:gd name="connsiteX71" fmla="*/ 236875 w 612261"/>
              <a:gd name="connsiteY71" fmla="*/ 104047 h 109895"/>
              <a:gd name="connsiteX72" fmla="*/ 218798 w 612261"/>
              <a:gd name="connsiteY72" fmla="*/ 109896 h 109895"/>
              <a:gd name="connsiteX73" fmla="*/ 218649 w 612261"/>
              <a:gd name="connsiteY73" fmla="*/ 98072 h 109895"/>
              <a:gd name="connsiteX74" fmla="*/ 230003 w 612261"/>
              <a:gd name="connsiteY74" fmla="*/ 94089 h 109895"/>
              <a:gd name="connsiteX75" fmla="*/ 237174 w 612261"/>
              <a:gd name="connsiteY75" fmla="*/ 80462 h 109895"/>
              <a:gd name="connsiteX76" fmla="*/ 239714 w 612261"/>
              <a:gd name="connsiteY76" fmla="*/ 54948 h 109895"/>
              <a:gd name="connsiteX77" fmla="*/ 237324 w 612261"/>
              <a:gd name="connsiteY77" fmla="*/ 29559 h 109895"/>
              <a:gd name="connsiteX78" fmla="*/ 230152 w 612261"/>
              <a:gd name="connsiteY78" fmla="*/ 15931 h 109895"/>
              <a:gd name="connsiteX79" fmla="*/ 218798 w 612261"/>
              <a:gd name="connsiteY79" fmla="*/ 11761 h 109895"/>
              <a:gd name="connsiteX80" fmla="*/ 207295 w 612261"/>
              <a:gd name="connsiteY80" fmla="*/ 15931 h 109895"/>
              <a:gd name="connsiteX81" fmla="*/ 199974 w 612261"/>
              <a:gd name="connsiteY81" fmla="*/ 29559 h 109895"/>
              <a:gd name="connsiteX82" fmla="*/ 197434 w 612261"/>
              <a:gd name="connsiteY82" fmla="*/ 54948 h 109895"/>
              <a:gd name="connsiteX83" fmla="*/ 199825 w 612261"/>
              <a:gd name="connsiteY83" fmla="*/ 80462 h 109895"/>
              <a:gd name="connsiteX84" fmla="*/ 207145 w 612261"/>
              <a:gd name="connsiteY84" fmla="*/ 94089 h 109895"/>
              <a:gd name="connsiteX85" fmla="*/ 218649 w 612261"/>
              <a:gd name="connsiteY85" fmla="*/ 98072 h 109895"/>
              <a:gd name="connsiteX86" fmla="*/ 272104 w 612261"/>
              <a:gd name="connsiteY86" fmla="*/ 1307 h 109895"/>
              <a:gd name="connsiteX87" fmla="*/ 308408 w 612261"/>
              <a:gd name="connsiteY87" fmla="*/ 1307 h 109895"/>
              <a:gd name="connsiteX88" fmla="*/ 335150 w 612261"/>
              <a:gd name="connsiteY88" fmla="*/ 7281 h 109895"/>
              <a:gd name="connsiteX89" fmla="*/ 344413 w 612261"/>
              <a:gd name="connsiteY89" fmla="*/ 27443 h 109895"/>
              <a:gd name="connsiteX90" fmla="*/ 338586 w 612261"/>
              <a:gd name="connsiteY90" fmla="*/ 44930 h 109895"/>
              <a:gd name="connsiteX91" fmla="*/ 323049 w 612261"/>
              <a:gd name="connsiteY91" fmla="*/ 52832 h 109895"/>
              <a:gd name="connsiteX92" fmla="*/ 341873 w 612261"/>
              <a:gd name="connsiteY92" fmla="*/ 60175 h 109895"/>
              <a:gd name="connsiteX93" fmla="*/ 348297 w 612261"/>
              <a:gd name="connsiteY93" fmla="*/ 77475 h 109895"/>
              <a:gd name="connsiteX94" fmla="*/ 343068 w 612261"/>
              <a:gd name="connsiteY94" fmla="*/ 95397 h 109895"/>
              <a:gd name="connsiteX95" fmla="*/ 328726 w 612261"/>
              <a:gd name="connsiteY95" fmla="*/ 105415 h 109895"/>
              <a:gd name="connsiteX96" fmla="*/ 308109 w 612261"/>
              <a:gd name="connsiteY96" fmla="*/ 108402 h 109895"/>
              <a:gd name="connsiteX97" fmla="*/ 272104 w 612261"/>
              <a:gd name="connsiteY97" fmla="*/ 108402 h 109895"/>
              <a:gd name="connsiteX98" fmla="*/ 272104 w 612261"/>
              <a:gd name="connsiteY98" fmla="*/ 1307 h 109895"/>
              <a:gd name="connsiteX99" fmla="*/ 307362 w 612261"/>
              <a:gd name="connsiteY99" fmla="*/ 47045 h 109895"/>
              <a:gd name="connsiteX100" fmla="*/ 323796 w 612261"/>
              <a:gd name="connsiteY100" fmla="*/ 42565 h 109895"/>
              <a:gd name="connsiteX101" fmla="*/ 330220 w 612261"/>
              <a:gd name="connsiteY101" fmla="*/ 28190 h 109895"/>
              <a:gd name="connsiteX102" fmla="*/ 324543 w 612261"/>
              <a:gd name="connsiteY102" fmla="*/ 17175 h 109895"/>
              <a:gd name="connsiteX103" fmla="*/ 308408 w 612261"/>
              <a:gd name="connsiteY103" fmla="*/ 14188 h 109895"/>
              <a:gd name="connsiteX104" fmla="*/ 286148 w 612261"/>
              <a:gd name="connsiteY104" fmla="*/ 14188 h 109895"/>
              <a:gd name="connsiteX105" fmla="*/ 286148 w 612261"/>
              <a:gd name="connsiteY105" fmla="*/ 47045 h 109895"/>
              <a:gd name="connsiteX106" fmla="*/ 307362 w 612261"/>
              <a:gd name="connsiteY106" fmla="*/ 47045 h 109895"/>
              <a:gd name="connsiteX107" fmla="*/ 308109 w 612261"/>
              <a:gd name="connsiteY107" fmla="*/ 95707 h 109895"/>
              <a:gd name="connsiteX108" fmla="*/ 326485 w 612261"/>
              <a:gd name="connsiteY108" fmla="*/ 91849 h 109895"/>
              <a:gd name="connsiteX109" fmla="*/ 333507 w 612261"/>
              <a:gd name="connsiteY109" fmla="*/ 77786 h 109895"/>
              <a:gd name="connsiteX110" fmla="*/ 326933 w 612261"/>
              <a:gd name="connsiteY110" fmla="*/ 63722 h 109895"/>
              <a:gd name="connsiteX111" fmla="*/ 306466 w 612261"/>
              <a:gd name="connsiteY111" fmla="*/ 59740 h 109895"/>
              <a:gd name="connsiteX112" fmla="*/ 286148 w 612261"/>
              <a:gd name="connsiteY112" fmla="*/ 59740 h 109895"/>
              <a:gd name="connsiteX113" fmla="*/ 286148 w 612261"/>
              <a:gd name="connsiteY113" fmla="*/ 95707 h 109895"/>
              <a:gd name="connsiteX114" fmla="*/ 308109 w 612261"/>
              <a:gd name="connsiteY114" fmla="*/ 95707 h 109895"/>
              <a:gd name="connsiteX115" fmla="*/ 419340 w 612261"/>
              <a:gd name="connsiteY115" fmla="*/ 108402 h 109895"/>
              <a:gd name="connsiteX116" fmla="*/ 406193 w 612261"/>
              <a:gd name="connsiteY116" fmla="*/ 108402 h 109895"/>
              <a:gd name="connsiteX117" fmla="*/ 406193 w 612261"/>
              <a:gd name="connsiteY117" fmla="*/ 83013 h 109895"/>
              <a:gd name="connsiteX118" fmla="*/ 359880 w 612261"/>
              <a:gd name="connsiteY118" fmla="*/ 83013 h 109895"/>
              <a:gd name="connsiteX119" fmla="*/ 359880 w 612261"/>
              <a:gd name="connsiteY119" fmla="*/ 73741 h 109895"/>
              <a:gd name="connsiteX120" fmla="*/ 401711 w 612261"/>
              <a:gd name="connsiteY120" fmla="*/ 1307 h 109895"/>
              <a:gd name="connsiteX121" fmla="*/ 419340 w 612261"/>
              <a:gd name="connsiteY121" fmla="*/ 1307 h 109895"/>
              <a:gd name="connsiteX122" fmla="*/ 419340 w 612261"/>
              <a:gd name="connsiteY122" fmla="*/ 71687 h 109895"/>
              <a:gd name="connsiteX123" fmla="*/ 433832 w 612261"/>
              <a:gd name="connsiteY123" fmla="*/ 71687 h 109895"/>
              <a:gd name="connsiteX124" fmla="*/ 433832 w 612261"/>
              <a:gd name="connsiteY124" fmla="*/ 83013 h 109895"/>
              <a:gd name="connsiteX125" fmla="*/ 419340 w 612261"/>
              <a:gd name="connsiteY125" fmla="*/ 83013 h 109895"/>
              <a:gd name="connsiteX126" fmla="*/ 419340 w 612261"/>
              <a:gd name="connsiteY126" fmla="*/ 108402 h 109895"/>
              <a:gd name="connsiteX127" fmla="*/ 373475 w 612261"/>
              <a:gd name="connsiteY127" fmla="*/ 71687 h 109895"/>
              <a:gd name="connsiteX128" fmla="*/ 406193 w 612261"/>
              <a:gd name="connsiteY128" fmla="*/ 71687 h 109895"/>
              <a:gd name="connsiteX129" fmla="*/ 406193 w 612261"/>
              <a:gd name="connsiteY129" fmla="*/ 15931 h 109895"/>
              <a:gd name="connsiteX130" fmla="*/ 373475 w 612261"/>
              <a:gd name="connsiteY130" fmla="*/ 71687 h 109895"/>
              <a:gd name="connsiteX131" fmla="*/ 450535 w 612261"/>
              <a:gd name="connsiteY131" fmla="*/ 1307 h 109895"/>
              <a:gd name="connsiteX132" fmla="*/ 486838 w 612261"/>
              <a:gd name="connsiteY132" fmla="*/ 1307 h 109895"/>
              <a:gd name="connsiteX133" fmla="*/ 513581 w 612261"/>
              <a:gd name="connsiteY133" fmla="*/ 7281 h 109895"/>
              <a:gd name="connsiteX134" fmla="*/ 522841 w 612261"/>
              <a:gd name="connsiteY134" fmla="*/ 27443 h 109895"/>
              <a:gd name="connsiteX135" fmla="*/ 517015 w 612261"/>
              <a:gd name="connsiteY135" fmla="*/ 44930 h 109895"/>
              <a:gd name="connsiteX136" fmla="*/ 501479 w 612261"/>
              <a:gd name="connsiteY136" fmla="*/ 52832 h 109895"/>
              <a:gd name="connsiteX137" fmla="*/ 520302 w 612261"/>
              <a:gd name="connsiteY137" fmla="*/ 60175 h 109895"/>
              <a:gd name="connsiteX138" fmla="*/ 526726 w 612261"/>
              <a:gd name="connsiteY138" fmla="*/ 77475 h 109895"/>
              <a:gd name="connsiteX139" fmla="*/ 521497 w 612261"/>
              <a:gd name="connsiteY139" fmla="*/ 95397 h 109895"/>
              <a:gd name="connsiteX140" fmla="*/ 507156 w 612261"/>
              <a:gd name="connsiteY140" fmla="*/ 105415 h 109895"/>
              <a:gd name="connsiteX141" fmla="*/ 486540 w 612261"/>
              <a:gd name="connsiteY141" fmla="*/ 108402 h 109895"/>
              <a:gd name="connsiteX142" fmla="*/ 450535 w 612261"/>
              <a:gd name="connsiteY142" fmla="*/ 108402 h 109895"/>
              <a:gd name="connsiteX143" fmla="*/ 450535 w 612261"/>
              <a:gd name="connsiteY143" fmla="*/ 1307 h 109895"/>
              <a:gd name="connsiteX144" fmla="*/ 485793 w 612261"/>
              <a:gd name="connsiteY144" fmla="*/ 47045 h 109895"/>
              <a:gd name="connsiteX145" fmla="*/ 502226 w 612261"/>
              <a:gd name="connsiteY145" fmla="*/ 42565 h 109895"/>
              <a:gd name="connsiteX146" fmla="*/ 508651 w 612261"/>
              <a:gd name="connsiteY146" fmla="*/ 28190 h 109895"/>
              <a:gd name="connsiteX147" fmla="*/ 502973 w 612261"/>
              <a:gd name="connsiteY147" fmla="*/ 17175 h 109895"/>
              <a:gd name="connsiteX148" fmla="*/ 486838 w 612261"/>
              <a:gd name="connsiteY148" fmla="*/ 14188 h 109895"/>
              <a:gd name="connsiteX149" fmla="*/ 464578 w 612261"/>
              <a:gd name="connsiteY149" fmla="*/ 14188 h 109895"/>
              <a:gd name="connsiteX150" fmla="*/ 464578 w 612261"/>
              <a:gd name="connsiteY150" fmla="*/ 47045 h 109895"/>
              <a:gd name="connsiteX151" fmla="*/ 485793 w 612261"/>
              <a:gd name="connsiteY151" fmla="*/ 47045 h 109895"/>
              <a:gd name="connsiteX152" fmla="*/ 486540 w 612261"/>
              <a:gd name="connsiteY152" fmla="*/ 95707 h 109895"/>
              <a:gd name="connsiteX153" fmla="*/ 504916 w 612261"/>
              <a:gd name="connsiteY153" fmla="*/ 91849 h 109895"/>
              <a:gd name="connsiteX154" fmla="*/ 511937 w 612261"/>
              <a:gd name="connsiteY154" fmla="*/ 77786 h 109895"/>
              <a:gd name="connsiteX155" fmla="*/ 505364 w 612261"/>
              <a:gd name="connsiteY155" fmla="*/ 63722 h 109895"/>
              <a:gd name="connsiteX156" fmla="*/ 484896 w 612261"/>
              <a:gd name="connsiteY156" fmla="*/ 59740 h 109895"/>
              <a:gd name="connsiteX157" fmla="*/ 464578 w 612261"/>
              <a:gd name="connsiteY157" fmla="*/ 59740 h 109895"/>
              <a:gd name="connsiteX158" fmla="*/ 464578 w 612261"/>
              <a:gd name="connsiteY158" fmla="*/ 95707 h 109895"/>
              <a:gd name="connsiteX159" fmla="*/ 486540 w 612261"/>
              <a:gd name="connsiteY159" fmla="*/ 95707 h 109895"/>
              <a:gd name="connsiteX160" fmla="*/ 597770 w 612261"/>
              <a:gd name="connsiteY160" fmla="*/ 108402 h 109895"/>
              <a:gd name="connsiteX161" fmla="*/ 584623 w 612261"/>
              <a:gd name="connsiteY161" fmla="*/ 108402 h 109895"/>
              <a:gd name="connsiteX162" fmla="*/ 584623 w 612261"/>
              <a:gd name="connsiteY162" fmla="*/ 83013 h 109895"/>
              <a:gd name="connsiteX163" fmla="*/ 538310 w 612261"/>
              <a:gd name="connsiteY163" fmla="*/ 83013 h 109895"/>
              <a:gd name="connsiteX164" fmla="*/ 538310 w 612261"/>
              <a:gd name="connsiteY164" fmla="*/ 73741 h 109895"/>
              <a:gd name="connsiteX165" fmla="*/ 580142 w 612261"/>
              <a:gd name="connsiteY165" fmla="*/ 1307 h 109895"/>
              <a:gd name="connsiteX166" fmla="*/ 597770 w 612261"/>
              <a:gd name="connsiteY166" fmla="*/ 1307 h 109895"/>
              <a:gd name="connsiteX167" fmla="*/ 597770 w 612261"/>
              <a:gd name="connsiteY167" fmla="*/ 71687 h 109895"/>
              <a:gd name="connsiteX168" fmla="*/ 612262 w 612261"/>
              <a:gd name="connsiteY168" fmla="*/ 71687 h 109895"/>
              <a:gd name="connsiteX169" fmla="*/ 612262 w 612261"/>
              <a:gd name="connsiteY169" fmla="*/ 83013 h 109895"/>
              <a:gd name="connsiteX170" fmla="*/ 597770 w 612261"/>
              <a:gd name="connsiteY170" fmla="*/ 83013 h 109895"/>
              <a:gd name="connsiteX171" fmla="*/ 597770 w 612261"/>
              <a:gd name="connsiteY171" fmla="*/ 108402 h 109895"/>
              <a:gd name="connsiteX172" fmla="*/ 551905 w 612261"/>
              <a:gd name="connsiteY172" fmla="*/ 71687 h 109895"/>
              <a:gd name="connsiteX173" fmla="*/ 584623 w 612261"/>
              <a:gd name="connsiteY173" fmla="*/ 71687 h 109895"/>
              <a:gd name="connsiteX174" fmla="*/ 584623 w 612261"/>
              <a:gd name="connsiteY174" fmla="*/ 15931 h 109895"/>
              <a:gd name="connsiteX175" fmla="*/ 551905 w 612261"/>
              <a:gd name="connsiteY175" fmla="*/ 7168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612261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36659" y="109896"/>
                </a:moveTo>
                <a:cubicBezTo>
                  <a:pt x="129886" y="109896"/>
                  <a:pt x="123811" y="107967"/>
                  <a:pt x="118432" y="104047"/>
                </a:cubicBezTo>
                <a:cubicBezTo>
                  <a:pt x="113054" y="100188"/>
                  <a:pt x="108821" y="94214"/>
                  <a:pt x="105734" y="86125"/>
                </a:cubicBezTo>
                <a:cubicBezTo>
                  <a:pt x="102746" y="77972"/>
                  <a:pt x="101252" y="67518"/>
                  <a:pt x="101252" y="54761"/>
                </a:cubicBezTo>
                <a:cubicBezTo>
                  <a:pt x="101252" y="41942"/>
                  <a:pt x="102746" y="31488"/>
                  <a:pt x="105734" y="23398"/>
                </a:cubicBezTo>
                <a:cubicBezTo>
                  <a:pt x="108821" y="15371"/>
                  <a:pt x="113054" y="9459"/>
                  <a:pt x="118432" y="5663"/>
                </a:cubicBezTo>
                <a:cubicBezTo>
                  <a:pt x="123811" y="1867"/>
                  <a:pt x="129886" y="0"/>
                  <a:pt x="136659" y="0"/>
                </a:cubicBezTo>
                <a:cubicBezTo>
                  <a:pt x="143432" y="0"/>
                  <a:pt x="149457" y="1867"/>
                  <a:pt x="154736" y="5663"/>
                </a:cubicBezTo>
                <a:cubicBezTo>
                  <a:pt x="160015" y="9459"/>
                  <a:pt x="164148" y="15371"/>
                  <a:pt x="167136" y="23398"/>
                </a:cubicBezTo>
                <a:cubicBezTo>
                  <a:pt x="170124" y="31363"/>
                  <a:pt x="171618" y="41756"/>
                  <a:pt x="171618" y="54512"/>
                </a:cubicBezTo>
                <a:cubicBezTo>
                  <a:pt x="171618" y="67145"/>
                  <a:pt x="170124" y="77599"/>
                  <a:pt x="167136" y="85876"/>
                </a:cubicBezTo>
                <a:cubicBezTo>
                  <a:pt x="164148" y="94027"/>
                  <a:pt x="160015" y="100064"/>
                  <a:pt x="154736" y="104047"/>
                </a:cubicBezTo>
                <a:cubicBezTo>
                  <a:pt x="149457" y="107967"/>
                  <a:pt x="143432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40991" y="98072"/>
                  <a:pt x="144776" y="96766"/>
                  <a:pt x="147864" y="94089"/>
                </a:cubicBezTo>
                <a:cubicBezTo>
                  <a:pt x="151051" y="91289"/>
                  <a:pt x="153441" y="86747"/>
                  <a:pt x="155035" y="80462"/>
                </a:cubicBezTo>
                <a:cubicBezTo>
                  <a:pt x="156728" y="74114"/>
                  <a:pt x="157575" y="65589"/>
                  <a:pt x="157575" y="54948"/>
                </a:cubicBezTo>
                <a:cubicBezTo>
                  <a:pt x="157575" y="44307"/>
                  <a:pt x="156778" y="35844"/>
                  <a:pt x="155184" y="29559"/>
                </a:cubicBezTo>
                <a:cubicBezTo>
                  <a:pt x="153591" y="23150"/>
                  <a:pt x="151200" y="18669"/>
                  <a:pt x="148013" y="15931"/>
                </a:cubicBezTo>
                <a:cubicBezTo>
                  <a:pt x="144926" y="13192"/>
                  <a:pt x="141141" y="11761"/>
                  <a:pt x="136659" y="11761"/>
                </a:cubicBezTo>
                <a:cubicBezTo>
                  <a:pt x="132177" y="11761"/>
                  <a:pt x="128342" y="13192"/>
                  <a:pt x="125155" y="15931"/>
                </a:cubicBezTo>
                <a:cubicBezTo>
                  <a:pt x="121968" y="18669"/>
                  <a:pt x="119528" y="23150"/>
                  <a:pt x="117835" y="29559"/>
                </a:cubicBezTo>
                <a:cubicBezTo>
                  <a:pt x="116142" y="35844"/>
                  <a:pt x="115295" y="44307"/>
                  <a:pt x="115295" y="54948"/>
                </a:cubicBezTo>
                <a:cubicBezTo>
                  <a:pt x="115295" y="65589"/>
                  <a:pt x="116092" y="74114"/>
                  <a:pt x="117685" y="80462"/>
                </a:cubicBezTo>
                <a:cubicBezTo>
                  <a:pt x="119379" y="86747"/>
                  <a:pt x="121819" y="91289"/>
                  <a:pt x="125006" y="94089"/>
                </a:cubicBezTo>
                <a:cubicBezTo>
                  <a:pt x="128193" y="96766"/>
                  <a:pt x="132028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2026" y="109896"/>
                  <a:pt x="205950" y="107967"/>
                  <a:pt x="200572" y="104047"/>
                </a:cubicBezTo>
                <a:cubicBezTo>
                  <a:pt x="195193" y="100188"/>
                  <a:pt x="190961" y="94214"/>
                  <a:pt x="187873" y="86125"/>
                </a:cubicBezTo>
                <a:cubicBezTo>
                  <a:pt x="184885" y="77972"/>
                  <a:pt x="183391" y="67518"/>
                  <a:pt x="183391" y="54761"/>
                </a:cubicBezTo>
                <a:cubicBezTo>
                  <a:pt x="183391" y="41942"/>
                  <a:pt x="184885" y="31488"/>
                  <a:pt x="187873" y="23398"/>
                </a:cubicBezTo>
                <a:cubicBezTo>
                  <a:pt x="190961" y="15371"/>
                  <a:pt x="195193" y="9459"/>
                  <a:pt x="200572" y="5663"/>
                </a:cubicBezTo>
                <a:cubicBezTo>
                  <a:pt x="205950" y="1867"/>
                  <a:pt x="212026" y="0"/>
                  <a:pt x="218798" y="0"/>
                </a:cubicBezTo>
                <a:cubicBezTo>
                  <a:pt x="225571" y="0"/>
                  <a:pt x="231597" y="1867"/>
                  <a:pt x="236875" y="5663"/>
                </a:cubicBezTo>
                <a:cubicBezTo>
                  <a:pt x="242154" y="9459"/>
                  <a:pt x="246287" y="15371"/>
                  <a:pt x="249275" y="23398"/>
                </a:cubicBezTo>
                <a:cubicBezTo>
                  <a:pt x="252263" y="31363"/>
                  <a:pt x="253757" y="41756"/>
                  <a:pt x="253757" y="54512"/>
                </a:cubicBezTo>
                <a:cubicBezTo>
                  <a:pt x="253757" y="67145"/>
                  <a:pt x="252263" y="77599"/>
                  <a:pt x="249275" y="85876"/>
                </a:cubicBezTo>
                <a:cubicBezTo>
                  <a:pt x="246287" y="94027"/>
                  <a:pt x="242154" y="100064"/>
                  <a:pt x="236875" y="104047"/>
                </a:cubicBezTo>
                <a:cubicBezTo>
                  <a:pt x="231597" y="107967"/>
                  <a:pt x="225571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3131" y="98072"/>
                  <a:pt x="226915" y="96766"/>
                  <a:pt x="230003" y="94089"/>
                </a:cubicBezTo>
                <a:cubicBezTo>
                  <a:pt x="233190" y="91289"/>
                  <a:pt x="235581" y="86747"/>
                  <a:pt x="237174" y="80462"/>
                </a:cubicBezTo>
                <a:cubicBezTo>
                  <a:pt x="238867" y="74114"/>
                  <a:pt x="239714" y="65589"/>
                  <a:pt x="239714" y="54948"/>
                </a:cubicBezTo>
                <a:cubicBezTo>
                  <a:pt x="239714" y="44307"/>
                  <a:pt x="238917" y="35844"/>
                  <a:pt x="237324" y="29559"/>
                </a:cubicBezTo>
                <a:cubicBezTo>
                  <a:pt x="235730" y="23150"/>
                  <a:pt x="233340" y="18669"/>
                  <a:pt x="230152" y="15931"/>
                </a:cubicBezTo>
                <a:cubicBezTo>
                  <a:pt x="227065" y="13192"/>
                  <a:pt x="223280" y="11761"/>
                  <a:pt x="218798" y="11761"/>
                </a:cubicBezTo>
                <a:cubicBezTo>
                  <a:pt x="214316" y="11761"/>
                  <a:pt x="210482" y="13192"/>
                  <a:pt x="207295" y="15931"/>
                </a:cubicBezTo>
                <a:cubicBezTo>
                  <a:pt x="204107" y="18669"/>
                  <a:pt x="201667" y="23150"/>
                  <a:pt x="199974" y="29559"/>
                </a:cubicBezTo>
                <a:cubicBezTo>
                  <a:pt x="198281" y="35844"/>
                  <a:pt x="197434" y="44307"/>
                  <a:pt x="197434" y="54948"/>
                </a:cubicBezTo>
                <a:cubicBezTo>
                  <a:pt x="197434" y="65589"/>
                  <a:pt x="198231" y="74114"/>
                  <a:pt x="199825" y="80462"/>
                </a:cubicBezTo>
                <a:cubicBezTo>
                  <a:pt x="201518" y="86747"/>
                  <a:pt x="203958" y="91289"/>
                  <a:pt x="207145" y="94089"/>
                </a:cubicBezTo>
                <a:cubicBezTo>
                  <a:pt x="210332" y="96766"/>
                  <a:pt x="214167" y="98072"/>
                  <a:pt x="218649" y="98072"/>
                </a:cubicBezTo>
                <a:close/>
                <a:moveTo>
                  <a:pt x="272104" y="1307"/>
                </a:moveTo>
                <a:lnTo>
                  <a:pt x="308408" y="1307"/>
                </a:lnTo>
                <a:cubicBezTo>
                  <a:pt x="320161" y="1307"/>
                  <a:pt x="329075" y="3298"/>
                  <a:pt x="335150" y="7281"/>
                </a:cubicBezTo>
                <a:cubicBezTo>
                  <a:pt x="341325" y="11264"/>
                  <a:pt x="344413" y="17984"/>
                  <a:pt x="344413" y="27443"/>
                </a:cubicBezTo>
                <a:cubicBezTo>
                  <a:pt x="344413" y="35097"/>
                  <a:pt x="342471" y="40947"/>
                  <a:pt x="338586" y="44930"/>
                </a:cubicBezTo>
                <a:cubicBezTo>
                  <a:pt x="334702" y="48788"/>
                  <a:pt x="329523" y="51463"/>
                  <a:pt x="323049" y="52832"/>
                </a:cubicBezTo>
                <a:cubicBezTo>
                  <a:pt x="331316" y="53828"/>
                  <a:pt x="337590" y="56255"/>
                  <a:pt x="341873" y="60175"/>
                </a:cubicBezTo>
                <a:cubicBezTo>
                  <a:pt x="346156" y="63971"/>
                  <a:pt x="348297" y="69696"/>
                  <a:pt x="348297" y="77475"/>
                </a:cubicBezTo>
                <a:cubicBezTo>
                  <a:pt x="348297" y="84880"/>
                  <a:pt x="346554" y="90854"/>
                  <a:pt x="343068" y="95397"/>
                </a:cubicBezTo>
                <a:cubicBezTo>
                  <a:pt x="339582" y="100002"/>
                  <a:pt x="334802" y="103300"/>
                  <a:pt x="328726" y="105415"/>
                </a:cubicBezTo>
                <a:cubicBezTo>
                  <a:pt x="322651" y="107406"/>
                  <a:pt x="315778" y="108402"/>
                  <a:pt x="308109" y="108402"/>
                </a:cubicBez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307362" y="47045"/>
                </a:moveTo>
                <a:cubicBezTo>
                  <a:pt x="314135" y="47045"/>
                  <a:pt x="319613" y="45552"/>
                  <a:pt x="323796" y="42565"/>
                </a:cubicBezTo>
                <a:cubicBezTo>
                  <a:pt x="328079" y="39453"/>
                  <a:pt x="330220" y="34662"/>
                  <a:pt x="330220" y="28190"/>
                </a:cubicBezTo>
                <a:cubicBezTo>
                  <a:pt x="330220" y="22714"/>
                  <a:pt x="328328" y="19042"/>
                  <a:pt x="324543" y="17175"/>
                </a:cubicBezTo>
                <a:cubicBezTo>
                  <a:pt x="320758" y="15184"/>
                  <a:pt x="315380" y="14188"/>
                  <a:pt x="308408" y="14188"/>
                </a:cubicBezTo>
                <a:lnTo>
                  <a:pt x="286148" y="14188"/>
                </a:lnTo>
                <a:lnTo>
                  <a:pt x="286148" y="47045"/>
                </a:lnTo>
                <a:lnTo>
                  <a:pt x="307362" y="47045"/>
                </a:lnTo>
                <a:close/>
                <a:moveTo>
                  <a:pt x="308109" y="95707"/>
                </a:moveTo>
                <a:cubicBezTo>
                  <a:pt x="315679" y="95707"/>
                  <a:pt x="321804" y="94401"/>
                  <a:pt x="326485" y="91849"/>
                </a:cubicBezTo>
                <a:cubicBezTo>
                  <a:pt x="331166" y="89236"/>
                  <a:pt x="333507" y="84569"/>
                  <a:pt x="333507" y="77786"/>
                </a:cubicBezTo>
                <a:cubicBezTo>
                  <a:pt x="333507" y="71003"/>
                  <a:pt x="331316" y="66336"/>
                  <a:pt x="326933" y="63722"/>
                </a:cubicBezTo>
                <a:cubicBezTo>
                  <a:pt x="322651" y="61046"/>
                  <a:pt x="315828" y="59740"/>
                  <a:pt x="306466" y="59740"/>
                </a:cubicBezTo>
                <a:lnTo>
                  <a:pt x="286148" y="59740"/>
                </a:lnTo>
                <a:lnTo>
                  <a:pt x="286148" y="95707"/>
                </a:lnTo>
                <a:lnTo>
                  <a:pt x="308109" y="95707"/>
                </a:lnTo>
                <a:close/>
                <a:moveTo>
                  <a:pt x="419340" y="108402"/>
                </a:moveTo>
                <a:lnTo>
                  <a:pt x="406193" y="108402"/>
                </a:lnTo>
                <a:lnTo>
                  <a:pt x="406193" y="83013"/>
                </a:lnTo>
                <a:lnTo>
                  <a:pt x="359880" y="83013"/>
                </a:lnTo>
                <a:lnTo>
                  <a:pt x="359880" y="73741"/>
                </a:lnTo>
                <a:lnTo>
                  <a:pt x="401711" y="1307"/>
                </a:lnTo>
                <a:lnTo>
                  <a:pt x="419340" y="1307"/>
                </a:lnTo>
                <a:lnTo>
                  <a:pt x="419340" y="71687"/>
                </a:lnTo>
                <a:lnTo>
                  <a:pt x="433832" y="71687"/>
                </a:lnTo>
                <a:lnTo>
                  <a:pt x="433832" y="83013"/>
                </a:lnTo>
                <a:lnTo>
                  <a:pt x="419340" y="83013"/>
                </a:lnTo>
                <a:lnTo>
                  <a:pt x="419340" y="108402"/>
                </a:lnTo>
                <a:close/>
                <a:moveTo>
                  <a:pt x="373475" y="71687"/>
                </a:moveTo>
                <a:lnTo>
                  <a:pt x="406193" y="71687"/>
                </a:lnTo>
                <a:lnTo>
                  <a:pt x="406193" y="15931"/>
                </a:lnTo>
                <a:lnTo>
                  <a:pt x="373475" y="71687"/>
                </a:lnTo>
                <a:close/>
                <a:moveTo>
                  <a:pt x="450535" y="1307"/>
                </a:moveTo>
                <a:lnTo>
                  <a:pt x="486838" y="1307"/>
                </a:lnTo>
                <a:cubicBezTo>
                  <a:pt x="498591" y="1307"/>
                  <a:pt x="507505" y="3298"/>
                  <a:pt x="513581" y="7281"/>
                </a:cubicBezTo>
                <a:cubicBezTo>
                  <a:pt x="519754" y="11264"/>
                  <a:pt x="522841" y="17984"/>
                  <a:pt x="522841" y="27443"/>
                </a:cubicBezTo>
                <a:cubicBezTo>
                  <a:pt x="522841" y="35097"/>
                  <a:pt x="520899" y="40947"/>
                  <a:pt x="517015" y="44930"/>
                </a:cubicBezTo>
                <a:cubicBezTo>
                  <a:pt x="513132" y="48788"/>
                  <a:pt x="507953" y="51463"/>
                  <a:pt x="501479" y="52832"/>
                </a:cubicBezTo>
                <a:cubicBezTo>
                  <a:pt x="509746" y="53828"/>
                  <a:pt x="516021" y="56255"/>
                  <a:pt x="520302" y="60175"/>
                </a:cubicBezTo>
                <a:cubicBezTo>
                  <a:pt x="524584" y="63971"/>
                  <a:pt x="526726" y="69696"/>
                  <a:pt x="526726" y="77475"/>
                </a:cubicBezTo>
                <a:cubicBezTo>
                  <a:pt x="526726" y="84880"/>
                  <a:pt x="524983" y="90854"/>
                  <a:pt x="521497" y="95397"/>
                </a:cubicBezTo>
                <a:cubicBezTo>
                  <a:pt x="518011" y="100002"/>
                  <a:pt x="513232" y="103300"/>
                  <a:pt x="507156" y="105415"/>
                </a:cubicBezTo>
                <a:cubicBezTo>
                  <a:pt x="501081" y="107406"/>
                  <a:pt x="494209" y="108402"/>
                  <a:pt x="486540" y="108402"/>
                </a:cubicBezTo>
                <a:lnTo>
                  <a:pt x="450535" y="108402"/>
                </a:lnTo>
                <a:lnTo>
                  <a:pt x="450535" y="1307"/>
                </a:lnTo>
                <a:close/>
                <a:moveTo>
                  <a:pt x="485793" y="47045"/>
                </a:moveTo>
                <a:cubicBezTo>
                  <a:pt x="492565" y="47045"/>
                  <a:pt x="498043" y="45552"/>
                  <a:pt x="502226" y="42565"/>
                </a:cubicBezTo>
                <a:cubicBezTo>
                  <a:pt x="506509" y="39453"/>
                  <a:pt x="508651" y="34662"/>
                  <a:pt x="508651" y="28190"/>
                </a:cubicBezTo>
                <a:cubicBezTo>
                  <a:pt x="508651" y="22714"/>
                  <a:pt x="506758" y="19042"/>
                  <a:pt x="502973" y="17175"/>
                </a:cubicBezTo>
                <a:cubicBezTo>
                  <a:pt x="499189" y="15184"/>
                  <a:pt x="493810" y="14188"/>
                  <a:pt x="486838" y="14188"/>
                </a:cubicBezTo>
                <a:lnTo>
                  <a:pt x="464578" y="14188"/>
                </a:lnTo>
                <a:lnTo>
                  <a:pt x="464578" y="47045"/>
                </a:lnTo>
                <a:lnTo>
                  <a:pt x="485793" y="47045"/>
                </a:lnTo>
                <a:close/>
                <a:moveTo>
                  <a:pt x="486540" y="95707"/>
                </a:moveTo>
                <a:cubicBezTo>
                  <a:pt x="494109" y="95707"/>
                  <a:pt x="500234" y="94401"/>
                  <a:pt x="504916" y="91849"/>
                </a:cubicBezTo>
                <a:cubicBezTo>
                  <a:pt x="509597" y="89236"/>
                  <a:pt x="511937" y="84569"/>
                  <a:pt x="511937" y="77786"/>
                </a:cubicBezTo>
                <a:cubicBezTo>
                  <a:pt x="511937" y="71003"/>
                  <a:pt x="509746" y="66336"/>
                  <a:pt x="505364" y="63722"/>
                </a:cubicBezTo>
                <a:cubicBezTo>
                  <a:pt x="501081" y="61046"/>
                  <a:pt x="494259" y="59740"/>
                  <a:pt x="484896" y="59740"/>
                </a:cubicBezTo>
                <a:lnTo>
                  <a:pt x="464578" y="59740"/>
                </a:lnTo>
                <a:lnTo>
                  <a:pt x="464578" y="95707"/>
                </a:lnTo>
                <a:lnTo>
                  <a:pt x="486540" y="95707"/>
                </a:lnTo>
                <a:close/>
                <a:moveTo>
                  <a:pt x="597770" y="108402"/>
                </a:moveTo>
                <a:lnTo>
                  <a:pt x="584623" y="108402"/>
                </a:lnTo>
                <a:lnTo>
                  <a:pt x="584623" y="83013"/>
                </a:lnTo>
                <a:lnTo>
                  <a:pt x="538310" y="83013"/>
                </a:lnTo>
                <a:lnTo>
                  <a:pt x="538310" y="73741"/>
                </a:lnTo>
                <a:lnTo>
                  <a:pt x="580142" y="1307"/>
                </a:lnTo>
                <a:lnTo>
                  <a:pt x="597770" y="1307"/>
                </a:lnTo>
                <a:lnTo>
                  <a:pt x="597770" y="71687"/>
                </a:lnTo>
                <a:lnTo>
                  <a:pt x="612262" y="71687"/>
                </a:lnTo>
                <a:lnTo>
                  <a:pt x="612262" y="83013"/>
                </a:lnTo>
                <a:lnTo>
                  <a:pt x="597770" y="83013"/>
                </a:lnTo>
                <a:lnTo>
                  <a:pt x="597770" y="108402"/>
                </a:lnTo>
                <a:close/>
                <a:moveTo>
                  <a:pt x="551905" y="71687"/>
                </a:moveTo>
                <a:lnTo>
                  <a:pt x="584623" y="71687"/>
                </a:lnTo>
                <a:lnTo>
                  <a:pt x="584623" y="15931"/>
                </a:lnTo>
                <a:lnTo>
                  <a:pt x="551905" y="71687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4" name="Полилиния 973">
            <a:extLst>
              <a:ext uri="{FF2B5EF4-FFF2-40B4-BE49-F238E27FC236}">
                <a16:creationId xmlns:a16="http://schemas.microsoft.com/office/drawing/2014/main" id="{8B6FE7B4-4E41-926A-D4DA-23FA7A2FD21F}"/>
              </a:ext>
            </a:extLst>
          </p:cNvPr>
          <p:cNvSpPr/>
          <p:nvPr userDrawn="1"/>
        </p:nvSpPr>
        <p:spPr>
          <a:xfrm>
            <a:off x="12270615" y="6692525"/>
            <a:ext cx="1398954" cy="726227"/>
          </a:xfrm>
          <a:custGeom>
            <a:avLst/>
            <a:gdLst>
              <a:gd name="connsiteX0" fmla="*/ 0 w 1198727"/>
              <a:gd name="connsiteY0" fmla="*/ 1422 h 622284"/>
              <a:gd name="connsiteX1" fmla="*/ 1198728 w 1198727"/>
              <a:gd name="connsiteY1" fmla="*/ 1422 h 622284"/>
              <a:gd name="connsiteX2" fmla="*/ 1198728 w 1198727"/>
              <a:gd name="connsiteY2" fmla="*/ 623706 h 622284"/>
              <a:gd name="connsiteX3" fmla="*/ 0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422"/>
                </a:moveTo>
                <a:lnTo>
                  <a:pt x="1198728" y="1422"/>
                </a:lnTo>
                <a:lnTo>
                  <a:pt x="1198728" y="623706"/>
                </a:lnTo>
                <a:lnTo>
                  <a:pt x="0" y="623706"/>
                </a:lnTo>
                <a:close/>
              </a:path>
            </a:pathLst>
          </a:custGeom>
          <a:solidFill>
            <a:srgbClr val="00D7D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5" name="Полилиния 974">
            <a:extLst>
              <a:ext uri="{FF2B5EF4-FFF2-40B4-BE49-F238E27FC236}">
                <a16:creationId xmlns:a16="http://schemas.microsoft.com/office/drawing/2014/main" id="{35EBDC7A-3654-F06D-AC99-BB38E3B2C2C6}"/>
              </a:ext>
            </a:extLst>
          </p:cNvPr>
          <p:cNvSpPr/>
          <p:nvPr userDrawn="1"/>
        </p:nvSpPr>
        <p:spPr>
          <a:xfrm>
            <a:off x="12393824" y="6994491"/>
            <a:ext cx="751500" cy="128252"/>
          </a:xfrm>
          <a:custGeom>
            <a:avLst/>
            <a:gdLst>
              <a:gd name="connsiteX0" fmla="*/ 50795 w 643940"/>
              <a:gd name="connsiteY0" fmla="*/ 77475 h 109895"/>
              <a:gd name="connsiteX1" fmla="*/ 28386 w 643940"/>
              <a:gd name="connsiteY1" fmla="*/ 77475 h 109895"/>
              <a:gd name="connsiteX2" fmla="*/ 22111 w 643940"/>
              <a:gd name="connsiteY2" fmla="*/ 108402 h 109895"/>
              <a:gd name="connsiteX3" fmla="*/ 10159 w 643940"/>
              <a:gd name="connsiteY3" fmla="*/ 108402 h 109895"/>
              <a:gd name="connsiteX4" fmla="*/ 16434 w 643940"/>
              <a:gd name="connsiteY4" fmla="*/ 77475 h 109895"/>
              <a:gd name="connsiteX5" fmla="*/ 0 w 643940"/>
              <a:gd name="connsiteY5" fmla="*/ 77475 h 109895"/>
              <a:gd name="connsiteX6" fmla="*/ 0 w 643940"/>
              <a:gd name="connsiteY6" fmla="*/ 67020 h 109895"/>
              <a:gd name="connsiteX7" fmla="*/ 18675 w 643940"/>
              <a:gd name="connsiteY7" fmla="*/ 67020 h 109895"/>
              <a:gd name="connsiteX8" fmla="*/ 24202 w 643940"/>
              <a:gd name="connsiteY8" fmla="*/ 39826 h 109895"/>
              <a:gd name="connsiteX9" fmla="*/ 4034 w 643940"/>
              <a:gd name="connsiteY9" fmla="*/ 39826 h 109895"/>
              <a:gd name="connsiteX10" fmla="*/ 4034 w 643940"/>
              <a:gd name="connsiteY10" fmla="*/ 29372 h 109895"/>
              <a:gd name="connsiteX11" fmla="*/ 26294 w 643940"/>
              <a:gd name="connsiteY11" fmla="*/ 29372 h 109895"/>
              <a:gd name="connsiteX12" fmla="*/ 32120 w 643940"/>
              <a:gd name="connsiteY12" fmla="*/ 1307 h 109895"/>
              <a:gd name="connsiteX13" fmla="*/ 44072 w 643940"/>
              <a:gd name="connsiteY13" fmla="*/ 1307 h 109895"/>
              <a:gd name="connsiteX14" fmla="*/ 38246 w 643940"/>
              <a:gd name="connsiteY14" fmla="*/ 29372 h 109895"/>
              <a:gd name="connsiteX15" fmla="*/ 60655 w 643940"/>
              <a:gd name="connsiteY15" fmla="*/ 29372 h 109895"/>
              <a:gd name="connsiteX16" fmla="*/ 66482 w 643940"/>
              <a:gd name="connsiteY16" fmla="*/ 1307 h 109895"/>
              <a:gd name="connsiteX17" fmla="*/ 78434 w 643940"/>
              <a:gd name="connsiteY17" fmla="*/ 1307 h 109895"/>
              <a:gd name="connsiteX18" fmla="*/ 72607 w 643940"/>
              <a:gd name="connsiteY18" fmla="*/ 29372 h 109895"/>
              <a:gd name="connsiteX19" fmla="*/ 89340 w 643940"/>
              <a:gd name="connsiteY19" fmla="*/ 29372 h 109895"/>
              <a:gd name="connsiteX20" fmla="*/ 89340 w 643940"/>
              <a:gd name="connsiteY20" fmla="*/ 39826 h 109895"/>
              <a:gd name="connsiteX21" fmla="*/ 70516 w 643940"/>
              <a:gd name="connsiteY21" fmla="*/ 39826 h 109895"/>
              <a:gd name="connsiteX22" fmla="*/ 64988 w 643940"/>
              <a:gd name="connsiteY22" fmla="*/ 67020 h 109895"/>
              <a:gd name="connsiteX23" fmla="*/ 85306 w 643940"/>
              <a:gd name="connsiteY23" fmla="*/ 67020 h 109895"/>
              <a:gd name="connsiteX24" fmla="*/ 85306 w 643940"/>
              <a:gd name="connsiteY24" fmla="*/ 77475 h 109895"/>
              <a:gd name="connsiteX25" fmla="*/ 62747 w 643940"/>
              <a:gd name="connsiteY25" fmla="*/ 77475 h 109895"/>
              <a:gd name="connsiteX26" fmla="*/ 56472 w 643940"/>
              <a:gd name="connsiteY26" fmla="*/ 108402 h 109895"/>
              <a:gd name="connsiteX27" fmla="*/ 44520 w 643940"/>
              <a:gd name="connsiteY27" fmla="*/ 108402 h 109895"/>
              <a:gd name="connsiteX28" fmla="*/ 50795 w 643940"/>
              <a:gd name="connsiteY28" fmla="*/ 77475 h 109895"/>
              <a:gd name="connsiteX29" fmla="*/ 53036 w 643940"/>
              <a:gd name="connsiteY29" fmla="*/ 67020 h 109895"/>
              <a:gd name="connsiteX30" fmla="*/ 58564 w 643940"/>
              <a:gd name="connsiteY30" fmla="*/ 39826 h 109895"/>
              <a:gd name="connsiteX31" fmla="*/ 36154 w 643940"/>
              <a:gd name="connsiteY31" fmla="*/ 39826 h 109895"/>
              <a:gd name="connsiteX32" fmla="*/ 30626 w 643940"/>
              <a:gd name="connsiteY32" fmla="*/ 67020 h 109895"/>
              <a:gd name="connsiteX33" fmla="*/ 53036 w 643940"/>
              <a:gd name="connsiteY33" fmla="*/ 67020 h 109895"/>
              <a:gd name="connsiteX34" fmla="*/ 136659 w 643940"/>
              <a:gd name="connsiteY34" fmla="*/ 109896 h 109895"/>
              <a:gd name="connsiteX35" fmla="*/ 122466 w 643940"/>
              <a:gd name="connsiteY35" fmla="*/ 106784 h 109895"/>
              <a:gd name="connsiteX36" fmla="*/ 111261 w 643940"/>
              <a:gd name="connsiteY36" fmla="*/ 96766 h 109895"/>
              <a:gd name="connsiteX37" fmla="*/ 103941 w 643940"/>
              <a:gd name="connsiteY37" fmla="*/ 79590 h 109895"/>
              <a:gd name="connsiteX38" fmla="*/ 101252 w 643940"/>
              <a:gd name="connsiteY38" fmla="*/ 54761 h 109895"/>
              <a:gd name="connsiteX39" fmla="*/ 103941 w 643940"/>
              <a:gd name="connsiteY39" fmla="*/ 30119 h 109895"/>
              <a:gd name="connsiteX40" fmla="*/ 111261 w 643940"/>
              <a:gd name="connsiteY40" fmla="*/ 12944 h 109895"/>
              <a:gd name="connsiteX41" fmla="*/ 122466 w 643940"/>
              <a:gd name="connsiteY41" fmla="*/ 3111 h 109895"/>
              <a:gd name="connsiteX42" fmla="*/ 136659 w 643940"/>
              <a:gd name="connsiteY42" fmla="*/ 0 h 109895"/>
              <a:gd name="connsiteX43" fmla="*/ 150702 w 643940"/>
              <a:gd name="connsiteY43" fmla="*/ 3111 h 109895"/>
              <a:gd name="connsiteX44" fmla="*/ 161758 w 643940"/>
              <a:gd name="connsiteY44" fmla="*/ 12944 h 109895"/>
              <a:gd name="connsiteX45" fmla="*/ 168929 w 643940"/>
              <a:gd name="connsiteY45" fmla="*/ 29870 h 109895"/>
              <a:gd name="connsiteX46" fmla="*/ 171618 w 643940"/>
              <a:gd name="connsiteY46" fmla="*/ 54512 h 109895"/>
              <a:gd name="connsiteX47" fmla="*/ 168929 w 643940"/>
              <a:gd name="connsiteY47" fmla="*/ 79279 h 109895"/>
              <a:gd name="connsiteX48" fmla="*/ 161758 w 643940"/>
              <a:gd name="connsiteY48" fmla="*/ 96454 h 109895"/>
              <a:gd name="connsiteX49" fmla="*/ 150702 w 643940"/>
              <a:gd name="connsiteY49" fmla="*/ 106597 h 109895"/>
              <a:gd name="connsiteX50" fmla="*/ 136659 w 643940"/>
              <a:gd name="connsiteY50" fmla="*/ 109896 h 109895"/>
              <a:gd name="connsiteX51" fmla="*/ 136509 w 643940"/>
              <a:gd name="connsiteY51" fmla="*/ 98072 h 109895"/>
              <a:gd name="connsiteX52" fmla="*/ 145473 w 643940"/>
              <a:gd name="connsiteY52" fmla="*/ 95832 h 109895"/>
              <a:gd name="connsiteX53" fmla="*/ 152047 w 643940"/>
              <a:gd name="connsiteY53" fmla="*/ 88552 h 109895"/>
              <a:gd name="connsiteX54" fmla="*/ 156081 w 643940"/>
              <a:gd name="connsiteY54" fmla="*/ 75235 h 109895"/>
              <a:gd name="connsiteX55" fmla="*/ 157575 w 643940"/>
              <a:gd name="connsiteY55" fmla="*/ 54948 h 109895"/>
              <a:gd name="connsiteX56" fmla="*/ 156230 w 643940"/>
              <a:gd name="connsiteY56" fmla="*/ 34786 h 109895"/>
              <a:gd name="connsiteX57" fmla="*/ 152196 w 643940"/>
              <a:gd name="connsiteY57" fmla="*/ 21345 h 109895"/>
              <a:gd name="connsiteX58" fmla="*/ 145623 w 643940"/>
              <a:gd name="connsiteY58" fmla="*/ 14001 h 109895"/>
              <a:gd name="connsiteX59" fmla="*/ 136659 w 643940"/>
              <a:gd name="connsiteY59" fmla="*/ 11761 h 109895"/>
              <a:gd name="connsiteX60" fmla="*/ 127546 w 643940"/>
              <a:gd name="connsiteY60" fmla="*/ 14001 h 109895"/>
              <a:gd name="connsiteX61" fmla="*/ 120823 w 643940"/>
              <a:gd name="connsiteY61" fmla="*/ 21345 h 109895"/>
              <a:gd name="connsiteX62" fmla="*/ 116640 w 643940"/>
              <a:gd name="connsiteY62" fmla="*/ 34786 h 109895"/>
              <a:gd name="connsiteX63" fmla="*/ 115295 w 643940"/>
              <a:gd name="connsiteY63" fmla="*/ 54948 h 109895"/>
              <a:gd name="connsiteX64" fmla="*/ 116640 w 643940"/>
              <a:gd name="connsiteY64" fmla="*/ 75235 h 109895"/>
              <a:gd name="connsiteX65" fmla="*/ 120823 w 643940"/>
              <a:gd name="connsiteY65" fmla="*/ 88552 h 109895"/>
              <a:gd name="connsiteX66" fmla="*/ 127396 w 643940"/>
              <a:gd name="connsiteY66" fmla="*/ 95832 h 109895"/>
              <a:gd name="connsiteX67" fmla="*/ 136509 w 643940"/>
              <a:gd name="connsiteY67" fmla="*/ 98072 h 109895"/>
              <a:gd name="connsiteX68" fmla="*/ 218798 w 643940"/>
              <a:gd name="connsiteY68" fmla="*/ 109896 h 109895"/>
              <a:gd name="connsiteX69" fmla="*/ 204605 w 643940"/>
              <a:gd name="connsiteY69" fmla="*/ 106784 h 109895"/>
              <a:gd name="connsiteX70" fmla="*/ 193401 w 643940"/>
              <a:gd name="connsiteY70" fmla="*/ 96766 h 109895"/>
              <a:gd name="connsiteX71" fmla="*/ 186080 w 643940"/>
              <a:gd name="connsiteY71" fmla="*/ 79590 h 109895"/>
              <a:gd name="connsiteX72" fmla="*/ 183391 w 643940"/>
              <a:gd name="connsiteY72" fmla="*/ 54761 h 109895"/>
              <a:gd name="connsiteX73" fmla="*/ 186080 w 643940"/>
              <a:gd name="connsiteY73" fmla="*/ 30119 h 109895"/>
              <a:gd name="connsiteX74" fmla="*/ 193401 w 643940"/>
              <a:gd name="connsiteY74" fmla="*/ 12944 h 109895"/>
              <a:gd name="connsiteX75" fmla="*/ 204605 w 643940"/>
              <a:gd name="connsiteY75" fmla="*/ 3111 h 109895"/>
              <a:gd name="connsiteX76" fmla="*/ 218798 w 643940"/>
              <a:gd name="connsiteY76" fmla="*/ 0 h 109895"/>
              <a:gd name="connsiteX77" fmla="*/ 232842 w 643940"/>
              <a:gd name="connsiteY77" fmla="*/ 3111 h 109895"/>
              <a:gd name="connsiteX78" fmla="*/ 243897 w 643940"/>
              <a:gd name="connsiteY78" fmla="*/ 12944 h 109895"/>
              <a:gd name="connsiteX79" fmla="*/ 251068 w 643940"/>
              <a:gd name="connsiteY79" fmla="*/ 29870 h 109895"/>
              <a:gd name="connsiteX80" fmla="*/ 253757 w 643940"/>
              <a:gd name="connsiteY80" fmla="*/ 54512 h 109895"/>
              <a:gd name="connsiteX81" fmla="*/ 251068 w 643940"/>
              <a:gd name="connsiteY81" fmla="*/ 79279 h 109895"/>
              <a:gd name="connsiteX82" fmla="*/ 243897 w 643940"/>
              <a:gd name="connsiteY82" fmla="*/ 96454 h 109895"/>
              <a:gd name="connsiteX83" fmla="*/ 232842 w 643940"/>
              <a:gd name="connsiteY83" fmla="*/ 106597 h 109895"/>
              <a:gd name="connsiteX84" fmla="*/ 218798 w 643940"/>
              <a:gd name="connsiteY84" fmla="*/ 109896 h 109895"/>
              <a:gd name="connsiteX85" fmla="*/ 218649 w 643940"/>
              <a:gd name="connsiteY85" fmla="*/ 98072 h 109895"/>
              <a:gd name="connsiteX86" fmla="*/ 227613 w 643940"/>
              <a:gd name="connsiteY86" fmla="*/ 95832 h 109895"/>
              <a:gd name="connsiteX87" fmla="*/ 234186 w 643940"/>
              <a:gd name="connsiteY87" fmla="*/ 88552 h 109895"/>
              <a:gd name="connsiteX88" fmla="*/ 238220 w 643940"/>
              <a:gd name="connsiteY88" fmla="*/ 75235 h 109895"/>
              <a:gd name="connsiteX89" fmla="*/ 239714 w 643940"/>
              <a:gd name="connsiteY89" fmla="*/ 54948 h 109895"/>
              <a:gd name="connsiteX90" fmla="*/ 238369 w 643940"/>
              <a:gd name="connsiteY90" fmla="*/ 34786 h 109895"/>
              <a:gd name="connsiteX91" fmla="*/ 234336 w 643940"/>
              <a:gd name="connsiteY91" fmla="*/ 21345 h 109895"/>
              <a:gd name="connsiteX92" fmla="*/ 227762 w 643940"/>
              <a:gd name="connsiteY92" fmla="*/ 14001 h 109895"/>
              <a:gd name="connsiteX93" fmla="*/ 218798 w 643940"/>
              <a:gd name="connsiteY93" fmla="*/ 11761 h 109895"/>
              <a:gd name="connsiteX94" fmla="*/ 209685 w 643940"/>
              <a:gd name="connsiteY94" fmla="*/ 14001 h 109895"/>
              <a:gd name="connsiteX95" fmla="*/ 202962 w 643940"/>
              <a:gd name="connsiteY95" fmla="*/ 21345 h 109895"/>
              <a:gd name="connsiteX96" fmla="*/ 198779 w 643940"/>
              <a:gd name="connsiteY96" fmla="*/ 34786 h 109895"/>
              <a:gd name="connsiteX97" fmla="*/ 197434 w 643940"/>
              <a:gd name="connsiteY97" fmla="*/ 54948 h 109895"/>
              <a:gd name="connsiteX98" fmla="*/ 198779 w 643940"/>
              <a:gd name="connsiteY98" fmla="*/ 75235 h 109895"/>
              <a:gd name="connsiteX99" fmla="*/ 202962 w 643940"/>
              <a:gd name="connsiteY99" fmla="*/ 88552 h 109895"/>
              <a:gd name="connsiteX100" fmla="*/ 209536 w 643940"/>
              <a:gd name="connsiteY100" fmla="*/ 95832 h 109895"/>
              <a:gd name="connsiteX101" fmla="*/ 218649 w 643940"/>
              <a:gd name="connsiteY101" fmla="*/ 98072 h 109895"/>
              <a:gd name="connsiteX102" fmla="*/ 272104 w 643940"/>
              <a:gd name="connsiteY102" fmla="*/ 1307 h 109895"/>
              <a:gd name="connsiteX103" fmla="*/ 308109 w 643940"/>
              <a:gd name="connsiteY103" fmla="*/ 1307 h 109895"/>
              <a:gd name="connsiteX104" fmla="*/ 328129 w 643940"/>
              <a:gd name="connsiteY104" fmla="*/ 3858 h 109895"/>
              <a:gd name="connsiteX105" fmla="*/ 344263 w 643940"/>
              <a:gd name="connsiteY105" fmla="*/ 12197 h 109895"/>
              <a:gd name="connsiteX106" fmla="*/ 355020 w 643940"/>
              <a:gd name="connsiteY106" fmla="*/ 27630 h 109895"/>
              <a:gd name="connsiteX107" fmla="*/ 358904 w 643940"/>
              <a:gd name="connsiteY107" fmla="*/ 51215 h 109895"/>
              <a:gd name="connsiteX108" fmla="*/ 354871 w 643940"/>
              <a:gd name="connsiteY108" fmla="*/ 76168 h 109895"/>
              <a:gd name="connsiteX109" fmla="*/ 343964 w 643940"/>
              <a:gd name="connsiteY109" fmla="*/ 93903 h 109895"/>
              <a:gd name="connsiteX110" fmla="*/ 327382 w 643940"/>
              <a:gd name="connsiteY110" fmla="*/ 104793 h 109895"/>
              <a:gd name="connsiteX111" fmla="*/ 306466 w 643940"/>
              <a:gd name="connsiteY111" fmla="*/ 108402 h 109895"/>
              <a:gd name="connsiteX112" fmla="*/ 272104 w 643940"/>
              <a:gd name="connsiteY112" fmla="*/ 108402 h 109895"/>
              <a:gd name="connsiteX113" fmla="*/ 272104 w 643940"/>
              <a:gd name="connsiteY113" fmla="*/ 1307 h 109895"/>
              <a:gd name="connsiteX114" fmla="*/ 286148 w 643940"/>
              <a:gd name="connsiteY114" fmla="*/ 14188 h 109895"/>
              <a:gd name="connsiteX115" fmla="*/ 286148 w 643940"/>
              <a:gd name="connsiteY115" fmla="*/ 95707 h 109895"/>
              <a:gd name="connsiteX116" fmla="*/ 306466 w 643940"/>
              <a:gd name="connsiteY116" fmla="*/ 95707 h 109895"/>
              <a:gd name="connsiteX117" fmla="*/ 321555 w 643940"/>
              <a:gd name="connsiteY117" fmla="*/ 93157 h 109895"/>
              <a:gd name="connsiteX118" fmla="*/ 333357 w 643940"/>
              <a:gd name="connsiteY118" fmla="*/ 85378 h 109895"/>
              <a:gd name="connsiteX119" fmla="*/ 340977 w 643940"/>
              <a:gd name="connsiteY119" fmla="*/ 71812 h 109895"/>
              <a:gd name="connsiteX120" fmla="*/ 343666 w 643940"/>
              <a:gd name="connsiteY120" fmla="*/ 52272 h 109895"/>
              <a:gd name="connsiteX121" fmla="*/ 340977 w 643940"/>
              <a:gd name="connsiteY121" fmla="*/ 33728 h 109895"/>
              <a:gd name="connsiteX122" fmla="*/ 333507 w 643940"/>
              <a:gd name="connsiteY122" fmla="*/ 21905 h 109895"/>
              <a:gd name="connsiteX123" fmla="*/ 322302 w 643940"/>
              <a:gd name="connsiteY123" fmla="*/ 15931 h 109895"/>
              <a:gd name="connsiteX124" fmla="*/ 308109 w 643940"/>
              <a:gd name="connsiteY124" fmla="*/ 14188 h 109895"/>
              <a:gd name="connsiteX125" fmla="*/ 286148 w 643940"/>
              <a:gd name="connsiteY125" fmla="*/ 14188 h 109895"/>
              <a:gd name="connsiteX126" fmla="*/ 395216 w 643940"/>
              <a:gd name="connsiteY126" fmla="*/ 108402 h 109895"/>
              <a:gd name="connsiteX127" fmla="*/ 380575 w 643940"/>
              <a:gd name="connsiteY127" fmla="*/ 108402 h 109895"/>
              <a:gd name="connsiteX128" fmla="*/ 426291 w 643940"/>
              <a:gd name="connsiteY128" fmla="*/ 14188 h 109895"/>
              <a:gd name="connsiteX129" fmla="*/ 371761 w 643940"/>
              <a:gd name="connsiteY129" fmla="*/ 14188 h 109895"/>
              <a:gd name="connsiteX130" fmla="*/ 371761 w 643940"/>
              <a:gd name="connsiteY130" fmla="*/ 1307 h 109895"/>
              <a:gd name="connsiteX131" fmla="*/ 440633 w 643940"/>
              <a:gd name="connsiteY131" fmla="*/ 1307 h 109895"/>
              <a:gd name="connsiteX132" fmla="*/ 440633 w 643940"/>
              <a:gd name="connsiteY132" fmla="*/ 13442 h 109895"/>
              <a:gd name="connsiteX133" fmla="*/ 395216 w 643940"/>
              <a:gd name="connsiteY133" fmla="*/ 108402 h 109895"/>
              <a:gd name="connsiteX134" fmla="*/ 459727 w 643940"/>
              <a:gd name="connsiteY134" fmla="*/ 1307 h 109895"/>
              <a:gd name="connsiteX135" fmla="*/ 495731 w 643940"/>
              <a:gd name="connsiteY135" fmla="*/ 1307 h 109895"/>
              <a:gd name="connsiteX136" fmla="*/ 515751 w 643940"/>
              <a:gd name="connsiteY136" fmla="*/ 3858 h 109895"/>
              <a:gd name="connsiteX137" fmla="*/ 531886 w 643940"/>
              <a:gd name="connsiteY137" fmla="*/ 12197 h 109895"/>
              <a:gd name="connsiteX138" fmla="*/ 542643 w 643940"/>
              <a:gd name="connsiteY138" fmla="*/ 27630 h 109895"/>
              <a:gd name="connsiteX139" fmla="*/ 546527 w 643940"/>
              <a:gd name="connsiteY139" fmla="*/ 51215 h 109895"/>
              <a:gd name="connsiteX140" fmla="*/ 542493 w 643940"/>
              <a:gd name="connsiteY140" fmla="*/ 76168 h 109895"/>
              <a:gd name="connsiteX141" fmla="*/ 531587 w 643940"/>
              <a:gd name="connsiteY141" fmla="*/ 93903 h 109895"/>
              <a:gd name="connsiteX142" fmla="*/ 515004 w 643940"/>
              <a:gd name="connsiteY142" fmla="*/ 104793 h 109895"/>
              <a:gd name="connsiteX143" fmla="*/ 494088 w 643940"/>
              <a:gd name="connsiteY143" fmla="*/ 108402 h 109895"/>
              <a:gd name="connsiteX144" fmla="*/ 459727 w 643940"/>
              <a:gd name="connsiteY144" fmla="*/ 108402 h 109895"/>
              <a:gd name="connsiteX145" fmla="*/ 459727 w 643940"/>
              <a:gd name="connsiteY145" fmla="*/ 1307 h 109895"/>
              <a:gd name="connsiteX146" fmla="*/ 473770 w 643940"/>
              <a:gd name="connsiteY146" fmla="*/ 14188 h 109895"/>
              <a:gd name="connsiteX147" fmla="*/ 473770 w 643940"/>
              <a:gd name="connsiteY147" fmla="*/ 95707 h 109895"/>
              <a:gd name="connsiteX148" fmla="*/ 494088 w 643940"/>
              <a:gd name="connsiteY148" fmla="*/ 95707 h 109895"/>
              <a:gd name="connsiteX149" fmla="*/ 509177 w 643940"/>
              <a:gd name="connsiteY149" fmla="*/ 93157 h 109895"/>
              <a:gd name="connsiteX150" fmla="*/ 520980 w 643940"/>
              <a:gd name="connsiteY150" fmla="*/ 85378 h 109895"/>
              <a:gd name="connsiteX151" fmla="*/ 528599 w 643940"/>
              <a:gd name="connsiteY151" fmla="*/ 71812 h 109895"/>
              <a:gd name="connsiteX152" fmla="*/ 531289 w 643940"/>
              <a:gd name="connsiteY152" fmla="*/ 52272 h 109895"/>
              <a:gd name="connsiteX153" fmla="*/ 528599 w 643940"/>
              <a:gd name="connsiteY153" fmla="*/ 33728 h 109895"/>
              <a:gd name="connsiteX154" fmla="*/ 521130 w 643940"/>
              <a:gd name="connsiteY154" fmla="*/ 21905 h 109895"/>
              <a:gd name="connsiteX155" fmla="*/ 509924 w 643940"/>
              <a:gd name="connsiteY155" fmla="*/ 15931 h 109895"/>
              <a:gd name="connsiteX156" fmla="*/ 495731 w 643940"/>
              <a:gd name="connsiteY156" fmla="*/ 14188 h 109895"/>
              <a:gd name="connsiteX157" fmla="*/ 473770 w 643940"/>
              <a:gd name="connsiteY157" fmla="*/ 14188 h 109895"/>
              <a:gd name="connsiteX158" fmla="*/ 611671 w 643940"/>
              <a:gd name="connsiteY158" fmla="*/ 109896 h 109895"/>
              <a:gd name="connsiteX159" fmla="*/ 590008 w 643940"/>
              <a:gd name="connsiteY159" fmla="*/ 106162 h 109895"/>
              <a:gd name="connsiteX160" fmla="*/ 573276 w 643940"/>
              <a:gd name="connsiteY160" fmla="*/ 95397 h 109895"/>
              <a:gd name="connsiteX161" fmla="*/ 562668 w 643940"/>
              <a:gd name="connsiteY161" fmla="*/ 78097 h 109895"/>
              <a:gd name="connsiteX162" fmla="*/ 558933 w 643940"/>
              <a:gd name="connsiteY162" fmla="*/ 54948 h 109895"/>
              <a:gd name="connsiteX163" fmla="*/ 562369 w 643940"/>
              <a:gd name="connsiteY163" fmla="*/ 31799 h 109895"/>
              <a:gd name="connsiteX164" fmla="*/ 572528 w 643940"/>
              <a:gd name="connsiteY164" fmla="*/ 14624 h 109895"/>
              <a:gd name="connsiteX165" fmla="*/ 588962 w 643940"/>
              <a:gd name="connsiteY165" fmla="*/ 3734 h 109895"/>
              <a:gd name="connsiteX166" fmla="*/ 611372 w 643940"/>
              <a:gd name="connsiteY166" fmla="*/ 0 h 109895"/>
              <a:gd name="connsiteX167" fmla="*/ 630495 w 643940"/>
              <a:gd name="connsiteY167" fmla="*/ 2365 h 109895"/>
              <a:gd name="connsiteX168" fmla="*/ 643940 w 643940"/>
              <a:gd name="connsiteY168" fmla="*/ 7716 h 109895"/>
              <a:gd name="connsiteX169" fmla="*/ 643940 w 643940"/>
              <a:gd name="connsiteY169" fmla="*/ 21158 h 109895"/>
              <a:gd name="connsiteX170" fmla="*/ 628403 w 643940"/>
              <a:gd name="connsiteY170" fmla="*/ 14748 h 109895"/>
              <a:gd name="connsiteX171" fmla="*/ 611222 w 643940"/>
              <a:gd name="connsiteY171" fmla="*/ 12695 h 109895"/>
              <a:gd name="connsiteX172" fmla="*/ 583136 w 643940"/>
              <a:gd name="connsiteY172" fmla="*/ 23273 h 109895"/>
              <a:gd name="connsiteX173" fmla="*/ 574172 w 643940"/>
              <a:gd name="connsiteY173" fmla="*/ 54948 h 109895"/>
              <a:gd name="connsiteX174" fmla="*/ 583883 w 643940"/>
              <a:gd name="connsiteY174" fmla="*/ 86747 h 109895"/>
              <a:gd name="connsiteX175" fmla="*/ 612866 w 643940"/>
              <a:gd name="connsiteY175" fmla="*/ 97201 h 109895"/>
              <a:gd name="connsiteX176" fmla="*/ 628851 w 643940"/>
              <a:gd name="connsiteY176" fmla="*/ 94961 h 109895"/>
              <a:gd name="connsiteX177" fmla="*/ 643940 w 643940"/>
              <a:gd name="connsiteY177" fmla="*/ 87369 h 109895"/>
              <a:gd name="connsiteX178" fmla="*/ 643940 w 643940"/>
              <a:gd name="connsiteY178" fmla="*/ 100811 h 109895"/>
              <a:gd name="connsiteX179" fmla="*/ 631242 w 643940"/>
              <a:gd name="connsiteY179" fmla="*/ 107033 h 109895"/>
              <a:gd name="connsiteX180" fmla="*/ 611671 w 643940"/>
              <a:gd name="connsiteY180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643940" h="109895">
                <a:moveTo>
                  <a:pt x="50795" y="77475"/>
                </a:moveTo>
                <a:lnTo>
                  <a:pt x="28386" y="77475"/>
                </a:lnTo>
                <a:lnTo>
                  <a:pt x="22111" y="108402"/>
                </a:ln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close/>
                <a:moveTo>
                  <a:pt x="53036" y="67020"/>
                </a:move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lnTo>
                  <a:pt x="53036" y="67020"/>
                </a:lnTo>
                <a:close/>
                <a:moveTo>
                  <a:pt x="136659" y="109896"/>
                </a:moveTo>
                <a:cubicBezTo>
                  <a:pt x="131579" y="109896"/>
                  <a:pt x="126848" y="108837"/>
                  <a:pt x="122466" y="106784"/>
                </a:cubicBezTo>
                <a:cubicBezTo>
                  <a:pt x="118183" y="104544"/>
                  <a:pt x="114448" y="101246"/>
                  <a:pt x="111261" y="96766"/>
                </a:cubicBezTo>
                <a:cubicBezTo>
                  <a:pt x="108174" y="92161"/>
                  <a:pt x="105734" y="86435"/>
                  <a:pt x="103941" y="79590"/>
                </a:cubicBezTo>
                <a:cubicBezTo>
                  <a:pt x="102148" y="72621"/>
                  <a:pt x="101252" y="64345"/>
                  <a:pt x="101252" y="54761"/>
                </a:cubicBezTo>
                <a:cubicBezTo>
                  <a:pt x="101252" y="45240"/>
                  <a:pt x="102148" y="37026"/>
                  <a:pt x="103941" y="30119"/>
                </a:cubicBezTo>
                <a:cubicBezTo>
                  <a:pt x="105734" y="23150"/>
                  <a:pt x="108174" y="17424"/>
                  <a:pt x="111261" y="12944"/>
                </a:cubicBezTo>
                <a:cubicBezTo>
                  <a:pt x="114448" y="8463"/>
                  <a:pt x="118183" y="5228"/>
                  <a:pt x="122466" y="3111"/>
                </a:cubicBezTo>
                <a:cubicBezTo>
                  <a:pt x="126848" y="996"/>
                  <a:pt x="131579" y="0"/>
                  <a:pt x="136659" y="0"/>
                </a:cubicBezTo>
                <a:cubicBezTo>
                  <a:pt x="141738" y="0"/>
                  <a:pt x="146420" y="996"/>
                  <a:pt x="150702" y="3111"/>
                </a:cubicBezTo>
                <a:cubicBezTo>
                  <a:pt x="154985" y="5228"/>
                  <a:pt x="158670" y="8463"/>
                  <a:pt x="161758" y="12944"/>
                </a:cubicBezTo>
                <a:cubicBezTo>
                  <a:pt x="164845" y="17362"/>
                  <a:pt x="167236" y="22963"/>
                  <a:pt x="168929" y="29870"/>
                </a:cubicBezTo>
                <a:cubicBezTo>
                  <a:pt x="170721" y="36715"/>
                  <a:pt x="171618" y="44930"/>
                  <a:pt x="171618" y="54512"/>
                </a:cubicBezTo>
                <a:cubicBezTo>
                  <a:pt x="171618" y="64033"/>
                  <a:pt x="170721" y="72309"/>
                  <a:pt x="168929" y="79279"/>
                </a:cubicBezTo>
                <a:cubicBezTo>
                  <a:pt x="167236" y="86125"/>
                  <a:pt x="164845" y="91849"/>
                  <a:pt x="161758" y="96454"/>
                </a:cubicBezTo>
                <a:cubicBezTo>
                  <a:pt x="158670" y="101059"/>
                  <a:pt x="154985" y="104419"/>
                  <a:pt x="150702" y="106597"/>
                </a:cubicBezTo>
                <a:cubicBezTo>
                  <a:pt x="146420" y="108776"/>
                  <a:pt x="141738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39896" y="98072"/>
                  <a:pt x="142884" y="97325"/>
                  <a:pt x="145473" y="95832"/>
                </a:cubicBezTo>
                <a:cubicBezTo>
                  <a:pt x="148063" y="94339"/>
                  <a:pt x="150254" y="91912"/>
                  <a:pt x="152047" y="88552"/>
                </a:cubicBezTo>
                <a:cubicBezTo>
                  <a:pt x="153840" y="85129"/>
                  <a:pt x="155184" y="80711"/>
                  <a:pt x="156081" y="75235"/>
                </a:cubicBezTo>
                <a:cubicBezTo>
                  <a:pt x="157077" y="69696"/>
                  <a:pt x="157575" y="62913"/>
                  <a:pt x="157575" y="54948"/>
                </a:cubicBezTo>
                <a:cubicBezTo>
                  <a:pt x="157575" y="46983"/>
                  <a:pt x="157126" y="40262"/>
                  <a:pt x="156230" y="34786"/>
                </a:cubicBezTo>
                <a:cubicBezTo>
                  <a:pt x="155334" y="29186"/>
                  <a:pt x="153989" y="24705"/>
                  <a:pt x="152196" y="21345"/>
                </a:cubicBezTo>
                <a:cubicBezTo>
                  <a:pt x="150403" y="17922"/>
                  <a:pt x="148212" y="15495"/>
                  <a:pt x="145623" y="14001"/>
                </a:cubicBezTo>
                <a:cubicBezTo>
                  <a:pt x="143033" y="12508"/>
                  <a:pt x="140045" y="11761"/>
                  <a:pt x="136659" y="11761"/>
                </a:cubicBezTo>
                <a:cubicBezTo>
                  <a:pt x="133273" y="11761"/>
                  <a:pt x="130235" y="12508"/>
                  <a:pt x="127546" y="14001"/>
                </a:cubicBezTo>
                <a:cubicBezTo>
                  <a:pt x="124956" y="15495"/>
                  <a:pt x="122715" y="17922"/>
                  <a:pt x="120823" y="21345"/>
                </a:cubicBezTo>
                <a:cubicBezTo>
                  <a:pt x="119030" y="24705"/>
                  <a:pt x="117636" y="29186"/>
                  <a:pt x="116640" y="34786"/>
                </a:cubicBezTo>
                <a:cubicBezTo>
                  <a:pt x="115743" y="40262"/>
                  <a:pt x="115295" y="46983"/>
                  <a:pt x="115295" y="54948"/>
                </a:cubicBezTo>
                <a:cubicBezTo>
                  <a:pt x="115295" y="62913"/>
                  <a:pt x="115743" y="69696"/>
                  <a:pt x="116640" y="75235"/>
                </a:cubicBezTo>
                <a:cubicBezTo>
                  <a:pt x="117636" y="80711"/>
                  <a:pt x="119030" y="85129"/>
                  <a:pt x="120823" y="88552"/>
                </a:cubicBezTo>
                <a:cubicBezTo>
                  <a:pt x="122615" y="91912"/>
                  <a:pt x="124807" y="94339"/>
                  <a:pt x="127396" y="95832"/>
                </a:cubicBezTo>
                <a:cubicBezTo>
                  <a:pt x="130085" y="97325"/>
                  <a:pt x="133123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3719" y="109896"/>
                  <a:pt x="208988" y="108837"/>
                  <a:pt x="204605" y="106784"/>
                </a:cubicBezTo>
                <a:cubicBezTo>
                  <a:pt x="200323" y="104544"/>
                  <a:pt x="196588" y="101246"/>
                  <a:pt x="193401" y="96766"/>
                </a:cubicBezTo>
                <a:cubicBezTo>
                  <a:pt x="190313" y="92161"/>
                  <a:pt x="187873" y="86435"/>
                  <a:pt x="186080" y="79590"/>
                </a:cubicBezTo>
                <a:cubicBezTo>
                  <a:pt x="184287" y="72621"/>
                  <a:pt x="183391" y="64345"/>
                  <a:pt x="183391" y="54761"/>
                </a:cubicBezTo>
                <a:cubicBezTo>
                  <a:pt x="183391" y="45240"/>
                  <a:pt x="184287" y="37026"/>
                  <a:pt x="186080" y="30119"/>
                </a:cubicBezTo>
                <a:cubicBezTo>
                  <a:pt x="187873" y="23150"/>
                  <a:pt x="190313" y="17424"/>
                  <a:pt x="193401" y="12944"/>
                </a:cubicBezTo>
                <a:cubicBezTo>
                  <a:pt x="196588" y="8463"/>
                  <a:pt x="200323" y="5228"/>
                  <a:pt x="204605" y="3111"/>
                </a:cubicBezTo>
                <a:cubicBezTo>
                  <a:pt x="208988" y="996"/>
                  <a:pt x="213719" y="0"/>
                  <a:pt x="218798" y="0"/>
                </a:cubicBezTo>
                <a:cubicBezTo>
                  <a:pt x="223878" y="0"/>
                  <a:pt x="228559" y="996"/>
                  <a:pt x="232842" y="3111"/>
                </a:cubicBezTo>
                <a:cubicBezTo>
                  <a:pt x="237124" y="5228"/>
                  <a:pt x="240809" y="8463"/>
                  <a:pt x="243897" y="12944"/>
                </a:cubicBezTo>
                <a:cubicBezTo>
                  <a:pt x="246985" y="17362"/>
                  <a:pt x="249375" y="22963"/>
                  <a:pt x="251068" y="29870"/>
                </a:cubicBezTo>
                <a:cubicBezTo>
                  <a:pt x="252861" y="36715"/>
                  <a:pt x="253757" y="44930"/>
                  <a:pt x="253757" y="54512"/>
                </a:cubicBezTo>
                <a:cubicBezTo>
                  <a:pt x="253757" y="64033"/>
                  <a:pt x="252861" y="72309"/>
                  <a:pt x="251068" y="79279"/>
                </a:cubicBezTo>
                <a:cubicBezTo>
                  <a:pt x="249375" y="86125"/>
                  <a:pt x="246985" y="91849"/>
                  <a:pt x="243897" y="96454"/>
                </a:cubicBezTo>
                <a:cubicBezTo>
                  <a:pt x="240809" y="101059"/>
                  <a:pt x="237124" y="104419"/>
                  <a:pt x="232842" y="106597"/>
                </a:cubicBezTo>
                <a:cubicBezTo>
                  <a:pt x="228559" y="108776"/>
                  <a:pt x="223878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2035" y="98072"/>
                  <a:pt x="225023" y="97325"/>
                  <a:pt x="227613" y="95832"/>
                </a:cubicBezTo>
                <a:cubicBezTo>
                  <a:pt x="230202" y="94339"/>
                  <a:pt x="232393" y="91912"/>
                  <a:pt x="234186" y="88552"/>
                </a:cubicBezTo>
                <a:cubicBezTo>
                  <a:pt x="235979" y="85129"/>
                  <a:pt x="237324" y="80711"/>
                  <a:pt x="238220" y="75235"/>
                </a:cubicBezTo>
                <a:cubicBezTo>
                  <a:pt x="239216" y="69696"/>
                  <a:pt x="239714" y="62913"/>
                  <a:pt x="239714" y="54948"/>
                </a:cubicBezTo>
                <a:cubicBezTo>
                  <a:pt x="239714" y="46983"/>
                  <a:pt x="239266" y="40262"/>
                  <a:pt x="238369" y="34786"/>
                </a:cubicBezTo>
                <a:cubicBezTo>
                  <a:pt x="237473" y="29186"/>
                  <a:pt x="236128" y="24705"/>
                  <a:pt x="234336" y="21345"/>
                </a:cubicBezTo>
                <a:cubicBezTo>
                  <a:pt x="232543" y="17922"/>
                  <a:pt x="230352" y="15495"/>
                  <a:pt x="227762" y="14001"/>
                </a:cubicBezTo>
                <a:cubicBezTo>
                  <a:pt x="225173" y="12508"/>
                  <a:pt x="222185" y="11761"/>
                  <a:pt x="218798" y="11761"/>
                </a:cubicBezTo>
                <a:cubicBezTo>
                  <a:pt x="215412" y="11761"/>
                  <a:pt x="212374" y="12508"/>
                  <a:pt x="209685" y="14001"/>
                </a:cubicBezTo>
                <a:cubicBezTo>
                  <a:pt x="207095" y="15495"/>
                  <a:pt x="204854" y="17922"/>
                  <a:pt x="202962" y="21345"/>
                </a:cubicBezTo>
                <a:cubicBezTo>
                  <a:pt x="201169" y="24705"/>
                  <a:pt x="199775" y="29186"/>
                  <a:pt x="198779" y="34786"/>
                </a:cubicBezTo>
                <a:cubicBezTo>
                  <a:pt x="197883" y="40262"/>
                  <a:pt x="197434" y="46983"/>
                  <a:pt x="197434" y="54948"/>
                </a:cubicBezTo>
                <a:cubicBezTo>
                  <a:pt x="197434" y="62913"/>
                  <a:pt x="197883" y="69696"/>
                  <a:pt x="198779" y="75235"/>
                </a:cubicBezTo>
                <a:cubicBezTo>
                  <a:pt x="199775" y="80711"/>
                  <a:pt x="201169" y="85129"/>
                  <a:pt x="202962" y="88552"/>
                </a:cubicBezTo>
                <a:cubicBezTo>
                  <a:pt x="204755" y="91912"/>
                  <a:pt x="206946" y="94339"/>
                  <a:pt x="209536" y="95832"/>
                </a:cubicBezTo>
                <a:cubicBezTo>
                  <a:pt x="212225" y="97325"/>
                  <a:pt x="215262" y="98072"/>
                  <a:pt x="218649" y="98072"/>
                </a:cubicBezTo>
                <a:close/>
                <a:moveTo>
                  <a:pt x="272104" y="1307"/>
                </a:moveTo>
                <a:lnTo>
                  <a:pt x="308109" y="1307"/>
                </a:lnTo>
                <a:cubicBezTo>
                  <a:pt x="315280" y="1307"/>
                  <a:pt x="321953" y="2179"/>
                  <a:pt x="328129" y="3858"/>
                </a:cubicBezTo>
                <a:cubicBezTo>
                  <a:pt x="334304" y="5538"/>
                  <a:pt x="339682" y="8339"/>
                  <a:pt x="344263" y="12197"/>
                </a:cubicBezTo>
                <a:cubicBezTo>
                  <a:pt x="348845" y="16118"/>
                  <a:pt x="352431" y="21220"/>
                  <a:pt x="355020" y="27630"/>
                </a:cubicBezTo>
                <a:cubicBezTo>
                  <a:pt x="357610" y="33977"/>
                  <a:pt x="358904" y="41818"/>
                  <a:pt x="358904" y="51215"/>
                </a:cubicBezTo>
                <a:cubicBezTo>
                  <a:pt x="358904" y="60673"/>
                  <a:pt x="357560" y="68950"/>
                  <a:pt x="354871" y="76168"/>
                </a:cubicBezTo>
                <a:cubicBezTo>
                  <a:pt x="352281" y="83199"/>
                  <a:pt x="348646" y="89112"/>
                  <a:pt x="343964" y="93903"/>
                </a:cubicBezTo>
                <a:cubicBezTo>
                  <a:pt x="339383" y="98694"/>
                  <a:pt x="333855" y="102304"/>
                  <a:pt x="327382" y="104793"/>
                </a:cubicBezTo>
                <a:cubicBezTo>
                  <a:pt x="321007" y="107220"/>
                  <a:pt x="314035" y="108402"/>
                  <a:pt x="306466" y="108402"/>
                </a:cubicBez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286148" y="14188"/>
                </a:moveTo>
                <a:lnTo>
                  <a:pt x="286148" y="95707"/>
                </a:lnTo>
                <a:lnTo>
                  <a:pt x="306466" y="95707"/>
                </a:lnTo>
                <a:cubicBezTo>
                  <a:pt x="311944" y="95707"/>
                  <a:pt x="316974" y="94836"/>
                  <a:pt x="321555" y="93157"/>
                </a:cubicBezTo>
                <a:cubicBezTo>
                  <a:pt x="326137" y="91476"/>
                  <a:pt x="330071" y="88862"/>
                  <a:pt x="333357" y="85378"/>
                </a:cubicBezTo>
                <a:cubicBezTo>
                  <a:pt x="336644" y="81831"/>
                  <a:pt x="339184" y="77288"/>
                  <a:pt x="340977" y="71812"/>
                </a:cubicBezTo>
                <a:cubicBezTo>
                  <a:pt x="342769" y="66336"/>
                  <a:pt x="343666" y="59801"/>
                  <a:pt x="343666" y="52272"/>
                </a:cubicBezTo>
                <a:cubicBezTo>
                  <a:pt x="343666" y="44805"/>
                  <a:pt x="342769" y="38582"/>
                  <a:pt x="340977" y="33728"/>
                </a:cubicBezTo>
                <a:cubicBezTo>
                  <a:pt x="339184" y="28750"/>
                  <a:pt x="336694" y="24829"/>
                  <a:pt x="333507" y="21905"/>
                </a:cubicBezTo>
                <a:cubicBezTo>
                  <a:pt x="330419" y="19042"/>
                  <a:pt x="326684" y="17051"/>
                  <a:pt x="322302" y="15931"/>
                </a:cubicBezTo>
                <a:cubicBezTo>
                  <a:pt x="317920" y="14748"/>
                  <a:pt x="313189" y="14188"/>
                  <a:pt x="308109" y="14188"/>
                </a:cubicBezTo>
                <a:lnTo>
                  <a:pt x="286148" y="14188"/>
                </a:lnTo>
                <a:close/>
                <a:moveTo>
                  <a:pt x="395216" y="108402"/>
                </a:moveTo>
                <a:lnTo>
                  <a:pt x="380575" y="108402"/>
                </a:lnTo>
                <a:lnTo>
                  <a:pt x="426291" y="14188"/>
                </a:lnTo>
                <a:lnTo>
                  <a:pt x="371761" y="14188"/>
                </a:lnTo>
                <a:lnTo>
                  <a:pt x="371761" y="1307"/>
                </a:lnTo>
                <a:lnTo>
                  <a:pt x="440633" y="1307"/>
                </a:lnTo>
                <a:lnTo>
                  <a:pt x="440633" y="13442"/>
                </a:lnTo>
                <a:lnTo>
                  <a:pt x="395216" y="108402"/>
                </a:lnTo>
                <a:close/>
                <a:moveTo>
                  <a:pt x="459727" y="1307"/>
                </a:moveTo>
                <a:lnTo>
                  <a:pt x="495731" y="1307"/>
                </a:lnTo>
                <a:cubicBezTo>
                  <a:pt x="502902" y="1307"/>
                  <a:pt x="509576" y="2179"/>
                  <a:pt x="515751" y="3858"/>
                </a:cubicBezTo>
                <a:cubicBezTo>
                  <a:pt x="521926" y="5538"/>
                  <a:pt x="527305" y="8339"/>
                  <a:pt x="531886" y="12197"/>
                </a:cubicBezTo>
                <a:cubicBezTo>
                  <a:pt x="536468" y="16118"/>
                  <a:pt x="540053" y="21220"/>
                  <a:pt x="542643" y="27630"/>
                </a:cubicBezTo>
                <a:cubicBezTo>
                  <a:pt x="545232" y="33977"/>
                  <a:pt x="546527" y="41818"/>
                  <a:pt x="546527" y="51215"/>
                </a:cubicBezTo>
                <a:cubicBezTo>
                  <a:pt x="546527" y="60673"/>
                  <a:pt x="545183" y="68950"/>
                  <a:pt x="542493" y="76168"/>
                </a:cubicBezTo>
                <a:cubicBezTo>
                  <a:pt x="539904" y="83199"/>
                  <a:pt x="536269" y="89112"/>
                  <a:pt x="531587" y="93903"/>
                </a:cubicBezTo>
                <a:cubicBezTo>
                  <a:pt x="527006" y="98694"/>
                  <a:pt x="521478" y="102304"/>
                  <a:pt x="515004" y="104793"/>
                </a:cubicBezTo>
                <a:cubicBezTo>
                  <a:pt x="508629" y="107220"/>
                  <a:pt x="501657" y="108402"/>
                  <a:pt x="494088" y="108402"/>
                </a:cubicBezTo>
                <a:lnTo>
                  <a:pt x="459727" y="108402"/>
                </a:lnTo>
                <a:lnTo>
                  <a:pt x="459727" y="1307"/>
                </a:lnTo>
                <a:close/>
                <a:moveTo>
                  <a:pt x="473770" y="14188"/>
                </a:moveTo>
                <a:lnTo>
                  <a:pt x="473770" y="95707"/>
                </a:lnTo>
                <a:lnTo>
                  <a:pt x="494088" y="95707"/>
                </a:lnTo>
                <a:cubicBezTo>
                  <a:pt x="499566" y="95707"/>
                  <a:pt x="504596" y="94836"/>
                  <a:pt x="509177" y="93157"/>
                </a:cubicBezTo>
                <a:cubicBezTo>
                  <a:pt x="513759" y="91476"/>
                  <a:pt x="517693" y="88862"/>
                  <a:pt x="520980" y="85378"/>
                </a:cubicBezTo>
                <a:cubicBezTo>
                  <a:pt x="524267" y="81831"/>
                  <a:pt x="526807" y="77288"/>
                  <a:pt x="528599" y="71812"/>
                </a:cubicBezTo>
                <a:cubicBezTo>
                  <a:pt x="530392" y="66336"/>
                  <a:pt x="531289" y="59801"/>
                  <a:pt x="531289" y="52272"/>
                </a:cubicBezTo>
                <a:cubicBezTo>
                  <a:pt x="531289" y="44805"/>
                  <a:pt x="530392" y="38582"/>
                  <a:pt x="528599" y="33728"/>
                </a:cubicBezTo>
                <a:cubicBezTo>
                  <a:pt x="526807" y="28750"/>
                  <a:pt x="524317" y="24829"/>
                  <a:pt x="521130" y="21905"/>
                </a:cubicBezTo>
                <a:cubicBezTo>
                  <a:pt x="518042" y="19042"/>
                  <a:pt x="514306" y="17051"/>
                  <a:pt x="509924" y="15931"/>
                </a:cubicBezTo>
                <a:cubicBezTo>
                  <a:pt x="505542" y="14748"/>
                  <a:pt x="500811" y="14188"/>
                  <a:pt x="495731" y="14188"/>
                </a:cubicBezTo>
                <a:lnTo>
                  <a:pt x="473770" y="14188"/>
                </a:lnTo>
                <a:close/>
                <a:moveTo>
                  <a:pt x="611671" y="109896"/>
                </a:moveTo>
                <a:cubicBezTo>
                  <a:pt x="603703" y="109896"/>
                  <a:pt x="596482" y="108651"/>
                  <a:pt x="590008" y="106162"/>
                </a:cubicBezTo>
                <a:cubicBezTo>
                  <a:pt x="583534" y="103673"/>
                  <a:pt x="577957" y="100064"/>
                  <a:pt x="573276" y="95397"/>
                </a:cubicBezTo>
                <a:cubicBezTo>
                  <a:pt x="568694" y="90605"/>
                  <a:pt x="565158" y="84880"/>
                  <a:pt x="562668" y="78097"/>
                </a:cubicBezTo>
                <a:cubicBezTo>
                  <a:pt x="560178" y="71190"/>
                  <a:pt x="558933" y="63473"/>
                  <a:pt x="558933" y="54948"/>
                </a:cubicBezTo>
                <a:cubicBezTo>
                  <a:pt x="558933" y="46298"/>
                  <a:pt x="560079" y="38582"/>
                  <a:pt x="562369" y="31799"/>
                </a:cubicBezTo>
                <a:cubicBezTo>
                  <a:pt x="564660" y="25016"/>
                  <a:pt x="568047" y="19291"/>
                  <a:pt x="572528" y="14624"/>
                </a:cubicBezTo>
                <a:cubicBezTo>
                  <a:pt x="577010" y="9833"/>
                  <a:pt x="582488" y="6223"/>
                  <a:pt x="588962" y="3734"/>
                </a:cubicBezTo>
                <a:cubicBezTo>
                  <a:pt x="595536" y="1245"/>
                  <a:pt x="603006" y="0"/>
                  <a:pt x="611372" y="0"/>
                </a:cubicBezTo>
                <a:cubicBezTo>
                  <a:pt x="618643" y="0"/>
                  <a:pt x="625017" y="747"/>
                  <a:pt x="630495" y="2365"/>
                </a:cubicBezTo>
                <a:cubicBezTo>
                  <a:pt x="635973" y="3858"/>
                  <a:pt x="640455" y="5663"/>
                  <a:pt x="643940" y="7716"/>
                </a:cubicBezTo>
                <a:lnTo>
                  <a:pt x="643940" y="21158"/>
                </a:lnTo>
                <a:cubicBezTo>
                  <a:pt x="639459" y="18296"/>
                  <a:pt x="634279" y="16180"/>
                  <a:pt x="628403" y="14748"/>
                </a:cubicBezTo>
                <a:cubicBezTo>
                  <a:pt x="622626" y="13379"/>
                  <a:pt x="616900" y="12695"/>
                  <a:pt x="611222" y="12695"/>
                </a:cubicBezTo>
                <a:cubicBezTo>
                  <a:pt x="598573" y="12695"/>
                  <a:pt x="589211" y="16180"/>
                  <a:pt x="583136" y="23273"/>
                </a:cubicBezTo>
                <a:cubicBezTo>
                  <a:pt x="577160" y="30243"/>
                  <a:pt x="574172" y="40822"/>
                  <a:pt x="574172" y="54948"/>
                </a:cubicBezTo>
                <a:cubicBezTo>
                  <a:pt x="574172" y="69198"/>
                  <a:pt x="577409" y="79777"/>
                  <a:pt x="583883" y="86747"/>
                </a:cubicBezTo>
                <a:cubicBezTo>
                  <a:pt x="590456" y="93716"/>
                  <a:pt x="600117" y="97201"/>
                  <a:pt x="612866" y="97201"/>
                </a:cubicBezTo>
                <a:cubicBezTo>
                  <a:pt x="618344" y="97201"/>
                  <a:pt x="623672" y="96454"/>
                  <a:pt x="628851" y="94961"/>
                </a:cubicBezTo>
                <a:cubicBezTo>
                  <a:pt x="634130" y="93467"/>
                  <a:pt x="639160" y="90916"/>
                  <a:pt x="643940" y="87369"/>
                </a:cubicBezTo>
                <a:lnTo>
                  <a:pt x="643940" y="100811"/>
                </a:lnTo>
                <a:cubicBezTo>
                  <a:pt x="641052" y="103051"/>
                  <a:pt x="636819" y="105166"/>
                  <a:pt x="631242" y="107033"/>
                </a:cubicBezTo>
                <a:cubicBezTo>
                  <a:pt x="625764" y="108962"/>
                  <a:pt x="619240" y="109896"/>
                  <a:pt x="611671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6" name="Полилиния 975">
            <a:extLst>
              <a:ext uri="{FF2B5EF4-FFF2-40B4-BE49-F238E27FC236}">
                <a16:creationId xmlns:a16="http://schemas.microsoft.com/office/drawing/2014/main" id="{7119D0C9-883F-1580-9F07-1F3129C05BF8}"/>
              </a:ext>
            </a:extLst>
          </p:cNvPr>
          <p:cNvSpPr/>
          <p:nvPr userDrawn="1"/>
        </p:nvSpPr>
        <p:spPr>
          <a:xfrm>
            <a:off x="12270615" y="8144979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FA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7" name="Полилиния 976">
            <a:extLst>
              <a:ext uri="{FF2B5EF4-FFF2-40B4-BE49-F238E27FC236}">
                <a16:creationId xmlns:a16="http://schemas.microsoft.com/office/drawing/2014/main" id="{D5D8520D-7DB0-B4F0-17E3-70AEBC7C0440}"/>
              </a:ext>
            </a:extLst>
          </p:cNvPr>
          <p:cNvSpPr/>
          <p:nvPr userDrawn="1"/>
        </p:nvSpPr>
        <p:spPr>
          <a:xfrm>
            <a:off x="12393824" y="8446944"/>
            <a:ext cx="704140" cy="128252"/>
          </a:xfrm>
          <a:custGeom>
            <a:avLst/>
            <a:gdLst>
              <a:gd name="connsiteX0" fmla="*/ 50795 w 603360"/>
              <a:gd name="connsiteY0" fmla="*/ 77475 h 109895"/>
              <a:gd name="connsiteX1" fmla="*/ 28386 w 603360"/>
              <a:gd name="connsiteY1" fmla="*/ 77475 h 109895"/>
              <a:gd name="connsiteX2" fmla="*/ 22111 w 603360"/>
              <a:gd name="connsiteY2" fmla="*/ 108402 h 109895"/>
              <a:gd name="connsiteX3" fmla="*/ 10159 w 603360"/>
              <a:gd name="connsiteY3" fmla="*/ 108402 h 109895"/>
              <a:gd name="connsiteX4" fmla="*/ 16434 w 603360"/>
              <a:gd name="connsiteY4" fmla="*/ 77475 h 109895"/>
              <a:gd name="connsiteX5" fmla="*/ 0 w 603360"/>
              <a:gd name="connsiteY5" fmla="*/ 77475 h 109895"/>
              <a:gd name="connsiteX6" fmla="*/ 0 w 603360"/>
              <a:gd name="connsiteY6" fmla="*/ 67020 h 109895"/>
              <a:gd name="connsiteX7" fmla="*/ 18675 w 603360"/>
              <a:gd name="connsiteY7" fmla="*/ 67020 h 109895"/>
              <a:gd name="connsiteX8" fmla="*/ 24202 w 603360"/>
              <a:gd name="connsiteY8" fmla="*/ 39826 h 109895"/>
              <a:gd name="connsiteX9" fmla="*/ 4034 w 603360"/>
              <a:gd name="connsiteY9" fmla="*/ 39826 h 109895"/>
              <a:gd name="connsiteX10" fmla="*/ 4034 w 603360"/>
              <a:gd name="connsiteY10" fmla="*/ 29372 h 109895"/>
              <a:gd name="connsiteX11" fmla="*/ 26294 w 603360"/>
              <a:gd name="connsiteY11" fmla="*/ 29372 h 109895"/>
              <a:gd name="connsiteX12" fmla="*/ 32120 w 603360"/>
              <a:gd name="connsiteY12" fmla="*/ 1307 h 109895"/>
              <a:gd name="connsiteX13" fmla="*/ 44072 w 603360"/>
              <a:gd name="connsiteY13" fmla="*/ 1307 h 109895"/>
              <a:gd name="connsiteX14" fmla="*/ 38246 w 603360"/>
              <a:gd name="connsiteY14" fmla="*/ 29372 h 109895"/>
              <a:gd name="connsiteX15" fmla="*/ 60655 w 603360"/>
              <a:gd name="connsiteY15" fmla="*/ 29372 h 109895"/>
              <a:gd name="connsiteX16" fmla="*/ 66482 w 603360"/>
              <a:gd name="connsiteY16" fmla="*/ 1307 h 109895"/>
              <a:gd name="connsiteX17" fmla="*/ 78434 w 603360"/>
              <a:gd name="connsiteY17" fmla="*/ 1307 h 109895"/>
              <a:gd name="connsiteX18" fmla="*/ 72607 w 603360"/>
              <a:gd name="connsiteY18" fmla="*/ 29372 h 109895"/>
              <a:gd name="connsiteX19" fmla="*/ 89340 w 603360"/>
              <a:gd name="connsiteY19" fmla="*/ 29372 h 109895"/>
              <a:gd name="connsiteX20" fmla="*/ 89340 w 603360"/>
              <a:gd name="connsiteY20" fmla="*/ 39826 h 109895"/>
              <a:gd name="connsiteX21" fmla="*/ 70516 w 603360"/>
              <a:gd name="connsiteY21" fmla="*/ 39826 h 109895"/>
              <a:gd name="connsiteX22" fmla="*/ 64988 w 603360"/>
              <a:gd name="connsiteY22" fmla="*/ 67020 h 109895"/>
              <a:gd name="connsiteX23" fmla="*/ 85306 w 603360"/>
              <a:gd name="connsiteY23" fmla="*/ 67020 h 109895"/>
              <a:gd name="connsiteX24" fmla="*/ 85306 w 603360"/>
              <a:gd name="connsiteY24" fmla="*/ 77475 h 109895"/>
              <a:gd name="connsiteX25" fmla="*/ 62747 w 603360"/>
              <a:gd name="connsiteY25" fmla="*/ 77475 h 109895"/>
              <a:gd name="connsiteX26" fmla="*/ 56472 w 603360"/>
              <a:gd name="connsiteY26" fmla="*/ 108402 h 109895"/>
              <a:gd name="connsiteX27" fmla="*/ 44520 w 603360"/>
              <a:gd name="connsiteY27" fmla="*/ 108402 h 109895"/>
              <a:gd name="connsiteX28" fmla="*/ 50795 w 603360"/>
              <a:gd name="connsiteY28" fmla="*/ 77475 h 109895"/>
              <a:gd name="connsiteX29" fmla="*/ 53036 w 603360"/>
              <a:gd name="connsiteY29" fmla="*/ 67020 h 109895"/>
              <a:gd name="connsiteX30" fmla="*/ 58564 w 603360"/>
              <a:gd name="connsiteY30" fmla="*/ 39826 h 109895"/>
              <a:gd name="connsiteX31" fmla="*/ 36154 w 603360"/>
              <a:gd name="connsiteY31" fmla="*/ 39826 h 109895"/>
              <a:gd name="connsiteX32" fmla="*/ 30626 w 603360"/>
              <a:gd name="connsiteY32" fmla="*/ 67020 h 109895"/>
              <a:gd name="connsiteX33" fmla="*/ 53036 w 603360"/>
              <a:gd name="connsiteY33" fmla="*/ 67020 h 109895"/>
              <a:gd name="connsiteX34" fmla="*/ 136659 w 603360"/>
              <a:gd name="connsiteY34" fmla="*/ 109896 h 109895"/>
              <a:gd name="connsiteX35" fmla="*/ 122466 w 603360"/>
              <a:gd name="connsiteY35" fmla="*/ 106784 h 109895"/>
              <a:gd name="connsiteX36" fmla="*/ 111261 w 603360"/>
              <a:gd name="connsiteY36" fmla="*/ 96766 h 109895"/>
              <a:gd name="connsiteX37" fmla="*/ 103941 w 603360"/>
              <a:gd name="connsiteY37" fmla="*/ 79590 h 109895"/>
              <a:gd name="connsiteX38" fmla="*/ 101252 w 603360"/>
              <a:gd name="connsiteY38" fmla="*/ 54761 h 109895"/>
              <a:gd name="connsiteX39" fmla="*/ 103941 w 603360"/>
              <a:gd name="connsiteY39" fmla="*/ 30119 h 109895"/>
              <a:gd name="connsiteX40" fmla="*/ 111261 w 603360"/>
              <a:gd name="connsiteY40" fmla="*/ 12944 h 109895"/>
              <a:gd name="connsiteX41" fmla="*/ 122466 w 603360"/>
              <a:gd name="connsiteY41" fmla="*/ 3111 h 109895"/>
              <a:gd name="connsiteX42" fmla="*/ 136659 w 603360"/>
              <a:gd name="connsiteY42" fmla="*/ 0 h 109895"/>
              <a:gd name="connsiteX43" fmla="*/ 150702 w 603360"/>
              <a:gd name="connsiteY43" fmla="*/ 3111 h 109895"/>
              <a:gd name="connsiteX44" fmla="*/ 161758 w 603360"/>
              <a:gd name="connsiteY44" fmla="*/ 12944 h 109895"/>
              <a:gd name="connsiteX45" fmla="*/ 168929 w 603360"/>
              <a:gd name="connsiteY45" fmla="*/ 29870 h 109895"/>
              <a:gd name="connsiteX46" fmla="*/ 171618 w 603360"/>
              <a:gd name="connsiteY46" fmla="*/ 54512 h 109895"/>
              <a:gd name="connsiteX47" fmla="*/ 168929 w 603360"/>
              <a:gd name="connsiteY47" fmla="*/ 79279 h 109895"/>
              <a:gd name="connsiteX48" fmla="*/ 161758 w 603360"/>
              <a:gd name="connsiteY48" fmla="*/ 96454 h 109895"/>
              <a:gd name="connsiteX49" fmla="*/ 150702 w 603360"/>
              <a:gd name="connsiteY49" fmla="*/ 106597 h 109895"/>
              <a:gd name="connsiteX50" fmla="*/ 136659 w 603360"/>
              <a:gd name="connsiteY50" fmla="*/ 109896 h 109895"/>
              <a:gd name="connsiteX51" fmla="*/ 136509 w 603360"/>
              <a:gd name="connsiteY51" fmla="*/ 98072 h 109895"/>
              <a:gd name="connsiteX52" fmla="*/ 145473 w 603360"/>
              <a:gd name="connsiteY52" fmla="*/ 95832 h 109895"/>
              <a:gd name="connsiteX53" fmla="*/ 152047 w 603360"/>
              <a:gd name="connsiteY53" fmla="*/ 88552 h 109895"/>
              <a:gd name="connsiteX54" fmla="*/ 156081 w 603360"/>
              <a:gd name="connsiteY54" fmla="*/ 75235 h 109895"/>
              <a:gd name="connsiteX55" fmla="*/ 157575 w 603360"/>
              <a:gd name="connsiteY55" fmla="*/ 54948 h 109895"/>
              <a:gd name="connsiteX56" fmla="*/ 156230 w 603360"/>
              <a:gd name="connsiteY56" fmla="*/ 34786 h 109895"/>
              <a:gd name="connsiteX57" fmla="*/ 152196 w 603360"/>
              <a:gd name="connsiteY57" fmla="*/ 21345 h 109895"/>
              <a:gd name="connsiteX58" fmla="*/ 145623 w 603360"/>
              <a:gd name="connsiteY58" fmla="*/ 14001 h 109895"/>
              <a:gd name="connsiteX59" fmla="*/ 136659 w 603360"/>
              <a:gd name="connsiteY59" fmla="*/ 11761 h 109895"/>
              <a:gd name="connsiteX60" fmla="*/ 127546 w 603360"/>
              <a:gd name="connsiteY60" fmla="*/ 14001 h 109895"/>
              <a:gd name="connsiteX61" fmla="*/ 120823 w 603360"/>
              <a:gd name="connsiteY61" fmla="*/ 21345 h 109895"/>
              <a:gd name="connsiteX62" fmla="*/ 116640 w 603360"/>
              <a:gd name="connsiteY62" fmla="*/ 34786 h 109895"/>
              <a:gd name="connsiteX63" fmla="*/ 115295 w 603360"/>
              <a:gd name="connsiteY63" fmla="*/ 54948 h 109895"/>
              <a:gd name="connsiteX64" fmla="*/ 116640 w 603360"/>
              <a:gd name="connsiteY64" fmla="*/ 75235 h 109895"/>
              <a:gd name="connsiteX65" fmla="*/ 120823 w 603360"/>
              <a:gd name="connsiteY65" fmla="*/ 88552 h 109895"/>
              <a:gd name="connsiteX66" fmla="*/ 127396 w 603360"/>
              <a:gd name="connsiteY66" fmla="*/ 95832 h 109895"/>
              <a:gd name="connsiteX67" fmla="*/ 136509 w 603360"/>
              <a:gd name="connsiteY67" fmla="*/ 98072 h 109895"/>
              <a:gd name="connsiteX68" fmla="*/ 218798 w 603360"/>
              <a:gd name="connsiteY68" fmla="*/ 109896 h 109895"/>
              <a:gd name="connsiteX69" fmla="*/ 204605 w 603360"/>
              <a:gd name="connsiteY69" fmla="*/ 106784 h 109895"/>
              <a:gd name="connsiteX70" fmla="*/ 193401 w 603360"/>
              <a:gd name="connsiteY70" fmla="*/ 96766 h 109895"/>
              <a:gd name="connsiteX71" fmla="*/ 186080 w 603360"/>
              <a:gd name="connsiteY71" fmla="*/ 79590 h 109895"/>
              <a:gd name="connsiteX72" fmla="*/ 183391 w 603360"/>
              <a:gd name="connsiteY72" fmla="*/ 54761 h 109895"/>
              <a:gd name="connsiteX73" fmla="*/ 186080 w 603360"/>
              <a:gd name="connsiteY73" fmla="*/ 30119 h 109895"/>
              <a:gd name="connsiteX74" fmla="*/ 193401 w 603360"/>
              <a:gd name="connsiteY74" fmla="*/ 12944 h 109895"/>
              <a:gd name="connsiteX75" fmla="*/ 204605 w 603360"/>
              <a:gd name="connsiteY75" fmla="*/ 3111 h 109895"/>
              <a:gd name="connsiteX76" fmla="*/ 218798 w 603360"/>
              <a:gd name="connsiteY76" fmla="*/ 0 h 109895"/>
              <a:gd name="connsiteX77" fmla="*/ 232842 w 603360"/>
              <a:gd name="connsiteY77" fmla="*/ 3111 h 109895"/>
              <a:gd name="connsiteX78" fmla="*/ 243897 w 603360"/>
              <a:gd name="connsiteY78" fmla="*/ 12944 h 109895"/>
              <a:gd name="connsiteX79" fmla="*/ 251068 w 603360"/>
              <a:gd name="connsiteY79" fmla="*/ 29870 h 109895"/>
              <a:gd name="connsiteX80" fmla="*/ 253757 w 603360"/>
              <a:gd name="connsiteY80" fmla="*/ 54512 h 109895"/>
              <a:gd name="connsiteX81" fmla="*/ 251068 w 603360"/>
              <a:gd name="connsiteY81" fmla="*/ 79279 h 109895"/>
              <a:gd name="connsiteX82" fmla="*/ 243897 w 603360"/>
              <a:gd name="connsiteY82" fmla="*/ 96454 h 109895"/>
              <a:gd name="connsiteX83" fmla="*/ 232842 w 603360"/>
              <a:gd name="connsiteY83" fmla="*/ 106597 h 109895"/>
              <a:gd name="connsiteX84" fmla="*/ 218798 w 603360"/>
              <a:gd name="connsiteY84" fmla="*/ 109896 h 109895"/>
              <a:gd name="connsiteX85" fmla="*/ 218649 w 603360"/>
              <a:gd name="connsiteY85" fmla="*/ 98072 h 109895"/>
              <a:gd name="connsiteX86" fmla="*/ 227613 w 603360"/>
              <a:gd name="connsiteY86" fmla="*/ 95832 h 109895"/>
              <a:gd name="connsiteX87" fmla="*/ 234186 w 603360"/>
              <a:gd name="connsiteY87" fmla="*/ 88552 h 109895"/>
              <a:gd name="connsiteX88" fmla="*/ 238220 w 603360"/>
              <a:gd name="connsiteY88" fmla="*/ 75235 h 109895"/>
              <a:gd name="connsiteX89" fmla="*/ 239714 w 603360"/>
              <a:gd name="connsiteY89" fmla="*/ 54948 h 109895"/>
              <a:gd name="connsiteX90" fmla="*/ 238369 w 603360"/>
              <a:gd name="connsiteY90" fmla="*/ 34786 h 109895"/>
              <a:gd name="connsiteX91" fmla="*/ 234336 w 603360"/>
              <a:gd name="connsiteY91" fmla="*/ 21345 h 109895"/>
              <a:gd name="connsiteX92" fmla="*/ 227762 w 603360"/>
              <a:gd name="connsiteY92" fmla="*/ 14001 h 109895"/>
              <a:gd name="connsiteX93" fmla="*/ 218798 w 603360"/>
              <a:gd name="connsiteY93" fmla="*/ 11761 h 109895"/>
              <a:gd name="connsiteX94" fmla="*/ 209685 w 603360"/>
              <a:gd name="connsiteY94" fmla="*/ 14001 h 109895"/>
              <a:gd name="connsiteX95" fmla="*/ 202962 w 603360"/>
              <a:gd name="connsiteY95" fmla="*/ 21345 h 109895"/>
              <a:gd name="connsiteX96" fmla="*/ 198779 w 603360"/>
              <a:gd name="connsiteY96" fmla="*/ 34786 h 109895"/>
              <a:gd name="connsiteX97" fmla="*/ 197434 w 603360"/>
              <a:gd name="connsiteY97" fmla="*/ 54948 h 109895"/>
              <a:gd name="connsiteX98" fmla="*/ 198779 w 603360"/>
              <a:gd name="connsiteY98" fmla="*/ 75235 h 109895"/>
              <a:gd name="connsiteX99" fmla="*/ 202962 w 603360"/>
              <a:gd name="connsiteY99" fmla="*/ 88552 h 109895"/>
              <a:gd name="connsiteX100" fmla="*/ 209536 w 603360"/>
              <a:gd name="connsiteY100" fmla="*/ 95832 h 109895"/>
              <a:gd name="connsiteX101" fmla="*/ 218649 w 603360"/>
              <a:gd name="connsiteY101" fmla="*/ 98072 h 109895"/>
              <a:gd name="connsiteX102" fmla="*/ 272104 w 603360"/>
              <a:gd name="connsiteY102" fmla="*/ 1307 h 109895"/>
              <a:gd name="connsiteX103" fmla="*/ 337541 w 603360"/>
              <a:gd name="connsiteY103" fmla="*/ 1307 h 109895"/>
              <a:gd name="connsiteX104" fmla="*/ 337541 w 603360"/>
              <a:gd name="connsiteY104" fmla="*/ 14188 h 109895"/>
              <a:gd name="connsiteX105" fmla="*/ 286148 w 603360"/>
              <a:gd name="connsiteY105" fmla="*/ 14188 h 109895"/>
              <a:gd name="connsiteX106" fmla="*/ 286148 w 603360"/>
              <a:gd name="connsiteY106" fmla="*/ 49720 h 109895"/>
              <a:gd name="connsiteX107" fmla="*/ 329772 w 603360"/>
              <a:gd name="connsiteY107" fmla="*/ 49720 h 109895"/>
              <a:gd name="connsiteX108" fmla="*/ 329772 w 603360"/>
              <a:gd name="connsiteY108" fmla="*/ 62415 h 109895"/>
              <a:gd name="connsiteX109" fmla="*/ 286148 w 603360"/>
              <a:gd name="connsiteY109" fmla="*/ 62415 h 109895"/>
              <a:gd name="connsiteX110" fmla="*/ 286148 w 603360"/>
              <a:gd name="connsiteY110" fmla="*/ 108402 h 109895"/>
              <a:gd name="connsiteX111" fmla="*/ 272104 w 603360"/>
              <a:gd name="connsiteY111" fmla="*/ 108402 h 109895"/>
              <a:gd name="connsiteX112" fmla="*/ 272104 w 603360"/>
              <a:gd name="connsiteY112" fmla="*/ 1307 h 109895"/>
              <a:gd name="connsiteX113" fmla="*/ 378110 w 603360"/>
              <a:gd name="connsiteY113" fmla="*/ 1307 h 109895"/>
              <a:gd name="connsiteX114" fmla="*/ 399026 w 603360"/>
              <a:gd name="connsiteY114" fmla="*/ 1307 h 109895"/>
              <a:gd name="connsiteX115" fmla="*/ 437421 w 603360"/>
              <a:gd name="connsiteY115" fmla="*/ 108402 h 109895"/>
              <a:gd name="connsiteX116" fmla="*/ 422481 w 603360"/>
              <a:gd name="connsiteY116" fmla="*/ 108402 h 109895"/>
              <a:gd name="connsiteX117" fmla="*/ 411426 w 603360"/>
              <a:gd name="connsiteY117" fmla="*/ 77786 h 109895"/>
              <a:gd name="connsiteX118" fmla="*/ 364067 w 603360"/>
              <a:gd name="connsiteY118" fmla="*/ 77786 h 109895"/>
              <a:gd name="connsiteX119" fmla="*/ 353161 w 603360"/>
              <a:gd name="connsiteY119" fmla="*/ 108402 h 109895"/>
              <a:gd name="connsiteX120" fmla="*/ 340014 w 603360"/>
              <a:gd name="connsiteY120" fmla="*/ 108402 h 109895"/>
              <a:gd name="connsiteX121" fmla="*/ 378110 w 603360"/>
              <a:gd name="connsiteY121" fmla="*/ 1307 h 109895"/>
              <a:gd name="connsiteX122" fmla="*/ 406944 w 603360"/>
              <a:gd name="connsiteY122" fmla="*/ 65091 h 109895"/>
              <a:gd name="connsiteX123" fmla="*/ 387821 w 603360"/>
              <a:gd name="connsiteY123" fmla="*/ 11761 h 109895"/>
              <a:gd name="connsiteX124" fmla="*/ 368698 w 603360"/>
              <a:gd name="connsiteY124" fmla="*/ 65091 h 109895"/>
              <a:gd name="connsiteX125" fmla="*/ 406944 w 603360"/>
              <a:gd name="connsiteY125" fmla="*/ 65091 h 109895"/>
              <a:gd name="connsiteX126" fmla="*/ 453016 w 603360"/>
              <a:gd name="connsiteY126" fmla="*/ 1307 h 109895"/>
              <a:gd name="connsiteX127" fmla="*/ 518453 w 603360"/>
              <a:gd name="connsiteY127" fmla="*/ 1307 h 109895"/>
              <a:gd name="connsiteX128" fmla="*/ 518453 w 603360"/>
              <a:gd name="connsiteY128" fmla="*/ 14188 h 109895"/>
              <a:gd name="connsiteX129" fmla="*/ 467059 w 603360"/>
              <a:gd name="connsiteY129" fmla="*/ 14188 h 109895"/>
              <a:gd name="connsiteX130" fmla="*/ 467059 w 603360"/>
              <a:gd name="connsiteY130" fmla="*/ 49720 h 109895"/>
              <a:gd name="connsiteX131" fmla="*/ 510683 w 603360"/>
              <a:gd name="connsiteY131" fmla="*/ 49720 h 109895"/>
              <a:gd name="connsiteX132" fmla="*/ 510683 w 603360"/>
              <a:gd name="connsiteY132" fmla="*/ 62415 h 109895"/>
              <a:gd name="connsiteX133" fmla="*/ 467059 w 603360"/>
              <a:gd name="connsiteY133" fmla="*/ 62415 h 109895"/>
              <a:gd name="connsiteX134" fmla="*/ 467059 w 603360"/>
              <a:gd name="connsiteY134" fmla="*/ 108402 h 109895"/>
              <a:gd name="connsiteX135" fmla="*/ 453016 w 603360"/>
              <a:gd name="connsiteY135" fmla="*/ 108402 h 109895"/>
              <a:gd name="connsiteX136" fmla="*/ 453016 w 603360"/>
              <a:gd name="connsiteY136" fmla="*/ 1307 h 109895"/>
              <a:gd name="connsiteX137" fmla="*/ 537924 w 603360"/>
              <a:gd name="connsiteY137" fmla="*/ 1307 h 109895"/>
              <a:gd name="connsiteX138" fmla="*/ 603360 w 603360"/>
              <a:gd name="connsiteY138" fmla="*/ 1307 h 109895"/>
              <a:gd name="connsiteX139" fmla="*/ 603360 w 603360"/>
              <a:gd name="connsiteY139" fmla="*/ 14188 h 109895"/>
              <a:gd name="connsiteX140" fmla="*/ 551968 w 603360"/>
              <a:gd name="connsiteY140" fmla="*/ 14188 h 109895"/>
              <a:gd name="connsiteX141" fmla="*/ 551968 w 603360"/>
              <a:gd name="connsiteY141" fmla="*/ 49720 h 109895"/>
              <a:gd name="connsiteX142" fmla="*/ 595592 w 603360"/>
              <a:gd name="connsiteY142" fmla="*/ 49720 h 109895"/>
              <a:gd name="connsiteX143" fmla="*/ 595592 w 603360"/>
              <a:gd name="connsiteY143" fmla="*/ 62415 h 109895"/>
              <a:gd name="connsiteX144" fmla="*/ 551968 w 603360"/>
              <a:gd name="connsiteY144" fmla="*/ 62415 h 109895"/>
              <a:gd name="connsiteX145" fmla="*/ 551968 w 603360"/>
              <a:gd name="connsiteY145" fmla="*/ 108402 h 109895"/>
              <a:gd name="connsiteX146" fmla="*/ 537924 w 603360"/>
              <a:gd name="connsiteY146" fmla="*/ 108402 h 109895"/>
              <a:gd name="connsiteX147" fmla="*/ 537924 w 603360"/>
              <a:gd name="connsiteY14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3360" h="109895">
                <a:moveTo>
                  <a:pt x="50795" y="77475"/>
                </a:moveTo>
                <a:lnTo>
                  <a:pt x="28386" y="77475"/>
                </a:lnTo>
                <a:lnTo>
                  <a:pt x="22111" y="108402"/>
                </a:ln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close/>
                <a:moveTo>
                  <a:pt x="53036" y="67020"/>
                </a:move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lnTo>
                  <a:pt x="53036" y="67020"/>
                </a:lnTo>
                <a:close/>
                <a:moveTo>
                  <a:pt x="136659" y="109896"/>
                </a:moveTo>
                <a:cubicBezTo>
                  <a:pt x="131579" y="109896"/>
                  <a:pt x="126848" y="108837"/>
                  <a:pt x="122466" y="106784"/>
                </a:cubicBezTo>
                <a:cubicBezTo>
                  <a:pt x="118183" y="104544"/>
                  <a:pt x="114448" y="101246"/>
                  <a:pt x="111261" y="96766"/>
                </a:cubicBezTo>
                <a:cubicBezTo>
                  <a:pt x="108174" y="92161"/>
                  <a:pt x="105734" y="86435"/>
                  <a:pt x="103941" y="79590"/>
                </a:cubicBezTo>
                <a:cubicBezTo>
                  <a:pt x="102148" y="72621"/>
                  <a:pt x="101252" y="64345"/>
                  <a:pt x="101252" y="54761"/>
                </a:cubicBezTo>
                <a:cubicBezTo>
                  <a:pt x="101252" y="45240"/>
                  <a:pt x="102148" y="37026"/>
                  <a:pt x="103941" y="30119"/>
                </a:cubicBezTo>
                <a:cubicBezTo>
                  <a:pt x="105734" y="23150"/>
                  <a:pt x="108174" y="17424"/>
                  <a:pt x="111261" y="12944"/>
                </a:cubicBezTo>
                <a:cubicBezTo>
                  <a:pt x="114448" y="8463"/>
                  <a:pt x="118183" y="5228"/>
                  <a:pt x="122466" y="3111"/>
                </a:cubicBezTo>
                <a:cubicBezTo>
                  <a:pt x="126848" y="996"/>
                  <a:pt x="131579" y="0"/>
                  <a:pt x="136659" y="0"/>
                </a:cubicBezTo>
                <a:cubicBezTo>
                  <a:pt x="141738" y="0"/>
                  <a:pt x="146420" y="996"/>
                  <a:pt x="150702" y="3111"/>
                </a:cubicBezTo>
                <a:cubicBezTo>
                  <a:pt x="154985" y="5228"/>
                  <a:pt x="158670" y="8463"/>
                  <a:pt x="161758" y="12944"/>
                </a:cubicBezTo>
                <a:cubicBezTo>
                  <a:pt x="164845" y="17362"/>
                  <a:pt x="167236" y="22963"/>
                  <a:pt x="168929" y="29870"/>
                </a:cubicBezTo>
                <a:cubicBezTo>
                  <a:pt x="170721" y="36715"/>
                  <a:pt x="171618" y="44930"/>
                  <a:pt x="171618" y="54512"/>
                </a:cubicBezTo>
                <a:cubicBezTo>
                  <a:pt x="171618" y="64033"/>
                  <a:pt x="170721" y="72309"/>
                  <a:pt x="168929" y="79279"/>
                </a:cubicBezTo>
                <a:cubicBezTo>
                  <a:pt x="167236" y="86125"/>
                  <a:pt x="164845" y="91849"/>
                  <a:pt x="161758" y="96454"/>
                </a:cubicBezTo>
                <a:cubicBezTo>
                  <a:pt x="158670" y="101059"/>
                  <a:pt x="154985" y="104419"/>
                  <a:pt x="150702" y="106597"/>
                </a:cubicBezTo>
                <a:cubicBezTo>
                  <a:pt x="146420" y="108776"/>
                  <a:pt x="141738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39896" y="98072"/>
                  <a:pt x="142884" y="97325"/>
                  <a:pt x="145473" y="95832"/>
                </a:cubicBezTo>
                <a:cubicBezTo>
                  <a:pt x="148063" y="94339"/>
                  <a:pt x="150254" y="91912"/>
                  <a:pt x="152047" y="88552"/>
                </a:cubicBezTo>
                <a:cubicBezTo>
                  <a:pt x="153840" y="85129"/>
                  <a:pt x="155184" y="80711"/>
                  <a:pt x="156081" y="75235"/>
                </a:cubicBezTo>
                <a:cubicBezTo>
                  <a:pt x="157077" y="69696"/>
                  <a:pt x="157575" y="62913"/>
                  <a:pt x="157575" y="54948"/>
                </a:cubicBezTo>
                <a:cubicBezTo>
                  <a:pt x="157575" y="46983"/>
                  <a:pt x="157126" y="40262"/>
                  <a:pt x="156230" y="34786"/>
                </a:cubicBezTo>
                <a:cubicBezTo>
                  <a:pt x="155334" y="29186"/>
                  <a:pt x="153989" y="24705"/>
                  <a:pt x="152196" y="21345"/>
                </a:cubicBezTo>
                <a:cubicBezTo>
                  <a:pt x="150403" y="17922"/>
                  <a:pt x="148212" y="15495"/>
                  <a:pt x="145623" y="14001"/>
                </a:cubicBezTo>
                <a:cubicBezTo>
                  <a:pt x="143033" y="12508"/>
                  <a:pt x="140045" y="11761"/>
                  <a:pt x="136659" y="11761"/>
                </a:cubicBezTo>
                <a:cubicBezTo>
                  <a:pt x="133273" y="11761"/>
                  <a:pt x="130235" y="12508"/>
                  <a:pt x="127546" y="14001"/>
                </a:cubicBezTo>
                <a:cubicBezTo>
                  <a:pt x="124956" y="15495"/>
                  <a:pt x="122715" y="17922"/>
                  <a:pt x="120823" y="21345"/>
                </a:cubicBezTo>
                <a:cubicBezTo>
                  <a:pt x="119030" y="24705"/>
                  <a:pt x="117636" y="29186"/>
                  <a:pt x="116640" y="34786"/>
                </a:cubicBezTo>
                <a:cubicBezTo>
                  <a:pt x="115743" y="40262"/>
                  <a:pt x="115295" y="46983"/>
                  <a:pt x="115295" y="54948"/>
                </a:cubicBezTo>
                <a:cubicBezTo>
                  <a:pt x="115295" y="62913"/>
                  <a:pt x="115743" y="69696"/>
                  <a:pt x="116640" y="75235"/>
                </a:cubicBezTo>
                <a:cubicBezTo>
                  <a:pt x="117636" y="80711"/>
                  <a:pt x="119030" y="85129"/>
                  <a:pt x="120823" y="88552"/>
                </a:cubicBezTo>
                <a:cubicBezTo>
                  <a:pt x="122615" y="91912"/>
                  <a:pt x="124807" y="94339"/>
                  <a:pt x="127396" y="95832"/>
                </a:cubicBezTo>
                <a:cubicBezTo>
                  <a:pt x="130085" y="97325"/>
                  <a:pt x="133123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3719" y="109896"/>
                  <a:pt x="208988" y="108837"/>
                  <a:pt x="204605" y="106784"/>
                </a:cubicBezTo>
                <a:cubicBezTo>
                  <a:pt x="200323" y="104544"/>
                  <a:pt x="196588" y="101246"/>
                  <a:pt x="193401" y="96766"/>
                </a:cubicBezTo>
                <a:cubicBezTo>
                  <a:pt x="190313" y="92161"/>
                  <a:pt x="187873" y="86435"/>
                  <a:pt x="186080" y="79590"/>
                </a:cubicBezTo>
                <a:cubicBezTo>
                  <a:pt x="184287" y="72621"/>
                  <a:pt x="183391" y="64345"/>
                  <a:pt x="183391" y="54761"/>
                </a:cubicBezTo>
                <a:cubicBezTo>
                  <a:pt x="183391" y="45240"/>
                  <a:pt x="184287" y="37026"/>
                  <a:pt x="186080" y="30119"/>
                </a:cubicBezTo>
                <a:cubicBezTo>
                  <a:pt x="187873" y="23150"/>
                  <a:pt x="190313" y="17424"/>
                  <a:pt x="193401" y="12944"/>
                </a:cubicBezTo>
                <a:cubicBezTo>
                  <a:pt x="196588" y="8463"/>
                  <a:pt x="200323" y="5228"/>
                  <a:pt x="204605" y="3111"/>
                </a:cubicBezTo>
                <a:cubicBezTo>
                  <a:pt x="208988" y="996"/>
                  <a:pt x="213719" y="0"/>
                  <a:pt x="218798" y="0"/>
                </a:cubicBezTo>
                <a:cubicBezTo>
                  <a:pt x="223878" y="0"/>
                  <a:pt x="228559" y="996"/>
                  <a:pt x="232842" y="3111"/>
                </a:cubicBezTo>
                <a:cubicBezTo>
                  <a:pt x="237124" y="5228"/>
                  <a:pt x="240809" y="8463"/>
                  <a:pt x="243897" y="12944"/>
                </a:cubicBezTo>
                <a:cubicBezTo>
                  <a:pt x="246985" y="17362"/>
                  <a:pt x="249375" y="22963"/>
                  <a:pt x="251068" y="29870"/>
                </a:cubicBezTo>
                <a:cubicBezTo>
                  <a:pt x="252861" y="36715"/>
                  <a:pt x="253757" y="44930"/>
                  <a:pt x="253757" y="54512"/>
                </a:cubicBezTo>
                <a:cubicBezTo>
                  <a:pt x="253757" y="64033"/>
                  <a:pt x="252861" y="72309"/>
                  <a:pt x="251068" y="79279"/>
                </a:cubicBezTo>
                <a:cubicBezTo>
                  <a:pt x="249375" y="86125"/>
                  <a:pt x="246985" y="91849"/>
                  <a:pt x="243897" y="96454"/>
                </a:cubicBezTo>
                <a:cubicBezTo>
                  <a:pt x="240809" y="101059"/>
                  <a:pt x="237124" y="104419"/>
                  <a:pt x="232842" y="106597"/>
                </a:cubicBezTo>
                <a:cubicBezTo>
                  <a:pt x="228559" y="108776"/>
                  <a:pt x="223878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2035" y="98072"/>
                  <a:pt x="225023" y="97325"/>
                  <a:pt x="227613" y="95832"/>
                </a:cubicBezTo>
                <a:cubicBezTo>
                  <a:pt x="230202" y="94339"/>
                  <a:pt x="232393" y="91912"/>
                  <a:pt x="234186" y="88552"/>
                </a:cubicBezTo>
                <a:cubicBezTo>
                  <a:pt x="235979" y="85129"/>
                  <a:pt x="237324" y="80711"/>
                  <a:pt x="238220" y="75235"/>
                </a:cubicBezTo>
                <a:cubicBezTo>
                  <a:pt x="239216" y="69696"/>
                  <a:pt x="239714" y="62913"/>
                  <a:pt x="239714" y="54948"/>
                </a:cubicBezTo>
                <a:cubicBezTo>
                  <a:pt x="239714" y="46983"/>
                  <a:pt x="239266" y="40262"/>
                  <a:pt x="238369" y="34786"/>
                </a:cubicBezTo>
                <a:cubicBezTo>
                  <a:pt x="237473" y="29186"/>
                  <a:pt x="236128" y="24705"/>
                  <a:pt x="234336" y="21345"/>
                </a:cubicBezTo>
                <a:cubicBezTo>
                  <a:pt x="232543" y="17922"/>
                  <a:pt x="230352" y="15495"/>
                  <a:pt x="227762" y="14001"/>
                </a:cubicBezTo>
                <a:cubicBezTo>
                  <a:pt x="225173" y="12508"/>
                  <a:pt x="222185" y="11761"/>
                  <a:pt x="218798" y="11761"/>
                </a:cubicBezTo>
                <a:cubicBezTo>
                  <a:pt x="215412" y="11761"/>
                  <a:pt x="212374" y="12508"/>
                  <a:pt x="209685" y="14001"/>
                </a:cubicBezTo>
                <a:cubicBezTo>
                  <a:pt x="207095" y="15495"/>
                  <a:pt x="204854" y="17922"/>
                  <a:pt x="202962" y="21345"/>
                </a:cubicBezTo>
                <a:cubicBezTo>
                  <a:pt x="201169" y="24705"/>
                  <a:pt x="199775" y="29186"/>
                  <a:pt x="198779" y="34786"/>
                </a:cubicBezTo>
                <a:cubicBezTo>
                  <a:pt x="197883" y="40262"/>
                  <a:pt x="197434" y="46983"/>
                  <a:pt x="197434" y="54948"/>
                </a:cubicBezTo>
                <a:cubicBezTo>
                  <a:pt x="197434" y="62913"/>
                  <a:pt x="197883" y="69696"/>
                  <a:pt x="198779" y="75235"/>
                </a:cubicBezTo>
                <a:cubicBezTo>
                  <a:pt x="199775" y="80711"/>
                  <a:pt x="201169" y="85129"/>
                  <a:pt x="202962" y="88552"/>
                </a:cubicBezTo>
                <a:cubicBezTo>
                  <a:pt x="204755" y="91912"/>
                  <a:pt x="206946" y="94339"/>
                  <a:pt x="209536" y="95832"/>
                </a:cubicBezTo>
                <a:cubicBezTo>
                  <a:pt x="212225" y="97325"/>
                  <a:pt x="215262" y="98072"/>
                  <a:pt x="218649" y="98072"/>
                </a:cubicBezTo>
                <a:close/>
                <a:moveTo>
                  <a:pt x="272104" y="1307"/>
                </a:moveTo>
                <a:lnTo>
                  <a:pt x="337541" y="1307"/>
                </a:lnTo>
                <a:lnTo>
                  <a:pt x="337541" y="14188"/>
                </a:lnTo>
                <a:lnTo>
                  <a:pt x="286148" y="14188"/>
                </a:lnTo>
                <a:lnTo>
                  <a:pt x="286148" y="49720"/>
                </a:lnTo>
                <a:lnTo>
                  <a:pt x="329772" y="49720"/>
                </a:lnTo>
                <a:lnTo>
                  <a:pt x="329772" y="62415"/>
                </a:lnTo>
                <a:lnTo>
                  <a:pt x="286148" y="62415"/>
                </a:lnTo>
                <a:lnTo>
                  <a:pt x="286148" y="108402"/>
                </a:ln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378110" y="1307"/>
                </a:moveTo>
                <a:lnTo>
                  <a:pt x="399026" y="1307"/>
                </a:lnTo>
                <a:lnTo>
                  <a:pt x="437421" y="108402"/>
                </a:lnTo>
                <a:lnTo>
                  <a:pt x="422481" y="108402"/>
                </a:lnTo>
                <a:lnTo>
                  <a:pt x="411426" y="77786"/>
                </a:lnTo>
                <a:lnTo>
                  <a:pt x="364067" y="77786"/>
                </a:lnTo>
                <a:lnTo>
                  <a:pt x="353161" y="108402"/>
                </a:lnTo>
                <a:lnTo>
                  <a:pt x="340014" y="108402"/>
                </a:lnTo>
                <a:lnTo>
                  <a:pt x="378110" y="1307"/>
                </a:lnTo>
                <a:close/>
                <a:moveTo>
                  <a:pt x="406944" y="65091"/>
                </a:moveTo>
                <a:lnTo>
                  <a:pt x="387821" y="11761"/>
                </a:lnTo>
                <a:lnTo>
                  <a:pt x="368698" y="65091"/>
                </a:lnTo>
                <a:lnTo>
                  <a:pt x="406944" y="65091"/>
                </a:lnTo>
                <a:close/>
                <a:moveTo>
                  <a:pt x="453016" y="1307"/>
                </a:moveTo>
                <a:lnTo>
                  <a:pt x="518453" y="1307"/>
                </a:lnTo>
                <a:lnTo>
                  <a:pt x="518453" y="14188"/>
                </a:lnTo>
                <a:lnTo>
                  <a:pt x="467059" y="14188"/>
                </a:lnTo>
                <a:lnTo>
                  <a:pt x="467059" y="49720"/>
                </a:lnTo>
                <a:lnTo>
                  <a:pt x="510683" y="49720"/>
                </a:lnTo>
                <a:lnTo>
                  <a:pt x="510683" y="62415"/>
                </a:lnTo>
                <a:lnTo>
                  <a:pt x="467059" y="62415"/>
                </a:lnTo>
                <a:lnTo>
                  <a:pt x="467059" y="108402"/>
                </a:lnTo>
                <a:lnTo>
                  <a:pt x="453016" y="108402"/>
                </a:lnTo>
                <a:lnTo>
                  <a:pt x="453016" y="1307"/>
                </a:lnTo>
                <a:close/>
                <a:moveTo>
                  <a:pt x="537924" y="1307"/>
                </a:moveTo>
                <a:lnTo>
                  <a:pt x="603360" y="1307"/>
                </a:lnTo>
                <a:lnTo>
                  <a:pt x="603360" y="14188"/>
                </a:lnTo>
                <a:lnTo>
                  <a:pt x="551968" y="14188"/>
                </a:lnTo>
                <a:lnTo>
                  <a:pt x="551968" y="49720"/>
                </a:lnTo>
                <a:lnTo>
                  <a:pt x="595592" y="49720"/>
                </a:lnTo>
                <a:lnTo>
                  <a:pt x="595592" y="62415"/>
                </a:lnTo>
                <a:lnTo>
                  <a:pt x="551968" y="62415"/>
                </a:lnTo>
                <a:lnTo>
                  <a:pt x="551968" y="108402"/>
                </a:lnTo>
                <a:lnTo>
                  <a:pt x="537924" y="108402"/>
                </a:lnTo>
                <a:lnTo>
                  <a:pt x="537924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8" name="Полилиния 977">
            <a:extLst>
              <a:ext uri="{FF2B5EF4-FFF2-40B4-BE49-F238E27FC236}">
                <a16:creationId xmlns:a16="http://schemas.microsoft.com/office/drawing/2014/main" id="{70566EAE-9468-AE0A-1F74-03747EEDAAB6}"/>
              </a:ext>
            </a:extLst>
          </p:cNvPr>
          <p:cNvSpPr/>
          <p:nvPr userDrawn="1"/>
        </p:nvSpPr>
        <p:spPr>
          <a:xfrm>
            <a:off x="12270615" y="8871204"/>
            <a:ext cx="1398954" cy="726227"/>
          </a:xfrm>
          <a:custGeom>
            <a:avLst/>
            <a:gdLst>
              <a:gd name="connsiteX0" fmla="*/ 0 w 1198727"/>
              <a:gd name="connsiteY0" fmla="*/ 1622 h 622284"/>
              <a:gd name="connsiteX1" fmla="*/ 1198728 w 1198727"/>
              <a:gd name="connsiteY1" fmla="*/ 1622 h 622284"/>
              <a:gd name="connsiteX2" fmla="*/ 1198728 w 1198727"/>
              <a:gd name="connsiteY2" fmla="*/ 623906 h 622284"/>
              <a:gd name="connsiteX3" fmla="*/ 0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622"/>
                </a:moveTo>
                <a:lnTo>
                  <a:pt x="1198728" y="1622"/>
                </a:lnTo>
                <a:lnTo>
                  <a:pt x="1198728" y="623906"/>
                </a:lnTo>
                <a:lnTo>
                  <a:pt x="0" y="623906"/>
                </a:lnTo>
                <a:close/>
              </a:path>
            </a:pathLst>
          </a:custGeom>
          <a:solidFill>
            <a:srgbClr val="5AFA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9" name="Полилиния 978">
            <a:extLst>
              <a:ext uri="{FF2B5EF4-FFF2-40B4-BE49-F238E27FC236}">
                <a16:creationId xmlns:a16="http://schemas.microsoft.com/office/drawing/2014/main" id="{0B0670D7-6F77-4CDF-F466-4E85A302C131}"/>
              </a:ext>
            </a:extLst>
          </p:cNvPr>
          <p:cNvSpPr/>
          <p:nvPr userDrawn="1"/>
        </p:nvSpPr>
        <p:spPr>
          <a:xfrm>
            <a:off x="12393824" y="9174693"/>
            <a:ext cx="729001" cy="126725"/>
          </a:xfrm>
          <a:custGeom>
            <a:avLst/>
            <a:gdLst>
              <a:gd name="connsiteX0" fmla="*/ 50795 w 624661"/>
              <a:gd name="connsiteY0" fmla="*/ 76168 h 108588"/>
              <a:gd name="connsiteX1" fmla="*/ 28386 w 624661"/>
              <a:gd name="connsiteY1" fmla="*/ 76168 h 108588"/>
              <a:gd name="connsiteX2" fmla="*/ 22111 w 624661"/>
              <a:gd name="connsiteY2" fmla="*/ 107095 h 108588"/>
              <a:gd name="connsiteX3" fmla="*/ 10159 w 624661"/>
              <a:gd name="connsiteY3" fmla="*/ 107095 h 108588"/>
              <a:gd name="connsiteX4" fmla="*/ 16434 w 624661"/>
              <a:gd name="connsiteY4" fmla="*/ 76168 h 108588"/>
              <a:gd name="connsiteX5" fmla="*/ 0 w 624661"/>
              <a:gd name="connsiteY5" fmla="*/ 76168 h 108588"/>
              <a:gd name="connsiteX6" fmla="*/ 0 w 624661"/>
              <a:gd name="connsiteY6" fmla="*/ 65713 h 108588"/>
              <a:gd name="connsiteX7" fmla="*/ 18675 w 624661"/>
              <a:gd name="connsiteY7" fmla="*/ 65713 h 108588"/>
              <a:gd name="connsiteX8" fmla="*/ 24202 w 624661"/>
              <a:gd name="connsiteY8" fmla="*/ 38519 h 108588"/>
              <a:gd name="connsiteX9" fmla="*/ 4034 w 624661"/>
              <a:gd name="connsiteY9" fmla="*/ 38519 h 108588"/>
              <a:gd name="connsiteX10" fmla="*/ 4034 w 624661"/>
              <a:gd name="connsiteY10" fmla="*/ 28065 h 108588"/>
              <a:gd name="connsiteX11" fmla="*/ 26294 w 624661"/>
              <a:gd name="connsiteY11" fmla="*/ 28065 h 108588"/>
              <a:gd name="connsiteX12" fmla="*/ 32120 w 624661"/>
              <a:gd name="connsiteY12" fmla="*/ 0 h 108588"/>
              <a:gd name="connsiteX13" fmla="*/ 44072 w 624661"/>
              <a:gd name="connsiteY13" fmla="*/ 0 h 108588"/>
              <a:gd name="connsiteX14" fmla="*/ 38246 w 624661"/>
              <a:gd name="connsiteY14" fmla="*/ 28065 h 108588"/>
              <a:gd name="connsiteX15" fmla="*/ 60655 w 624661"/>
              <a:gd name="connsiteY15" fmla="*/ 28065 h 108588"/>
              <a:gd name="connsiteX16" fmla="*/ 66482 w 624661"/>
              <a:gd name="connsiteY16" fmla="*/ 0 h 108588"/>
              <a:gd name="connsiteX17" fmla="*/ 78434 w 624661"/>
              <a:gd name="connsiteY17" fmla="*/ 0 h 108588"/>
              <a:gd name="connsiteX18" fmla="*/ 72607 w 624661"/>
              <a:gd name="connsiteY18" fmla="*/ 28065 h 108588"/>
              <a:gd name="connsiteX19" fmla="*/ 89340 w 624661"/>
              <a:gd name="connsiteY19" fmla="*/ 28065 h 108588"/>
              <a:gd name="connsiteX20" fmla="*/ 89340 w 624661"/>
              <a:gd name="connsiteY20" fmla="*/ 38519 h 108588"/>
              <a:gd name="connsiteX21" fmla="*/ 70516 w 624661"/>
              <a:gd name="connsiteY21" fmla="*/ 38519 h 108588"/>
              <a:gd name="connsiteX22" fmla="*/ 64988 w 624661"/>
              <a:gd name="connsiteY22" fmla="*/ 65713 h 108588"/>
              <a:gd name="connsiteX23" fmla="*/ 85306 w 624661"/>
              <a:gd name="connsiteY23" fmla="*/ 65713 h 108588"/>
              <a:gd name="connsiteX24" fmla="*/ 85306 w 624661"/>
              <a:gd name="connsiteY24" fmla="*/ 76168 h 108588"/>
              <a:gd name="connsiteX25" fmla="*/ 62747 w 624661"/>
              <a:gd name="connsiteY25" fmla="*/ 76168 h 108588"/>
              <a:gd name="connsiteX26" fmla="*/ 56472 w 624661"/>
              <a:gd name="connsiteY26" fmla="*/ 107095 h 108588"/>
              <a:gd name="connsiteX27" fmla="*/ 44520 w 624661"/>
              <a:gd name="connsiteY27" fmla="*/ 107095 h 108588"/>
              <a:gd name="connsiteX28" fmla="*/ 50795 w 624661"/>
              <a:gd name="connsiteY28" fmla="*/ 76168 h 108588"/>
              <a:gd name="connsiteX29" fmla="*/ 53036 w 624661"/>
              <a:gd name="connsiteY29" fmla="*/ 65713 h 108588"/>
              <a:gd name="connsiteX30" fmla="*/ 58564 w 624661"/>
              <a:gd name="connsiteY30" fmla="*/ 38519 h 108588"/>
              <a:gd name="connsiteX31" fmla="*/ 36154 w 624661"/>
              <a:gd name="connsiteY31" fmla="*/ 38519 h 108588"/>
              <a:gd name="connsiteX32" fmla="*/ 30626 w 624661"/>
              <a:gd name="connsiteY32" fmla="*/ 65713 h 108588"/>
              <a:gd name="connsiteX33" fmla="*/ 53036 w 624661"/>
              <a:gd name="connsiteY33" fmla="*/ 65713 h 108588"/>
              <a:gd name="connsiteX34" fmla="*/ 169078 w 624661"/>
              <a:gd name="connsiteY34" fmla="*/ 71687 h 108588"/>
              <a:gd name="connsiteX35" fmla="*/ 166389 w 624661"/>
              <a:gd name="connsiteY35" fmla="*/ 86933 h 108588"/>
              <a:gd name="connsiteX36" fmla="*/ 158919 w 624661"/>
              <a:gd name="connsiteY36" fmla="*/ 98570 h 108588"/>
              <a:gd name="connsiteX37" fmla="*/ 147117 w 624661"/>
              <a:gd name="connsiteY37" fmla="*/ 106037 h 108588"/>
              <a:gd name="connsiteX38" fmla="*/ 131729 w 624661"/>
              <a:gd name="connsiteY38" fmla="*/ 108588 h 108588"/>
              <a:gd name="connsiteX39" fmla="*/ 115146 w 624661"/>
              <a:gd name="connsiteY39" fmla="*/ 106660 h 108588"/>
              <a:gd name="connsiteX40" fmla="*/ 103194 w 624661"/>
              <a:gd name="connsiteY40" fmla="*/ 100997 h 108588"/>
              <a:gd name="connsiteX41" fmla="*/ 103194 w 624661"/>
              <a:gd name="connsiteY41" fmla="*/ 86311 h 108588"/>
              <a:gd name="connsiteX42" fmla="*/ 114847 w 624661"/>
              <a:gd name="connsiteY42" fmla="*/ 93529 h 108588"/>
              <a:gd name="connsiteX43" fmla="*/ 131729 w 624661"/>
              <a:gd name="connsiteY43" fmla="*/ 96329 h 108588"/>
              <a:gd name="connsiteX44" fmla="*/ 148760 w 624661"/>
              <a:gd name="connsiteY44" fmla="*/ 89608 h 108588"/>
              <a:gd name="connsiteX45" fmla="*/ 154885 w 624661"/>
              <a:gd name="connsiteY45" fmla="*/ 71998 h 108588"/>
              <a:gd name="connsiteX46" fmla="*/ 148909 w 624661"/>
              <a:gd name="connsiteY46" fmla="*/ 54947 h 108588"/>
              <a:gd name="connsiteX47" fmla="*/ 133820 w 624661"/>
              <a:gd name="connsiteY47" fmla="*/ 49596 h 108588"/>
              <a:gd name="connsiteX48" fmla="*/ 123064 w 624661"/>
              <a:gd name="connsiteY48" fmla="*/ 51836 h 108588"/>
              <a:gd name="connsiteX49" fmla="*/ 117088 w 624661"/>
              <a:gd name="connsiteY49" fmla="*/ 56316 h 108588"/>
              <a:gd name="connsiteX50" fmla="*/ 106182 w 624661"/>
              <a:gd name="connsiteY50" fmla="*/ 56316 h 108588"/>
              <a:gd name="connsiteX51" fmla="*/ 106182 w 624661"/>
              <a:gd name="connsiteY51" fmla="*/ 0 h 108588"/>
              <a:gd name="connsiteX52" fmla="*/ 164148 w 624661"/>
              <a:gd name="connsiteY52" fmla="*/ 0 h 108588"/>
              <a:gd name="connsiteX53" fmla="*/ 164148 w 624661"/>
              <a:gd name="connsiteY53" fmla="*/ 12881 h 108588"/>
              <a:gd name="connsiteX54" fmla="*/ 118432 w 624661"/>
              <a:gd name="connsiteY54" fmla="*/ 12881 h 108588"/>
              <a:gd name="connsiteX55" fmla="*/ 118432 w 624661"/>
              <a:gd name="connsiteY55" fmla="*/ 43498 h 108588"/>
              <a:gd name="connsiteX56" fmla="*/ 125753 w 624661"/>
              <a:gd name="connsiteY56" fmla="*/ 39577 h 108588"/>
              <a:gd name="connsiteX57" fmla="*/ 136061 w 624661"/>
              <a:gd name="connsiteY57" fmla="*/ 37772 h 108588"/>
              <a:gd name="connsiteX58" fmla="*/ 148909 w 624661"/>
              <a:gd name="connsiteY58" fmla="*/ 40012 h 108588"/>
              <a:gd name="connsiteX59" fmla="*/ 159517 w 624661"/>
              <a:gd name="connsiteY59" fmla="*/ 46484 h 108588"/>
              <a:gd name="connsiteX60" fmla="*/ 166538 w 624661"/>
              <a:gd name="connsiteY60" fmla="*/ 57063 h 108588"/>
              <a:gd name="connsiteX61" fmla="*/ 169078 w 624661"/>
              <a:gd name="connsiteY61" fmla="*/ 71687 h 108588"/>
              <a:gd name="connsiteX62" fmla="*/ 218499 w 624661"/>
              <a:gd name="connsiteY62" fmla="*/ 0 h 108588"/>
              <a:gd name="connsiteX63" fmla="*/ 239415 w 624661"/>
              <a:gd name="connsiteY63" fmla="*/ 0 h 108588"/>
              <a:gd name="connsiteX64" fmla="*/ 277810 w 624661"/>
              <a:gd name="connsiteY64" fmla="*/ 107095 h 108588"/>
              <a:gd name="connsiteX65" fmla="*/ 262870 w 624661"/>
              <a:gd name="connsiteY65" fmla="*/ 107095 h 108588"/>
              <a:gd name="connsiteX66" fmla="*/ 251815 w 624661"/>
              <a:gd name="connsiteY66" fmla="*/ 76478 h 108588"/>
              <a:gd name="connsiteX67" fmla="*/ 204456 w 624661"/>
              <a:gd name="connsiteY67" fmla="*/ 76478 h 108588"/>
              <a:gd name="connsiteX68" fmla="*/ 193550 w 624661"/>
              <a:gd name="connsiteY68" fmla="*/ 107095 h 108588"/>
              <a:gd name="connsiteX69" fmla="*/ 180403 w 624661"/>
              <a:gd name="connsiteY69" fmla="*/ 107095 h 108588"/>
              <a:gd name="connsiteX70" fmla="*/ 218499 w 624661"/>
              <a:gd name="connsiteY70" fmla="*/ 0 h 108588"/>
              <a:gd name="connsiteX71" fmla="*/ 247333 w 624661"/>
              <a:gd name="connsiteY71" fmla="*/ 63784 h 108588"/>
              <a:gd name="connsiteX72" fmla="*/ 228210 w 624661"/>
              <a:gd name="connsiteY72" fmla="*/ 10454 h 108588"/>
              <a:gd name="connsiteX73" fmla="*/ 209087 w 624661"/>
              <a:gd name="connsiteY73" fmla="*/ 63784 h 108588"/>
              <a:gd name="connsiteX74" fmla="*/ 247333 w 624661"/>
              <a:gd name="connsiteY74" fmla="*/ 63784 h 108588"/>
              <a:gd name="connsiteX75" fmla="*/ 293405 w 624661"/>
              <a:gd name="connsiteY75" fmla="*/ 0 h 108588"/>
              <a:gd name="connsiteX76" fmla="*/ 358841 w 624661"/>
              <a:gd name="connsiteY76" fmla="*/ 0 h 108588"/>
              <a:gd name="connsiteX77" fmla="*/ 358841 w 624661"/>
              <a:gd name="connsiteY77" fmla="*/ 12881 h 108588"/>
              <a:gd name="connsiteX78" fmla="*/ 307448 w 624661"/>
              <a:gd name="connsiteY78" fmla="*/ 12881 h 108588"/>
              <a:gd name="connsiteX79" fmla="*/ 307448 w 624661"/>
              <a:gd name="connsiteY79" fmla="*/ 48413 h 108588"/>
              <a:gd name="connsiteX80" fmla="*/ 351072 w 624661"/>
              <a:gd name="connsiteY80" fmla="*/ 48413 h 108588"/>
              <a:gd name="connsiteX81" fmla="*/ 351072 w 624661"/>
              <a:gd name="connsiteY81" fmla="*/ 61108 h 108588"/>
              <a:gd name="connsiteX82" fmla="*/ 307448 w 624661"/>
              <a:gd name="connsiteY82" fmla="*/ 61108 h 108588"/>
              <a:gd name="connsiteX83" fmla="*/ 307448 w 624661"/>
              <a:gd name="connsiteY83" fmla="*/ 107095 h 108588"/>
              <a:gd name="connsiteX84" fmla="*/ 293405 w 624661"/>
              <a:gd name="connsiteY84" fmla="*/ 107095 h 108588"/>
              <a:gd name="connsiteX85" fmla="*/ 293405 w 624661"/>
              <a:gd name="connsiteY85" fmla="*/ 0 h 108588"/>
              <a:gd name="connsiteX86" fmla="*/ 399410 w 624661"/>
              <a:gd name="connsiteY86" fmla="*/ 0 h 108588"/>
              <a:gd name="connsiteX87" fmla="*/ 420326 w 624661"/>
              <a:gd name="connsiteY87" fmla="*/ 0 h 108588"/>
              <a:gd name="connsiteX88" fmla="*/ 458721 w 624661"/>
              <a:gd name="connsiteY88" fmla="*/ 107095 h 108588"/>
              <a:gd name="connsiteX89" fmla="*/ 443782 w 624661"/>
              <a:gd name="connsiteY89" fmla="*/ 107095 h 108588"/>
              <a:gd name="connsiteX90" fmla="*/ 432726 w 624661"/>
              <a:gd name="connsiteY90" fmla="*/ 76478 h 108588"/>
              <a:gd name="connsiteX91" fmla="*/ 385367 w 624661"/>
              <a:gd name="connsiteY91" fmla="*/ 76478 h 108588"/>
              <a:gd name="connsiteX92" fmla="*/ 374461 w 624661"/>
              <a:gd name="connsiteY92" fmla="*/ 107095 h 108588"/>
              <a:gd name="connsiteX93" fmla="*/ 361314 w 624661"/>
              <a:gd name="connsiteY93" fmla="*/ 107095 h 108588"/>
              <a:gd name="connsiteX94" fmla="*/ 399410 w 624661"/>
              <a:gd name="connsiteY94" fmla="*/ 0 h 108588"/>
              <a:gd name="connsiteX95" fmla="*/ 428244 w 624661"/>
              <a:gd name="connsiteY95" fmla="*/ 63784 h 108588"/>
              <a:gd name="connsiteX96" fmla="*/ 409121 w 624661"/>
              <a:gd name="connsiteY96" fmla="*/ 10454 h 108588"/>
              <a:gd name="connsiteX97" fmla="*/ 389998 w 624661"/>
              <a:gd name="connsiteY97" fmla="*/ 63784 h 108588"/>
              <a:gd name="connsiteX98" fmla="*/ 428244 w 624661"/>
              <a:gd name="connsiteY98" fmla="*/ 63784 h 108588"/>
              <a:gd name="connsiteX99" fmla="*/ 474316 w 624661"/>
              <a:gd name="connsiteY99" fmla="*/ 0 h 108588"/>
              <a:gd name="connsiteX100" fmla="*/ 539754 w 624661"/>
              <a:gd name="connsiteY100" fmla="*/ 0 h 108588"/>
              <a:gd name="connsiteX101" fmla="*/ 539754 w 624661"/>
              <a:gd name="connsiteY101" fmla="*/ 12881 h 108588"/>
              <a:gd name="connsiteX102" fmla="*/ 488359 w 624661"/>
              <a:gd name="connsiteY102" fmla="*/ 12881 h 108588"/>
              <a:gd name="connsiteX103" fmla="*/ 488359 w 624661"/>
              <a:gd name="connsiteY103" fmla="*/ 48413 h 108588"/>
              <a:gd name="connsiteX104" fmla="*/ 531986 w 624661"/>
              <a:gd name="connsiteY104" fmla="*/ 48413 h 108588"/>
              <a:gd name="connsiteX105" fmla="*/ 531986 w 624661"/>
              <a:gd name="connsiteY105" fmla="*/ 61108 h 108588"/>
              <a:gd name="connsiteX106" fmla="*/ 488359 w 624661"/>
              <a:gd name="connsiteY106" fmla="*/ 61108 h 108588"/>
              <a:gd name="connsiteX107" fmla="*/ 488359 w 624661"/>
              <a:gd name="connsiteY107" fmla="*/ 107095 h 108588"/>
              <a:gd name="connsiteX108" fmla="*/ 474316 w 624661"/>
              <a:gd name="connsiteY108" fmla="*/ 107095 h 108588"/>
              <a:gd name="connsiteX109" fmla="*/ 474316 w 624661"/>
              <a:gd name="connsiteY109" fmla="*/ 0 h 108588"/>
              <a:gd name="connsiteX110" fmla="*/ 559226 w 624661"/>
              <a:gd name="connsiteY110" fmla="*/ 0 h 108588"/>
              <a:gd name="connsiteX111" fmla="*/ 624662 w 624661"/>
              <a:gd name="connsiteY111" fmla="*/ 0 h 108588"/>
              <a:gd name="connsiteX112" fmla="*/ 624662 w 624661"/>
              <a:gd name="connsiteY112" fmla="*/ 12881 h 108588"/>
              <a:gd name="connsiteX113" fmla="*/ 573269 w 624661"/>
              <a:gd name="connsiteY113" fmla="*/ 12881 h 108588"/>
              <a:gd name="connsiteX114" fmla="*/ 573269 w 624661"/>
              <a:gd name="connsiteY114" fmla="*/ 48413 h 108588"/>
              <a:gd name="connsiteX115" fmla="*/ 616893 w 624661"/>
              <a:gd name="connsiteY115" fmla="*/ 48413 h 108588"/>
              <a:gd name="connsiteX116" fmla="*/ 616893 w 624661"/>
              <a:gd name="connsiteY116" fmla="*/ 61108 h 108588"/>
              <a:gd name="connsiteX117" fmla="*/ 573269 w 624661"/>
              <a:gd name="connsiteY117" fmla="*/ 61108 h 108588"/>
              <a:gd name="connsiteX118" fmla="*/ 573269 w 624661"/>
              <a:gd name="connsiteY118" fmla="*/ 107095 h 108588"/>
              <a:gd name="connsiteX119" fmla="*/ 559226 w 624661"/>
              <a:gd name="connsiteY119" fmla="*/ 107095 h 108588"/>
              <a:gd name="connsiteX120" fmla="*/ 559226 w 624661"/>
              <a:gd name="connsiteY120" fmla="*/ 0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624661" h="108588">
                <a:moveTo>
                  <a:pt x="50795" y="76168"/>
                </a:moveTo>
                <a:lnTo>
                  <a:pt x="28386" y="76168"/>
                </a:lnTo>
                <a:lnTo>
                  <a:pt x="22111" y="107095"/>
                </a:ln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close/>
                <a:moveTo>
                  <a:pt x="53036" y="65713"/>
                </a:move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lnTo>
                  <a:pt x="53036" y="65713"/>
                </a:lnTo>
                <a:close/>
                <a:moveTo>
                  <a:pt x="169078" y="71687"/>
                </a:moveTo>
                <a:cubicBezTo>
                  <a:pt x="169078" y="77287"/>
                  <a:pt x="168182" y="82328"/>
                  <a:pt x="166389" y="86933"/>
                </a:cubicBezTo>
                <a:cubicBezTo>
                  <a:pt x="164696" y="91413"/>
                  <a:pt x="162206" y="95271"/>
                  <a:pt x="158919" y="98570"/>
                </a:cubicBezTo>
                <a:cubicBezTo>
                  <a:pt x="155732" y="101743"/>
                  <a:pt x="151798" y="104233"/>
                  <a:pt x="147117" y="106037"/>
                </a:cubicBezTo>
                <a:cubicBezTo>
                  <a:pt x="142535" y="107717"/>
                  <a:pt x="137406" y="108588"/>
                  <a:pt x="131729" y="108588"/>
                </a:cubicBezTo>
                <a:cubicBezTo>
                  <a:pt x="125354" y="108588"/>
                  <a:pt x="119827" y="107966"/>
                  <a:pt x="115146" y="106660"/>
                </a:cubicBezTo>
                <a:cubicBezTo>
                  <a:pt x="110465" y="105228"/>
                  <a:pt x="106481" y="103361"/>
                  <a:pt x="103194" y="100997"/>
                </a:cubicBezTo>
                <a:lnTo>
                  <a:pt x="103194" y="86311"/>
                </a:lnTo>
                <a:cubicBezTo>
                  <a:pt x="106580" y="89111"/>
                  <a:pt x="110465" y="91538"/>
                  <a:pt x="114847" y="93529"/>
                </a:cubicBezTo>
                <a:cubicBezTo>
                  <a:pt x="119329" y="95396"/>
                  <a:pt x="124956" y="96329"/>
                  <a:pt x="131729" y="96329"/>
                </a:cubicBezTo>
                <a:cubicBezTo>
                  <a:pt x="139099" y="96329"/>
                  <a:pt x="144776" y="94089"/>
                  <a:pt x="148760" y="89608"/>
                </a:cubicBezTo>
                <a:cubicBezTo>
                  <a:pt x="152844" y="85128"/>
                  <a:pt x="154885" y="79279"/>
                  <a:pt x="154885" y="71998"/>
                </a:cubicBezTo>
                <a:cubicBezTo>
                  <a:pt x="154885" y="64219"/>
                  <a:pt x="152893" y="58556"/>
                  <a:pt x="148909" y="54947"/>
                </a:cubicBezTo>
                <a:cubicBezTo>
                  <a:pt x="144926" y="51401"/>
                  <a:pt x="139896" y="49596"/>
                  <a:pt x="133820" y="49596"/>
                </a:cubicBezTo>
                <a:cubicBezTo>
                  <a:pt x="129338" y="49596"/>
                  <a:pt x="125753" y="50343"/>
                  <a:pt x="123064" y="51836"/>
                </a:cubicBezTo>
                <a:cubicBezTo>
                  <a:pt x="120474" y="53205"/>
                  <a:pt x="118482" y="54698"/>
                  <a:pt x="117088" y="56316"/>
                </a:cubicBezTo>
                <a:lnTo>
                  <a:pt x="106182" y="56316"/>
                </a:lnTo>
                <a:lnTo>
                  <a:pt x="106182" y="0"/>
                </a:lnTo>
                <a:lnTo>
                  <a:pt x="164148" y="0"/>
                </a:lnTo>
                <a:lnTo>
                  <a:pt x="164148" y="12881"/>
                </a:lnTo>
                <a:lnTo>
                  <a:pt x="118432" y="12881"/>
                </a:lnTo>
                <a:lnTo>
                  <a:pt x="118432" y="43498"/>
                </a:lnTo>
                <a:cubicBezTo>
                  <a:pt x="120424" y="42004"/>
                  <a:pt x="122865" y="40697"/>
                  <a:pt x="125753" y="39577"/>
                </a:cubicBezTo>
                <a:cubicBezTo>
                  <a:pt x="128641" y="38394"/>
                  <a:pt x="132077" y="37772"/>
                  <a:pt x="136061" y="37772"/>
                </a:cubicBezTo>
                <a:cubicBezTo>
                  <a:pt x="140643" y="37772"/>
                  <a:pt x="144926" y="38519"/>
                  <a:pt x="148909" y="40012"/>
                </a:cubicBezTo>
                <a:cubicBezTo>
                  <a:pt x="152993" y="41444"/>
                  <a:pt x="156529" y="43560"/>
                  <a:pt x="159517" y="46484"/>
                </a:cubicBezTo>
                <a:cubicBezTo>
                  <a:pt x="162505" y="49222"/>
                  <a:pt x="164845" y="52770"/>
                  <a:pt x="166538" y="57063"/>
                </a:cubicBezTo>
                <a:cubicBezTo>
                  <a:pt x="168232" y="61233"/>
                  <a:pt x="169078" y="66149"/>
                  <a:pt x="169078" y="71687"/>
                </a:cubicBezTo>
                <a:close/>
                <a:moveTo>
                  <a:pt x="218499" y="0"/>
                </a:moveTo>
                <a:lnTo>
                  <a:pt x="239415" y="0"/>
                </a:lnTo>
                <a:lnTo>
                  <a:pt x="277810" y="107095"/>
                </a:lnTo>
                <a:lnTo>
                  <a:pt x="262870" y="107095"/>
                </a:lnTo>
                <a:lnTo>
                  <a:pt x="251815" y="76478"/>
                </a:lnTo>
                <a:lnTo>
                  <a:pt x="204456" y="76478"/>
                </a:lnTo>
                <a:lnTo>
                  <a:pt x="193550" y="107095"/>
                </a:lnTo>
                <a:lnTo>
                  <a:pt x="180403" y="107095"/>
                </a:lnTo>
                <a:lnTo>
                  <a:pt x="218499" y="0"/>
                </a:lnTo>
                <a:close/>
                <a:moveTo>
                  <a:pt x="247333" y="63784"/>
                </a:moveTo>
                <a:lnTo>
                  <a:pt x="228210" y="10454"/>
                </a:lnTo>
                <a:lnTo>
                  <a:pt x="209087" y="63784"/>
                </a:lnTo>
                <a:lnTo>
                  <a:pt x="247333" y="63784"/>
                </a:lnTo>
                <a:close/>
                <a:moveTo>
                  <a:pt x="293405" y="0"/>
                </a:moveTo>
                <a:lnTo>
                  <a:pt x="358841" y="0"/>
                </a:lnTo>
                <a:lnTo>
                  <a:pt x="358841" y="12881"/>
                </a:lnTo>
                <a:lnTo>
                  <a:pt x="307448" y="12881"/>
                </a:lnTo>
                <a:lnTo>
                  <a:pt x="307448" y="48413"/>
                </a:lnTo>
                <a:lnTo>
                  <a:pt x="351072" y="48413"/>
                </a:lnTo>
                <a:lnTo>
                  <a:pt x="351072" y="61108"/>
                </a:lnTo>
                <a:lnTo>
                  <a:pt x="307448" y="61108"/>
                </a:lnTo>
                <a:lnTo>
                  <a:pt x="307448" y="107095"/>
                </a:lnTo>
                <a:lnTo>
                  <a:pt x="293405" y="107095"/>
                </a:lnTo>
                <a:lnTo>
                  <a:pt x="293405" y="0"/>
                </a:lnTo>
                <a:close/>
                <a:moveTo>
                  <a:pt x="399410" y="0"/>
                </a:moveTo>
                <a:lnTo>
                  <a:pt x="420326" y="0"/>
                </a:lnTo>
                <a:lnTo>
                  <a:pt x="458721" y="107095"/>
                </a:lnTo>
                <a:lnTo>
                  <a:pt x="443782" y="107095"/>
                </a:lnTo>
                <a:lnTo>
                  <a:pt x="432726" y="76478"/>
                </a:lnTo>
                <a:lnTo>
                  <a:pt x="385367" y="76478"/>
                </a:lnTo>
                <a:lnTo>
                  <a:pt x="374461" y="107095"/>
                </a:lnTo>
                <a:lnTo>
                  <a:pt x="361314" y="107095"/>
                </a:lnTo>
                <a:lnTo>
                  <a:pt x="399410" y="0"/>
                </a:lnTo>
                <a:close/>
                <a:moveTo>
                  <a:pt x="428244" y="63784"/>
                </a:moveTo>
                <a:lnTo>
                  <a:pt x="409121" y="10454"/>
                </a:lnTo>
                <a:lnTo>
                  <a:pt x="389998" y="63784"/>
                </a:lnTo>
                <a:lnTo>
                  <a:pt x="428244" y="63784"/>
                </a:lnTo>
                <a:close/>
                <a:moveTo>
                  <a:pt x="474316" y="0"/>
                </a:moveTo>
                <a:lnTo>
                  <a:pt x="539754" y="0"/>
                </a:lnTo>
                <a:lnTo>
                  <a:pt x="539754" y="12881"/>
                </a:lnTo>
                <a:lnTo>
                  <a:pt x="488359" y="12881"/>
                </a:lnTo>
                <a:lnTo>
                  <a:pt x="488359" y="48413"/>
                </a:lnTo>
                <a:lnTo>
                  <a:pt x="531986" y="48413"/>
                </a:lnTo>
                <a:lnTo>
                  <a:pt x="531986" y="61108"/>
                </a:lnTo>
                <a:lnTo>
                  <a:pt x="488359" y="61108"/>
                </a:lnTo>
                <a:lnTo>
                  <a:pt x="488359" y="107095"/>
                </a:lnTo>
                <a:lnTo>
                  <a:pt x="474316" y="107095"/>
                </a:lnTo>
                <a:lnTo>
                  <a:pt x="474316" y="0"/>
                </a:lnTo>
                <a:close/>
                <a:moveTo>
                  <a:pt x="559226" y="0"/>
                </a:moveTo>
                <a:lnTo>
                  <a:pt x="624662" y="0"/>
                </a:lnTo>
                <a:lnTo>
                  <a:pt x="624662" y="12881"/>
                </a:lnTo>
                <a:lnTo>
                  <a:pt x="573269" y="12881"/>
                </a:lnTo>
                <a:lnTo>
                  <a:pt x="573269" y="48413"/>
                </a:lnTo>
                <a:lnTo>
                  <a:pt x="616893" y="48413"/>
                </a:lnTo>
                <a:lnTo>
                  <a:pt x="616893" y="61108"/>
                </a:lnTo>
                <a:lnTo>
                  <a:pt x="573269" y="61108"/>
                </a:lnTo>
                <a:lnTo>
                  <a:pt x="573269" y="107095"/>
                </a:lnTo>
                <a:lnTo>
                  <a:pt x="559226" y="107095"/>
                </a:lnTo>
                <a:lnTo>
                  <a:pt x="559226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0" name="Полилиния 979">
            <a:extLst>
              <a:ext uri="{FF2B5EF4-FFF2-40B4-BE49-F238E27FC236}">
                <a16:creationId xmlns:a16="http://schemas.microsoft.com/office/drawing/2014/main" id="{9B2D707B-69CB-7544-912A-232247AD2ED4}"/>
              </a:ext>
            </a:extLst>
          </p:cNvPr>
          <p:cNvSpPr/>
          <p:nvPr userDrawn="1"/>
        </p:nvSpPr>
        <p:spPr>
          <a:xfrm>
            <a:off x="12270615" y="9597429"/>
            <a:ext cx="1398954" cy="726227"/>
          </a:xfrm>
          <a:custGeom>
            <a:avLst/>
            <a:gdLst>
              <a:gd name="connsiteX0" fmla="*/ 0 w 1198727"/>
              <a:gd name="connsiteY0" fmla="*/ 1722 h 622284"/>
              <a:gd name="connsiteX1" fmla="*/ 1198728 w 1198727"/>
              <a:gd name="connsiteY1" fmla="*/ 1722 h 622284"/>
              <a:gd name="connsiteX2" fmla="*/ 1198728 w 1198727"/>
              <a:gd name="connsiteY2" fmla="*/ 624006 h 622284"/>
              <a:gd name="connsiteX3" fmla="*/ 0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722"/>
                </a:moveTo>
                <a:lnTo>
                  <a:pt x="1198728" y="1722"/>
                </a:lnTo>
                <a:lnTo>
                  <a:pt x="1198728" y="624006"/>
                </a:lnTo>
                <a:lnTo>
                  <a:pt x="0" y="624006"/>
                </a:lnTo>
                <a:close/>
              </a:path>
            </a:pathLst>
          </a:custGeom>
          <a:solidFill>
            <a:srgbClr val="9E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1" name="Полилиния 980">
            <a:extLst>
              <a:ext uri="{FF2B5EF4-FFF2-40B4-BE49-F238E27FC236}">
                <a16:creationId xmlns:a16="http://schemas.microsoft.com/office/drawing/2014/main" id="{2FFA3CED-5E10-7E4F-A210-5DDFC98A766D}"/>
              </a:ext>
            </a:extLst>
          </p:cNvPr>
          <p:cNvSpPr/>
          <p:nvPr userDrawn="1"/>
        </p:nvSpPr>
        <p:spPr>
          <a:xfrm>
            <a:off x="13814863" y="3787620"/>
            <a:ext cx="1398954" cy="726227"/>
          </a:xfrm>
          <a:custGeom>
            <a:avLst/>
            <a:gdLst>
              <a:gd name="connsiteX0" fmla="*/ 213 w 1198727"/>
              <a:gd name="connsiteY0" fmla="*/ 1022 h 622284"/>
              <a:gd name="connsiteX1" fmla="*/ 1198941 w 1198727"/>
              <a:gd name="connsiteY1" fmla="*/ 1022 h 622284"/>
              <a:gd name="connsiteX2" fmla="*/ 1198941 w 1198727"/>
              <a:gd name="connsiteY2" fmla="*/ 623306 h 622284"/>
              <a:gd name="connsiteX3" fmla="*/ 213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022"/>
                </a:moveTo>
                <a:lnTo>
                  <a:pt x="1198941" y="1022"/>
                </a:lnTo>
                <a:lnTo>
                  <a:pt x="1198941" y="623306"/>
                </a:lnTo>
                <a:lnTo>
                  <a:pt x="213" y="623306"/>
                </a:lnTo>
                <a:close/>
              </a:path>
            </a:pathLst>
          </a:custGeom>
          <a:solidFill>
            <a:srgbClr val="00463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2" name="Полилиния 981">
            <a:extLst>
              <a:ext uri="{FF2B5EF4-FFF2-40B4-BE49-F238E27FC236}">
                <a16:creationId xmlns:a16="http://schemas.microsoft.com/office/drawing/2014/main" id="{BCDD7BE7-3AD2-CCAC-FA8B-05A0F81EA157}"/>
              </a:ext>
            </a:extLst>
          </p:cNvPr>
          <p:cNvSpPr/>
          <p:nvPr userDrawn="1"/>
        </p:nvSpPr>
        <p:spPr>
          <a:xfrm>
            <a:off x="13938073" y="4089368"/>
            <a:ext cx="697021" cy="128468"/>
          </a:xfrm>
          <a:custGeom>
            <a:avLst/>
            <a:gdLst>
              <a:gd name="connsiteX0" fmla="*/ 22111 w 597259"/>
              <a:gd name="connsiteY0" fmla="*/ 108588 h 110081"/>
              <a:gd name="connsiteX1" fmla="*/ 10159 w 597259"/>
              <a:gd name="connsiteY1" fmla="*/ 108588 h 110081"/>
              <a:gd name="connsiteX2" fmla="*/ 16434 w 597259"/>
              <a:gd name="connsiteY2" fmla="*/ 77661 h 110081"/>
              <a:gd name="connsiteX3" fmla="*/ 0 w 597259"/>
              <a:gd name="connsiteY3" fmla="*/ 77661 h 110081"/>
              <a:gd name="connsiteX4" fmla="*/ 0 w 597259"/>
              <a:gd name="connsiteY4" fmla="*/ 67206 h 110081"/>
              <a:gd name="connsiteX5" fmla="*/ 18675 w 597259"/>
              <a:gd name="connsiteY5" fmla="*/ 67206 h 110081"/>
              <a:gd name="connsiteX6" fmla="*/ 24202 w 597259"/>
              <a:gd name="connsiteY6" fmla="*/ 40012 h 110081"/>
              <a:gd name="connsiteX7" fmla="*/ 4034 w 597259"/>
              <a:gd name="connsiteY7" fmla="*/ 40012 h 110081"/>
              <a:gd name="connsiteX8" fmla="*/ 4034 w 597259"/>
              <a:gd name="connsiteY8" fmla="*/ 29559 h 110081"/>
              <a:gd name="connsiteX9" fmla="*/ 26294 w 597259"/>
              <a:gd name="connsiteY9" fmla="*/ 29559 h 110081"/>
              <a:gd name="connsiteX10" fmla="*/ 32120 w 597259"/>
              <a:gd name="connsiteY10" fmla="*/ 1493 h 110081"/>
              <a:gd name="connsiteX11" fmla="*/ 44072 w 597259"/>
              <a:gd name="connsiteY11" fmla="*/ 1493 h 110081"/>
              <a:gd name="connsiteX12" fmla="*/ 38246 w 597259"/>
              <a:gd name="connsiteY12" fmla="*/ 29559 h 110081"/>
              <a:gd name="connsiteX13" fmla="*/ 60655 w 597259"/>
              <a:gd name="connsiteY13" fmla="*/ 29559 h 110081"/>
              <a:gd name="connsiteX14" fmla="*/ 66482 w 597259"/>
              <a:gd name="connsiteY14" fmla="*/ 1493 h 110081"/>
              <a:gd name="connsiteX15" fmla="*/ 78434 w 597259"/>
              <a:gd name="connsiteY15" fmla="*/ 1493 h 110081"/>
              <a:gd name="connsiteX16" fmla="*/ 72607 w 597259"/>
              <a:gd name="connsiteY16" fmla="*/ 29559 h 110081"/>
              <a:gd name="connsiteX17" fmla="*/ 89340 w 597259"/>
              <a:gd name="connsiteY17" fmla="*/ 29559 h 110081"/>
              <a:gd name="connsiteX18" fmla="*/ 89340 w 597259"/>
              <a:gd name="connsiteY18" fmla="*/ 40012 h 110081"/>
              <a:gd name="connsiteX19" fmla="*/ 70516 w 597259"/>
              <a:gd name="connsiteY19" fmla="*/ 40012 h 110081"/>
              <a:gd name="connsiteX20" fmla="*/ 64988 w 597259"/>
              <a:gd name="connsiteY20" fmla="*/ 67206 h 110081"/>
              <a:gd name="connsiteX21" fmla="*/ 85306 w 597259"/>
              <a:gd name="connsiteY21" fmla="*/ 67206 h 110081"/>
              <a:gd name="connsiteX22" fmla="*/ 85306 w 597259"/>
              <a:gd name="connsiteY22" fmla="*/ 77661 h 110081"/>
              <a:gd name="connsiteX23" fmla="*/ 62747 w 597259"/>
              <a:gd name="connsiteY23" fmla="*/ 77661 h 110081"/>
              <a:gd name="connsiteX24" fmla="*/ 56472 w 597259"/>
              <a:gd name="connsiteY24" fmla="*/ 108588 h 110081"/>
              <a:gd name="connsiteX25" fmla="*/ 44520 w 597259"/>
              <a:gd name="connsiteY25" fmla="*/ 108588 h 110081"/>
              <a:gd name="connsiteX26" fmla="*/ 50795 w 597259"/>
              <a:gd name="connsiteY26" fmla="*/ 77661 h 110081"/>
              <a:gd name="connsiteX27" fmla="*/ 28386 w 597259"/>
              <a:gd name="connsiteY27" fmla="*/ 77661 h 110081"/>
              <a:gd name="connsiteX28" fmla="*/ 22111 w 597259"/>
              <a:gd name="connsiteY28" fmla="*/ 108588 h 110081"/>
              <a:gd name="connsiteX29" fmla="*/ 30626 w 597259"/>
              <a:gd name="connsiteY29" fmla="*/ 67206 h 110081"/>
              <a:gd name="connsiteX30" fmla="*/ 53036 w 597259"/>
              <a:gd name="connsiteY30" fmla="*/ 67206 h 110081"/>
              <a:gd name="connsiteX31" fmla="*/ 58564 w 597259"/>
              <a:gd name="connsiteY31" fmla="*/ 40012 h 110081"/>
              <a:gd name="connsiteX32" fmla="*/ 36154 w 597259"/>
              <a:gd name="connsiteY32" fmla="*/ 40012 h 110081"/>
              <a:gd name="connsiteX33" fmla="*/ 30626 w 597259"/>
              <a:gd name="connsiteY33" fmla="*/ 67206 h 110081"/>
              <a:gd name="connsiteX34" fmla="*/ 136661 w 597259"/>
              <a:gd name="connsiteY34" fmla="*/ 110082 h 110081"/>
              <a:gd name="connsiteX35" fmla="*/ 118435 w 597259"/>
              <a:gd name="connsiteY35" fmla="*/ 104233 h 110081"/>
              <a:gd name="connsiteX36" fmla="*/ 105736 w 597259"/>
              <a:gd name="connsiteY36" fmla="*/ 86311 h 110081"/>
              <a:gd name="connsiteX37" fmla="*/ 101254 w 597259"/>
              <a:gd name="connsiteY37" fmla="*/ 54947 h 110081"/>
              <a:gd name="connsiteX38" fmla="*/ 105736 w 597259"/>
              <a:gd name="connsiteY38" fmla="*/ 23584 h 110081"/>
              <a:gd name="connsiteX39" fmla="*/ 118435 w 597259"/>
              <a:gd name="connsiteY39" fmla="*/ 5849 h 110081"/>
              <a:gd name="connsiteX40" fmla="*/ 136661 w 597259"/>
              <a:gd name="connsiteY40" fmla="*/ 186 h 110081"/>
              <a:gd name="connsiteX41" fmla="*/ 154738 w 597259"/>
              <a:gd name="connsiteY41" fmla="*/ 5849 h 110081"/>
              <a:gd name="connsiteX42" fmla="*/ 167138 w 597259"/>
              <a:gd name="connsiteY42" fmla="*/ 23584 h 110081"/>
              <a:gd name="connsiteX43" fmla="*/ 171620 w 597259"/>
              <a:gd name="connsiteY43" fmla="*/ 54698 h 110081"/>
              <a:gd name="connsiteX44" fmla="*/ 167138 w 597259"/>
              <a:gd name="connsiteY44" fmla="*/ 86062 h 110081"/>
              <a:gd name="connsiteX45" fmla="*/ 154738 w 597259"/>
              <a:gd name="connsiteY45" fmla="*/ 104233 h 110081"/>
              <a:gd name="connsiteX46" fmla="*/ 136661 w 597259"/>
              <a:gd name="connsiteY46" fmla="*/ 110082 h 110081"/>
              <a:gd name="connsiteX47" fmla="*/ 136512 w 597259"/>
              <a:gd name="connsiteY47" fmla="*/ 98258 h 110081"/>
              <a:gd name="connsiteX48" fmla="*/ 147866 w 597259"/>
              <a:gd name="connsiteY48" fmla="*/ 94275 h 110081"/>
              <a:gd name="connsiteX49" fmla="*/ 155037 w 597259"/>
              <a:gd name="connsiteY49" fmla="*/ 80648 h 110081"/>
              <a:gd name="connsiteX50" fmla="*/ 157577 w 597259"/>
              <a:gd name="connsiteY50" fmla="*/ 55134 h 110081"/>
              <a:gd name="connsiteX51" fmla="*/ 155187 w 597259"/>
              <a:gd name="connsiteY51" fmla="*/ 29745 h 110081"/>
              <a:gd name="connsiteX52" fmla="*/ 148016 w 597259"/>
              <a:gd name="connsiteY52" fmla="*/ 16117 h 110081"/>
              <a:gd name="connsiteX53" fmla="*/ 136661 w 597259"/>
              <a:gd name="connsiteY53" fmla="*/ 11947 h 110081"/>
              <a:gd name="connsiteX54" fmla="*/ 125158 w 597259"/>
              <a:gd name="connsiteY54" fmla="*/ 16117 h 110081"/>
              <a:gd name="connsiteX55" fmla="*/ 117837 w 597259"/>
              <a:gd name="connsiteY55" fmla="*/ 29745 h 110081"/>
              <a:gd name="connsiteX56" fmla="*/ 115298 w 597259"/>
              <a:gd name="connsiteY56" fmla="*/ 55134 h 110081"/>
              <a:gd name="connsiteX57" fmla="*/ 117688 w 597259"/>
              <a:gd name="connsiteY57" fmla="*/ 80648 h 110081"/>
              <a:gd name="connsiteX58" fmla="*/ 125008 w 597259"/>
              <a:gd name="connsiteY58" fmla="*/ 94275 h 110081"/>
              <a:gd name="connsiteX59" fmla="*/ 136512 w 597259"/>
              <a:gd name="connsiteY59" fmla="*/ 98258 h 110081"/>
              <a:gd name="connsiteX60" fmla="*/ 218799 w 597259"/>
              <a:gd name="connsiteY60" fmla="*/ 110082 h 110081"/>
              <a:gd name="connsiteX61" fmla="*/ 200572 w 597259"/>
              <a:gd name="connsiteY61" fmla="*/ 104233 h 110081"/>
              <a:gd name="connsiteX62" fmla="*/ 187874 w 597259"/>
              <a:gd name="connsiteY62" fmla="*/ 86311 h 110081"/>
              <a:gd name="connsiteX63" fmla="*/ 183392 w 597259"/>
              <a:gd name="connsiteY63" fmla="*/ 54947 h 110081"/>
              <a:gd name="connsiteX64" fmla="*/ 187874 w 597259"/>
              <a:gd name="connsiteY64" fmla="*/ 23584 h 110081"/>
              <a:gd name="connsiteX65" fmla="*/ 200572 w 597259"/>
              <a:gd name="connsiteY65" fmla="*/ 5849 h 110081"/>
              <a:gd name="connsiteX66" fmla="*/ 218799 w 597259"/>
              <a:gd name="connsiteY66" fmla="*/ 186 h 110081"/>
              <a:gd name="connsiteX67" fmla="*/ 236876 w 597259"/>
              <a:gd name="connsiteY67" fmla="*/ 5849 h 110081"/>
              <a:gd name="connsiteX68" fmla="*/ 249276 w 597259"/>
              <a:gd name="connsiteY68" fmla="*/ 23584 h 110081"/>
              <a:gd name="connsiteX69" fmla="*/ 253758 w 597259"/>
              <a:gd name="connsiteY69" fmla="*/ 54698 h 110081"/>
              <a:gd name="connsiteX70" fmla="*/ 249276 w 597259"/>
              <a:gd name="connsiteY70" fmla="*/ 86062 h 110081"/>
              <a:gd name="connsiteX71" fmla="*/ 236876 w 597259"/>
              <a:gd name="connsiteY71" fmla="*/ 104233 h 110081"/>
              <a:gd name="connsiteX72" fmla="*/ 218799 w 597259"/>
              <a:gd name="connsiteY72" fmla="*/ 110082 h 110081"/>
              <a:gd name="connsiteX73" fmla="*/ 218649 w 597259"/>
              <a:gd name="connsiteY73" fmla="*/ 98258 h 110081"/>
              <a:gd name="connsiteX74" fmla="*/ 230004 w 597259"/>
              <a:gd name="connsiteY74" fmla="*/ 94275 h 110081"/>
              <a:gd name="connsiteX75" fmla="*/ 237175 w 597259"/>
              <a:gd name="connsiteY75" fmla="*/ 80648 h 110081"/>
              <a:gd name="connsiteX76" fmla="*/ 239714 w 597259"/>
              <a:gd name="connsiteY76" fmla="*/ 55134 h 110081"/>
              <a:gd name="connsiteX77" fmla="*/ 237324 w 597259"/>
              <a:gd name="connsiteY77" fmla="*/ 29745 h 110081"/>
              <a:gd name="connsiteX78" fmla="*/ 230153 w 597259"/>
              <a:gd name="connsiteY78" fmla="*/ 16117 h 110081"/>
              <a:gd name="connsiteX79" fmla="*/ 218799 w 597259"/>
              <a:gd name="connsiteY79" fmla="*/ 11947 h 110081"/>
              <a:gd name="connsiteX80" fmla="*/ 207295 w 597259"/>
              <a:gd name="connsiteY80" fmla="*/ 16117 h 110081"/>
              <a:gd name="connsiteX81" fmla="*/ 199975 w 597259"/>
              <a:gd name="connsiteY81" fmla="*/ 29745 h 110081"/>
              <a:gd name="connsiteX82" fmla="*/ 197435 w 597259"/>
              <a:gd name="connsiteY82" fmla="*/ 55134 h 110081"/>
              <a:gd name="connsiteX83" fmla="*/ 199825 w 597259"/>
              <a:gd name="connsiteY83" fmla="*/ 80648 h 110081"/>
              <a:gd name="connsiteX84" fmla="*/ 207146 w 597259"/>
              <a:gd name="connsiteY84" fmla="*/ 94275 h 110081"/>
              <a:gd name="connsiteX85" fmla="*/ 218649 w 597259"/>
              <a:gd name="connsiteY85" fmla="*/ 98258 h 110081"/>
              <a:gd name="connsiteX86" fmla="*/ 323053 w 597259"/>
              <a:gd name="connsiteY86" fmla="*/ 108588 h 110081"/>
              <a:gd name="connsiteX87" fmla="*/ 309906 w 597259"/>
              <a:gd name="connsiteY87" fmla="*/ 108588 h 110081"/>
              <a:gd name="connsiteX88" fmla="*/ 309906 w 597259"/>
              <a:gd name="connsiteY88" fmla="*/ 83199 h 110081"/>
              <a:gd name="connsiteX89" fmla="*/ 263593 w 597259"/>
              <a:gd name="connsiteY89" fmla="*/ 83199 h 110081"/>
              <a:gd name="connsiteX90" fmla="*/ 263593 w 597259"/>
              <a:gd name="connsiteY90" fmla="*/ 73927 h 110081"/>
              <a:gd name="connsiteX91" fmla="*/ 305424 w 597259"/>
              <a:gd name="connsiteY91" fmla="*/ 1493 h 110081"/>
              <a:gd name="connsiteX92" fmla="*/ 323053 w 597259"/>
              <a:gd name="connsiteY92" fmla="*/ 1493 h 110081"/>
              <a:gd name="connsiteX93" fmla="*/ 323053 w 597259"/>
              <a:gd name="connsiteY93" fmla="*/ 71873 h 110081"/>
              <a:gd name="connsiteX94" fmla="*/ 337545 w 597259"/>
              <a:gd name="connsiteY94" fmla="*/ 71873 h 110081"/>
              <a:gd name="connsiteX95" fmla="*/ 337545 w 597259"/>
              <a:gd name="connsiteY95" fmla="*/ 83199 h 110081"/>
              <a:gd name="connsiteX96" fmla="*/ 323053 w 597259"/>
              <a:gd name="connsiteY96" fmla="*/ 83199 h 110081"/>
              <a:gd name="connsiteX97" fmla="*/ 323053 w 597259"/>
              <a:gd name="connsiteY97" fmla="*/ 108588 h 110081"/>
              <a:gd name="connsiteX98" fmla="*/ 277188 w 597259"/>
              <a:gd name="connsiteY98" fmla="*/ 71873 h 110081"/>
              <a:gd name="connsiteX99" fmla="*/ 309906 w 597259"/>
              <a:gd name="connsiteY99" fmla="*/ 71873 h 110081"/>
              <a:gd name="connsiteX100" fmla="*/ 309906 w 597259"/>
              <a:gd name="connsiteY100" fmla="*/ 16117 h 110081"/>
              <a:gd name="connsiteX101" fmla="*/ 277188 w 597259"/>
              <a:gd name="connsiteY101" fmla="*/ 71873 h 110081"/>
              <a:gd name="connsiteX102" fmla="*/ 419683 w 597259"/>
              <a:gd name="connsiteY102" fmla="*/ 73491 h 110081"/>
              <a:gd name="connsiteX103" fmla="*/ 414902 w 597259"/>
              <a:gd name="connsiteY103" fmla="*/ 92782 h 110081"/>
              <a:gd name="connsiteX104" fmla="*/ 402203 w 597259"/>
              <a:gd name="connsiteY104" fmla="*/ 105601 h 110081"/>
              <a:gd name="connsiteX105" fmla="*/ 384126 w 597259"/>
              <a:gd name="connsiteY105" fmla="*/ 110082 h 110081"/>
              <a:gd name="connsiteX106" fmla="*/ 362463 w 597259"/>
              <a:gd name="connsiteY106" fmla="*/ 104108 h 110081"/>
              <a:gd name="connsiteX107" fmla="*/ 350362 w 597259"/>
              <a:gd name="connsiteY107" fmla="*/ 87555 h 110081"/>
              <a:gd name="connsiteX108" fmla="*/ 346627 w 597259"/>
              <a:gd name="connsiteY108" fmla="*/ 63161 h 110081"/>
              <a:gd name="connsiteX109" fmla="*/ 351109 w 597259"/>
              <a:gd name="connsiteY109" fmla="*/ 30181 h 110081"/>
              <a:gd name="connsiteX110" fmla="*/ 365152 w 597259"/>
              <a:gd name="connsiteY110" fmla="*/ 8089 h 110081"/>
              <a:gd name="connsiteX111" fmla="*/ 389654 w 597259"/>
              <a:gd name="connsiteY111" fmla="*/ 0 h 110081"/>
              <a:gd name="connsiteX112" fmla="*/ 412213 w 597259"/>
              <a:gd name="connsiteY112" fmla="*/ 5538 h 110081"/>
              <a:gd name="connsiteX113" fmla="*/ 412213 w 597259"/>
              <a:gd name="connsiteY113" fmla="*/ 18855 h 110081"/>
              <a:gd name="connsiteX114" fmla="*/ 389654 w 597259"/>
              <a:gd name="connsiteY114" fmla="*/ 12259 h 110081"/>
              <a:gd name="connsiteX115" fmla="*/ 374116 w 597259"/>
              <a:gd name="connsiteY115" fmla="*/ 17361 h 110081"/>
              <a:gd name="connsiteX116" fmla="*/ 364256 w 597259"/>
              <a:gd name="connsiteY116" fmla="*/ 31238 h 110081"/>
              <a:gd name="connsiteX117" fmla="*/ 360073 w 597259"/>
              <a:gd name="connsiteY117" fmla="*/ 50778 h 110081"/>
              <a:gd name="connsiteX118" fmla="*/ 371427 w 597259"/>
              <a:gd name="connsiteY118" fmla="*/ 40759 h 110081"/>
              <a:gd name="connsiteX119" fmla="*/ 385470 w 597259"/>
              <a:gd name="connsiteY119" fmla="*/ 37523 h 110081"/>
              <a:gd name="connsiteX120" fmla="*/ 402801 w 597259"/>
              <a:gd name="connsiteY120" fmla="*/ 41693 h 110081"/>
              <a:gd name="connsiteX121" fmla="*/ 415051 w 597259"/>
              <a:gd name="connsiteY121" fmla="*/ 53952 h 110081"/>
              <a:gd name="connsiteX122" fmla="*/ 419683 w 597259"/>
              <a:gd name="connsiteY122" fmla="*/ 73491 h 110081"/>
              <a:gd name="connsiteX123" fmla="*/ 383678 w 597259"/>
              <a:gd name="connsiteY123" fmla="*/ 98134 h 110081"/>
              <a:gd name="connsiteX124" fmla="*/ 394434 w 597259"/>
              <a:gd name="connsiteY124" fmla="*/ 95458 h 110081"/>
              <a:gd name="connsiteX125" fmla="*/ 402352 w 597259"/>
              <a:gd name="connsiteY125" fmla="*/ 87244 h 110081"/>
              <a:gd name="connsiteX126" fmla="*/ 405490 w 597259"/>
              <a:gd name="connsiteY126" fmla="*/ 73803 h 110081"/>
              <a:gd name="connsiteX127" fmla="*/ 402502 w 597259"/>
              <a:gd name="connsiteY127" fmla="*/ 60174 h 110081"/>
              <a:gd name="connsiteX128" fmla="*/ 394882 w 597259"/>
              <a:gd name="connsiteY128" fmla="*/ 51961 h 110081"/>
              <a:gd name="connsiteX129" fmla="*/ 385172 w 597259"/>
              <a:gd name="connsiteY129" fmla="*/ 49160 h 110081"/>
              <a:gd name="connsiteX130" fmla="*/ 368589 w 597259"/>
              <a:gd name="connsiteY130" fmla="*/ 55570 h 110081"/>
              <a:gd name="connsiteX131" fmla="*/ 362015 w 597259"/>
              <a:gd name="connsiteY131" fmla="*/ 74114 h 110081"/>
              <a:gd name="connsiteX132" fmla="*/ 367842 w 597259"/>
              <a:gd name="connsiteY132" fmla="*/ 91538 h 110081"/>
              <a:gd name="connsiteX133" fmla="*/ 383678 w 597259"/>
              <a:gd name="connsiteY133" fmla="*/ 98134 h 110081"/>
              <a:gd name="connsiteX134" fmla="*/ 448634 w 597259"/>
              <a:gd name="connsiteY134" fmla="*/ 58992 h 110081"/>
              <a:gd name="connsiteX135" fmla="*/ 448634 w 597259"/>
              <a:gd name="connsiteY135" fmla="*/ 46298 h 110081"/>
              <a:gd name="connsiteX136" fmla="*/ 462977 w 597259"/>
              <a:gd name="connsiteY136" fmla="*/ 46298 h 110081"/>
              <a:gd name="connsiteX137" fmla="*/ 476572 w 597259"/>
              <a:gd name="connsiteY137" fmla="*/ 41817 h 110081"/>
              <a:gd name="connsiteX138" fmla="*/ 481950 w 597259"/>
              <a:gd name="connsiteY138" fmla="*/ 28812 h 110081"/>
              <a:gd name="connsiteX139" fmla="*/ 477020 w 597259"/>
              <a:gd name="connsiteY139" fmla="*/ 16864 h 110081"/>
              <a:gd name="connsiteX140" fmla="*/ 462827 w 597259"/>
              <a:gd name="connsiteY140" fmla="*/ 12383 h 110081"/>
              <a:gd name="connsiteX141" fmla="*/ 448186 w 597259"/>
              <a:gd name="connsiteY141" fmla="*/ 15246 h 110081"/>
              <a:gd name="connsiteX142" fmla="*/ 434143 w 597259"/>
              <a:gd name="connsiteY142" fmla="*/ 24331 h 110081"/>
              <a:gd name="connsiteX143" fmla="*/ 434143 w 597259"/>
              <a:gd name="connsiteY143" fmla="*/ 9707 h 110081"/>
              <a:gd name="connsiteX144" fmla="*/ 462977 w 597259"/>
              <a:gd name="connsiteY144" fmla="*/ 0 h 110081"/>
              <a:gd name="connsiteX145" fmla="*/ 487030 w 597259"/>
              <a:gd name="connsiteY145" fmla="*/ 7779 h 110081"/>
              <a:gd name="connsiteX146" fmla="*/ 495844 w 597259"/>
              <a:gd name="connsiteY146" fmla="*/ 28065 h 110081"/>
              <a:gd name="connsiteX147" fmla="*/ 490167 w 597259"/>
              <a:gd name="connsiteY147" fmla="*/ 44244 h 110081"/>
              <a:gd name="connsiteX148" fmla="*/ 476870 w 597259"/>
              <a:gd name="connsiteY148" fmla="*/ 52147 h 110081"/>
              <a:gd name="connsiteX149" fmla="*/ 488374 w 597259"/>
              <a:gd name="connsiteY149" fmla="*/ 56441 h 110081"/>
              <a:gd name="connsiteX150" fmla="*/ 497039 w 597259"/>
              <a:gd name="connsiteY150" fmla="*/ 65153 h 110081"/>
              <a:gd name="connsiteX151" fmla="*/ 500326 w 597259"/>
              <a:gd name="connsiteY151" fmla="*/ 77661 h 110081"/>
              <a:gd name="connsiteX152" fmla="*/ 495396 w 597259"/>
              <a:gd name="connsiteY152" fmla="*/ 94836 h 110081"/>
              <a:gd name="connsiteX153" fmla="*/ 481801 w 597259"/>
              <a:gd name="connsiteY153" fmla="*/ 106224 h 110081"/>
              <a:gd name="connsiteX154" fmla="*/ 461931 w 597259"/>
              <a:gd name="connsiteY154" fmla="*/ 110082 h 110081"/>
              <a:gd name="connsiteX155" fmla="*/ 431454 w 597259"/>
              <a:gd name="connsiteY155" fmla="*/ 100997 h 110081"/>
              <a:gd name="connsiteX156" fmla="*/ 431454 w 597259"/>
              <a:gd name="connsiteY156" fmla="*/ 86062 h 110081"/>
              <a:gd name="connsiteX157" fmla="*/ 445198 w 597259"/>
              <a:gd name="connsiteY157" fmla="*/ 94711 h 110081"/>
              <a:gd name="connsiteX158" fmla="*/ 462080 w 597259"/>
              <a:gd name="connsiteY158" fmla="*/ 97823 h 110081"/>
              <a:gd name="connsiteX159" fmla="*/ 479410 w 597259"/>
              <a:gd name="connsiteY159" fmla="*/ 92596 h 110081"/>
              <a:gd name="connsiteX160" fmla="*/ 485834 w 597259"/>
              <a:gd name="connsiteY160" fmla="*/ 77972 h 110081"/>
              <a:gd name="connsiteX161" fmla="*/ 480008 w 597259"/>
              <a:gd name="connsiteY161" fmla="*/ 64095 h 110081"/>
              <a:gd name="connsiteX162" fmla="*/ 462379 w 597259"/>
              <a:gd name="connsiteY162" fmla="*/ 58992 h 110081"/>
              <a:gd name="connsiteX163" fmla="*/ 448634 w 597259"/>
              <a:gd name="connsiteY163" fmla="*/ 58992 h 110081"/>
              <a:gd name="connsiteX164" fmla="*/ 564990 w 597259"/>
              <a:gd name="connsiteY164" fmla="*/ 110082 h 110081"/>
              <a:gd name="connsiteX165" fmla="*/ 537202 w 597259"/>
              <a:gd name="connsiteY165" fmla="*/ 103486 h 110081"/>
              <a:gd name="connsiteX166" fmla="*/ 518826 w 597259"/>
              <a:gd name="connsiteY166" fmla="*/ 84693 h 110081"/>
              <a:gd name="connsiteX167" fmla="*/ 512253 w 597259"/>
              <a:gd name="connsiteY167" fmla="*/ 55134 h 110081"/>
              <a:gd name="connsiteX168" fmla="*/ 525848 w 597259"/>
              <a:gd name="connsiteY168" fmla="*/ 14810 h 110081"/>
              <a:gd name="connsiteX169" fmla="*/ 564691 w 597259"/>
              <a:gd name="connsiteY169" fmla="*/ 186 h 110081"/>
              <a:gd name="connsiteX170" fmla="*/ 582619 w 597259"/>
              <a:gd name="connsiteY170" fmla="*/ 2240 h 110081"/>
              <a:gd name="connsiteX171" fmla="*/ 597260 w 597259"/>
              <a:gd name="connsiteY171" fmla="*/ 7902 h 110081"/>
              <a:gd name="connsiteX172" fmla="*/ 597260 w 597259"/>
              <a:gd name="connsiteY172" fmla="*/ 21344 h 110081"/>
              <a:gd name="connsiteX173" fmla="*/ 582171 w 597259"/>
              <a:gd name="connsiteY173" fmla="*/ 15121 h 110081"/>
              <a:gd name="connsiteX174" fmla="*/ 564542 w 597259"/>
              <a:gd name="connsiteY174" fmla="*/ 12881 h 110081"/>
              <a:gd name="connsiteX175" fmla="*/ 536605 w 597259"/>
              <a:gd name="connsiteY175" fmla="*/ 23459 h 110081"/>
              <a:gd name="connsiteX176" fmla="*/ 527491 w 597259"/>
              <a:gd name="connsiteY176" fmla="*/ 55134 h 110081"/>
              <a:gd name="connsiteX177" fmla="*/ 537352 w 597259"/>
              <a:gd name="connsiteY177" fmla="*/ 86933 h 110081"/>
              <a:gd name="connsiteX178" fmla="*/ 566185 w 597259"/>
              <a:gd name="connsiteY178" fmla="*/ 97387 h 110081"/>
              <a:gd name="connsiteX179" fmla="*/ 597260 w 597259"/>
              <a:gd name="connsiteY179" fmla="*/ 87555 h 110081"/>
              <a:gd name="connsiteX180" fmla="*/ 597260 w 597259"/>
              <a:gd name="connsiteY180" fmla="*/ 100997 h 110081"/>
              <a:gd name="connsiteX181" fmla="*/ 583366 w 597259"/>
              <a:gd name="connsiteY181" fmla="*/ 107717 h 110081"/>
              <a:gd name="connsiteX182" fmla="*/ 564990 w 597259"/>
              <a:gd name="connsiteY182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25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323053" y="108588"/>
                </a:moveTo>
                <a:lnTo>
                  <a:pt x="309906" y="108588"/>
                </a:lnTo>
                <a:lnTo>
                  <a:pt x="309906" y="83199"/>
                </a:lnTo>
                <a:lnTo>
                  <a:pt x="263593" y="83199"/>
                </a:lnTo>
                <a:lnTo>
                  <a:pt x="263593" y="73927"/>
                </a:lnTo>
                <a:lnTo>
                  <a:pt x="305424" y="1493"/>
                </a:lnTo>
                <a:lnTo>
                  <a:pt x="323053" y="1493"/>
                </a:lnTo>
                <a:lnTo>
                  <a:pt x="323053" y="71873"/>
                </a:lnTo>
                <a:lnTo>
                  <a:pt x="337545" y="71873"/>
                </a:lnTo>
                <a:lnTo>
                  <a:pt x="337545" y="83199"/>
                </a:lnTo>
                <a:lnTo>
                  <a:pt x="323053" y="83199"/>
                </a:lnTo>
                <a:lnTo>
                  <a:pt x="323053" y="108588"/>
                </a:lnTo>
                <a:close/>
                <a:moveTo>
                  <a:pt x="277188" y="71873"/>
                </a:moveTo>
                <a:lnTo>
                  <a:pt x="309906" y="71873"/>
                </a:lnTo>
                <a:lnTo>
                  <a:pt x="309906" y="16117"/>
                </a:lnTo>
                <a:lnTo>
                  <a:pt x="277188" y="71873"/>
                </a:lnTo>
                <a:close/>
                <a:moveTo>
                  <a:pt x="419683" y="73491"/>
                </a:moveTo>
                <a:cubicBezTo>
                  <a:pt x="419683" y="80772"/>
                  <a:pt x="418089" y="87182"/>
                  <a:pt x="414902" y="92782"/>
                </a:cubicBezTo>
                <a:cubicBezTo>
                  <a:pt x="411814" y="98258"/>
                  <a:pt x="407581" y="102490"/>
                  <a:pt x="402203" y="105601"/>
                </a:cubicBezTo>
                <a:cubicBezTo>
                  <a:pt x="396825" y="108588"/>
                  <a:pt x="390799" y="110082"/>
                  <a:pt x="384126" y="110082"/>
                </a:cubicBezTo>
                <a:cubicBezTo>
                  <a:pt x="375162" y="110082"/>
                  <a:pt x="367941" y="108091"/>
                  <a:pt x="362463" y="104108"/>
                </a:cubicBezTo>
                <a:cubicBezTo>
                  <a:pt x="356985" y="100125"/>
                  <a:pt x="352952" y="94587"/>
                  <a:pt x="350362" y="87555"/>
                </a:cubicBezTo>
                <a:cubicBezTo>
                  <a:pt x="347872" y="80461"/>
                  <a:pt x="346627" y="72372"/>
                  <a:pt x="346627" y="63161"/>
                </a:cubicBezTo>
                <a:cubicBezTo>
                  <a:pt x="346627" y="50653"/>
                  <a:pt x="348121" y="39639"/>
                  <a:pt x="351109" y="30181"/>
                </a:cubicBezTo>
                <a:cubicBezTo>
                  <a:pt x="354196" y="20722"/>
                  <a:pt x="358878" y="13379"/>
                  <a:pt x="365152" y="8089"/>
                </a:cubicBezTo>
                <a:cubicBezTo>
                  <a:pt x="371527" y="2675"/>
                  <a:pt x="379694" y="0"/>
                  <a:pt x="389654" y="0"/>
                </a:cubicBezTo>
                <a:cubicBezTo>
                  <a:pt x="398219" y="0"/>
                  <a:pt x="405739" y="1866"/>
                  <a:pt x="412213" y="5538"/>
                </a:cubicBezTo>
                <a:lnTo>
                  <a:pt x="412213" y="18855"/>
                </a:lnTo>
                <a:cubicBezTo>
                  <a:pt x="405739" y="14437"/>
                  <a:pt x="398219" y="12259"/>
                  <a:pt x="389654" y="12259"/>
                </a:cubicBezTo>
                <a:cubicBezTo>
                  <a:pt x="383478" y="12259"/>
                  <a:pt x="378299" y="13939"/>
                  <a:pt x="374116" y="17361"/>
                </a:cubicBezTo>
                <a:cubicBezTo>
                  <a:pt x="369933" y="20722"/>
                  <a:pt x="366646" y="25327"/>
                  <a:pt x="364256" y="31238"/>
                </a:cubicBezTo>
                <a:cubicBezTo>
                  <a:pt x="361965" y="37026"/>
                  <a:pt x="360571" y="43498"/>
                  <a:pt x="360073" y="50778"/>
                </a:cubicBezTo>
                <a:cubicBezTo>
                  <a:pt x="363360" y="46298"/>
                  <a:pt x="367144" y="42999"/>
                  <a:pt x="371427" y="40759"/>
                </a:cubicBezTo>
                <a:cubicBezTo>
                  <a:pt x="375710" y="38581"/>
                  <a:pt x="380391" y="37523"/>
                  <a:pt x="385470" y="37523"/>
                </a:cubicBezTo>
                <a:cubicBezTo>
                  <a:pt x="391944" y="37523"/>
                  <a:pt x="397721" y="38893"/>
                  <a:pt x="402801" y="41693"/>
                </a:cubicBezTo>
                <a:cubicBezTo>
                  <a:pt x="407980" y="44493"/>
                  <a:pt x="412063" y="48538"/>
                  <a:pt x="415051" y="53952"/>
                </a:cubicBezTo>
                <a:cubicBezTo>
                  <a:pt x="418139" y="59179"/>
                  <a:pt x="419683" y="65713"/>
                  <a:pt x="419683" y="73491"/>
                </a:cubicBezTo>
                <a:close/>
                <a:moveTo>
                  <a:pt x="383678" y="98134"/>
                </a:moveTo>
                <a:cubicBezTo>
                  <a:pt x="387562" y="98134"/>
                  <a:pt x="391147" y="97263"/>
                  <a:pt x="394434" y="95458"/>
                </a:cubicBezTo>
                <a:cubicBezTo>
                  <a:pt x="397721" y="93529"/>
                  <a:pt x="400360" y="90791"/>
                  <a:pt x="402352" y="87244"/>
                </a:cubicBezTo>
                <a:cubicBezTo>
                  <a:pt x="404444" y="83635"/>
                  <a:pt x="405490" y="79154"/>
                  <a:pt x="405490" y="73803"/>
                </a:cubicBezTo>
                <a:cubicBezTo>
                  <a:pt x="405490" y="68389"/>
                  <a:pt x="404494" y="63908"/>
                  <a:pt x="402502" y="60174"/>
                </a:cubicBezTo>
                <a:cubicBezTo>
                  <a:pt x="400510" y="56503"/>
                  <a:pt x="397970" y="53765"/>
                  <a:pt x="394882" y="51961"/>
                </a:cubicBezTo>
                <a:cubicBezTo>
                  <a:pt x="391795" y="50093"/>
                  <a:pt x="388558" y="49160"/>
                  <a:pt x="385172" y="49160"/>
                </a:cubicBezTo>
                <a:cubicBezTo>
                  <a:pt x="378598" y="49160"/>
                  <a:pt x="373070" y="51276"/>
                  <a:pt x="368589" y="55570"/>
                </a:cubicBezTo>
                <a:cubicBezTo>
                  <a:pt x="364206" y="59739"/>
                  <a:pt x="362015" y="65900"/>
                  <a:pt x="362015" y="74114"/>
                </a:cubicBezTo>
                <a:cubicBezTo>
                  <a:pt x="362015" y="81270"/>
                  <a:pt x="363957" y="87058"/>
                  <a:pt x="367842" y="91538"/>
                </a:cubicBezTo>
                <a:cubicBezTo>
                  <a:pt x="371726" y="95956"/>
                  <a:pt x="377005" y="98134"/>
                  <a:pt x="383678" y="98134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2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1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30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2" y="40262"/>
                  <a:pt x="490167" y="44244"/>
                </a:cubicBezTo>
                <a:cubicBezTo>
                  <a:pt x="486482" y="48227"/>
                  <a:pt x="482050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3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5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1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64990" y="110082"/>
                </a:moveTo>
                <a:cubicBezTo>
                  <a:pt x="554433" y="110082"/>
                  <a:pt x="545170" y="107904"/>
                  <a:pt x="537202" y="103486"/>
                </a:cubicBezTo>
                <a:cubicBezTo>
                  <a:pt x="529334" y="99129"/>
                  <a:pt x="523209" y="92844"/>
                  <a:pt x="518826" y="84693"/>
                </a:cubicBezTo>
                <a:cubicBezTo>
                  <a:pt x="514444" y="76416"/>
                  <a:pt x="512253" y="66584"/>
                  <a:pt x="512253" y="55134"/>
                </a:cubicBezTo>
                <a:cubicBezTo>
                  <a:pt x="512253" y="37897"/>
                  <a:pt x="516785" y="24455"/>
                  <a:pt x="525848" y="14810"/>
                </a:cubicBezTo>
                <a:cubicBezTo>
                  <a:pt x="534911" y="5040"/>
                  <a:pt x="547859" y="186"/>
                  <a:pt x="564691" y="186"/>
                </a:cubicBezTo>
                <a:cubicBezTo>
                  <a:pt x="570966" y="186"/>
                  <a:pt x="576942" y="871"/>
                  <a:pt x="582619" y="2240"/>
                </a:cubicBezTo>
                <a:cubicBezTo>
                  <a:pt x="588396" y="3547"/>
                  <a:pt x="593276" y="5414"/>
                  <a:pt x="597260" y="7902"/>
                </a:cubicBezTo>
                <a:lnTo>
                  <a:pt x="597260" y="21344"/>
                </a:lnTo>
                <a:cubicBezTo>
                  <a:pt x="592977" y="18669"/>
                  <a:pt x="587947" y="16615"/>
                  <a:pt x="582171" y="15121"/>
                </a:cubicBezTo>
                <a:cubicBezTo>
                  <a:pt x="576494" y="13628"/>
                  <a:pt x="570617" y="12881"/>
                  <a:pt x="564542" y="12881"/>
                </a:cubicBezTo>
                <a:cubicBezTo>
                  <a:pt x="551993" y="12881"/>
                  <a:pt x="542680" y="16366"/>
                  <a:pt x="536605" y="23459"/>
                </a:cubicBezTo>
                <a:cubicBezTo>
                  <a:pt x="530529" y="30554"/>
                  <a:pt x="527491" y="41071"/>
                  <a:pt x="527491" y="55134"/>
                </a:cubicBezTo>
                <a:cubicBezTo>
                  <a:pt x="527491" y="69260"/>
                  <a:pt x="530778" y="79839"/>
                  <a:pt x="537352" y="86933"/>
                </a:cubicBezTo>
                <a:cubicBezTo>
                  <a:pt x="543925" y="93902"/>
                  <a:pt x="553536" y="97387"/>
                  <a:pt x="566185" y="97387"/>
                </a:cubicBezTo>
                <a:cubicBezTo>
                  <a:pt x="578137" y="97387"/>
                  <a:pt x="588495" y="94089"/>
                  <a:pt x="597260" y="87555"/>
                </a:cubicBezTo>
                <a:lnTo>
                  <a:pt x="597260" y="100997"/>
                </a:lnTo>
                <a:cubicBezTo>
                  <a:pt x="593774" y="103734"/>
                  <a:pt x="589143" y="105974"/>
                  <a:pt x="583366" y="107717"/>
                </a:cubicBezTo>
                <a:cubicBezTo>
                  <a:pt x="577589" y="109273"/>
                  <a:pt x="571464" y="110082"/>
                  <a:pt x="56499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3" name="Полилиния 982">
            <a:extLst>
              <a:ext uri="{FF2B5EF4-FFF2-40B4-BE49-F238E27FC236}">
                <a16:creationId xmlns:a16="http://schemas.microsoft.com/office/drawing/2014/main" id="{85424433-5812-9C94-7B0B-3217C9A6B099}"/>
              </a:ext>
            </a:extLst>
          </p:cNvPr>
          <p:cNvSpPr/>
          <p:nvPr userDrawn="1"/>
        </p:nvSpPr>
        <p:spPr>
          <a:xfrm>
            <a:off x="13814863" y="4513847"/>
            <a:ext cx="1398954" cy="726227"/>
          </a:xfrm>
          <a:custGeom>
            <a:avLst/>
            <a:gdLst>
              <a:gd name="connsiteX0" fmla="*/ 213 w 1198727"/>
              <a:gd name="connsiteY0" fmla="*/ 1122 h 622284"/>
              <a:gd name="connsiteX1" fmla="*/ 1198941 w 1198727"/>
              <a:gd name="connsiteY1" fmla="*/ 1122 h 622284"/>
              <a:gd name="connsiteX2" fmla="*/ 1198941 w 1198727"/>
              <a:gd name="connsiteY2" fmla="*/ 623406 h 622284"/>
              <a:gd name="connsiteX3" fmla="*/ 213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122"/>
                </a:moveTo>
                <a:lnTo>
                  <a:pt x="1198941" y="1122"/>
                </a:lnTo>
                <a:lnTo>
                  <a:pt x="1198941" y="623406"/>
                </a:lnTo>
                <a:lnTo>
                  <a:pt x="213" y="623406"/>
                </a:lnTo>
                <a:close/>
              </a:path>
            </a:pathLst>
          </a:custGeom>
          <a:solidFill>
            <a:srgbClr val="006E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4" name="Полилиния 983">
            <a:extLst>
              <a:ext uri="{FF2B5EF4-FFF2-40B4-BE49-F238E27FC236}">
                <a16:creationId xmlns:a16="http://schemas.microsoft.com/office/drawing/2014/main" id="{68B55150-032C-C42B-BC18-61A7F1A9768D}"/>
              </a:ext>
            </a:extLst>
          </p:cNvPr>
          <p:cNvSpPr/>
          <p:nvPr userDrawn="1"/>
        </p:nvSpPr>
        <p:spPr>
          <a:xfrm>
            <a:off x="13938073" y="4815595"/>
            <a:ext cx="715996" cy="128468"/>
          </a:xfrm>
          <a:custGeom>
            <a:avLst/>
            <a:gdLst>
              <a:gd name="connsiteX0" fmla="*/ 22111 w 613519"/>
              <a:gd name="connsiteY0" fmla="*/ 108588 h 110081"/>
              <a:gd name="connsiteX1" fmla="*/ 10159 w 613519"/>
              <a:gd name="connsiteY1" fmla="*/ 108588 h 110081"/>
              <a:gd name="connsiteX2" fmla="*/ 16434 w 613519"/>
              <a:gd name="connsiteY2" fmla="*/ 77661 h 110081"/>
              <a:gd name="connsiteX3" fmla="*/ 0 w 613519"/>
              <a:gd name="connsiteY3" fmla="*/ 77661 h 110081"/>
              <a:gd name="connsiteX4" fmla="*/ 0 w 613519"/>
              <a:gd name="connsiteY4" fmla="*/ 67206 h 110081"/>
              <a:gd name="connsiteX5" fmla="*/ 18675 w 613519"/>
              <a:gd name="connsiteY5" fmla="*/ 67206 h 110081"/>
              <a:gd name="connsiteX6" fmla="*/ 24202 w 613519"/>
              <a:gd name="connsiteY6" fmla="*/ 40012 h 110081"/>
              <a:gd name="connsiteX7" fmla="*/ 4034 w 613519"/>
              <a:gd name="connsiteY7" fmla="*/ 40012 h 110081"/>
              <a:gd name="connsiteX8" fmla="*/ 4034 w 613519"/>
              <a:gd name="connsiteY8" fmla="*/ 29559 h 110081"/>
              <a:gd name="connsiteX9" fmla="*/ 26294 w 613519"/>
              <a:gd name="connsiteY9" fmla="*/ 29559 h 110081"/>
              <a:gd name="connsiteX10" fmla="*/ 32120 w 613519"/>
              <a:gd name="connsiteY10" fmla="*/ 1493 h 110081"/>
              <a:gd name="connsiteX11" fmla="*/ 44072 w 613519"/>
              <a:gd name="connsiteY11" fmla="*/ 1493 h 110081"/>
              <a:gd name="connsiteX12" fmla="*/ 38246 w 613519"/>
              <a:gd name="connsiteY12" fmla="*/ 29559 h 110081"/>
              <a:gd name="connsiteX13" fmla="*/ 60655 w 613519"/>
              <a:gd name="connsiteY13" fmla="*/ 29559 h 110081"/>
              <a:gd name="connsiteX14" fmla="*/ 66482 w 613519"/>
              <a:gd name="connsiteY14" fmla="*/ 1493 h 110081"/>
              <a:gd name="connsiteX15" fmla="*/ 78434 w 613519"/>
              <a:gd name="connsiteY15" fmla="*/ 1493 h 110081"/>
              <a:gd name="connsiteX16" fmla="*/ 72607 w 613519"/>
              <a:gd name="connsiteY16" fmla="*/ 29559 h 110081"/>
              <a:gd name="connsiteX17" fmla="*/ 89340 w 613519"/>
              <a:gd name="connsiteY17" fmla="*/ 29559 h 110081"/>
              <a:gd name="connsiteX18" fmla="*/ 89340 w 613519"/>
              <a:gd name="connsiteY18" fmla="*/ 40012 h 110081"/>
              <a:gd name="connsiteX19" fmla="*/ 70516 w 613519"/>
              <a:gd name="connsiteY19" fmla="*/ 40012 h 110081"/>
              <a:gd name="connsiteX20" fmla="*/ 64988 w 613519"/>
              <a:gd name="connsiteY20" fmla="*/ 67206 h 110081"/>
              <a:gd name="connsiteX21" fmla="*/ 85306 w 613519"/>
              <a:gd name="connsiteY21" fmla="*/ 67206 h 110081"/>
              <a:gd name="connsiteX22" fmla="*/ 85306 w 613519"/>
              <a:gd name="connsiteY22" fmla="*/ 77661 h 110081"/>
              <a:gd name="connsiteX23" fmla="*/ 62747 w 613519"/>
              <a:gd name="connsiteY23" fmla="*/ 77661 h 110081"/>
              <a:gd name="connsiteX24" fmla="*/ 56472 w 613519"/>
              <a:gd name="connsiteY24" fmla="*/ 108588 h 110081"/>
              <a:gd name="connsiteX25" fmla="*/ 44520 w 613519"/>
              <a:gd name="connsiteY25" fmla="*/ 108588 h 110081"/>
              <a:gd name="connsiteX26" fmla="*/ 50795 w 613519"/>
              <a:gd name="connsiteY26" fmla="*/ 77661 h 110081"/>
              <a:gd name="connsiteX27" fmla="*/ 28386 w 613519"/>
              <a:gd name="connsiteY27" fmla="*/ 77661 h 110081"/>
              <a:gd name="connsiteX28" fmla="*/ 22111 w 613519"/>
              <a:gd name="connsiteY28" fmla="*/ 108588 h 110081"/>
              <a:gd name="connsiteX29" fmla="*/ 30626 w 613519"/>
              <a:gd name="connsiteY29" fmla="*/ 67206 h 110081"/>
              <a:gd name="connsiteX30" fmla="*/ 53036 w 613519"/>
              <a:gd name="connsiteY30" fmla="*/ 67206 h 110081"/>
              <a:gd name="connsiteX31" fmla="*/ 58564 w 613519"/>
              <a:gd name="connsiteY31" fmla="*/ 40012 h 110081"/>
              <a:gd name="connsiteX32" fmla="*/ 36154 w 613519"/>
              <a:gd name="connsiteY32" fmla="*/ 40012 h 110081"/>
              <a:gd name="connsiteX33" fmla="*/ 30626 w 613519"/>
              <a:gd name="connsiteY33" fmla="*/ 67206 h 110081"/>
              <a:gd name="connsiteX34" fmla="*/ 136661 w 613519"/>
              <a:gd name="connsiteY34" fmla="*/ 110082 h 110081"/>
              <a:gd name="connsiteX35" fmla="*/ 118435 w 613519"/>
              <a:gd name="connsiteY35" fmla="*/ 104233 h 110081"/>
              <a:gd name="connsiteX36" fmla="*/ 105736 w 613519"/>
              <a:gd name="connsiteY36" fmla="*/ 86311 h 110081"/>
              <a:gd name="connsiteX37" fmla="*/ 101254 w 613519"/>
              <a:gd name="connsiteY37" fmla="*/ 54947 h 110081"/>
              <a:gd name="connsiteX38" fmla="*/ 105736 w 613519"/>
              <a:gd name="connsiteY38" fmla="*/ 23584 h 110081"/>
              <a:gd name="connsiteX39" fmla="*/ 118435 w 613519"/>
              <a:gd name="connsiteY39" fmla="*/ 5849 h 110081"/>
              <a:gd name="connsiteX40" fmla="*/ 136661 w 613519"/>
              <a:gd name="connsiteY40" fmla="*/ 186 h 110081"/>
              <a:gd name="connsiteX41" fmla="*/ 154738 w 613519"/>
              <a:gd name="connsiteY41" fmla="*/ 5849 h 110081"/>
              <a:gd name="connsiteX42" fmla="*/ 167138 w 613519"/>
              <a:gd name="connsiteY42" fmla="*/ 23584 h 110081"/>
              <a:gd name="connsiteX43" fmla="*/ 171620 w 613519"/>
              <a:gd name="connsiteY43" fmla="*/ 54698 h 110081"/>
              <a:gd name="connsiteX44" fmla="*/ 167138 w 613519"/>
              <a:gd name="connsiteY44" fmla="*/ 86062 h 110081"/>
              <a:gd name="connsiteX45" fmla="*/ 154738 w 613519"/>
              <a:gd name="connsiteY45" fmla="*/ 104233 h 110081"/>
              <a:gd name="connsiteX46" fmla="*/ 136661 w 613519"/>
              <a:gd name="connsiteY46" fmla="*/ 110082 h 110081"/>
              <a:gd name="connsiteX47" fmla="*/ 136512 w 613519"/>
              <a:gd name="connsiteY47" fmla="*/ 98258 h 110081"/>
              <a:gd name="connsiteX48" fmla="*/ 147866 w 613519"/>
              <a:gd name="connsiteY48" fmla="*/ 94275 h 110081"/>
              <a:gd name="connsiteX49" fmla="*/ 155037 w 613519"/>
              <a:gd name="connsiteY49" fmla="*/ 80648 h 110081"/>
              <a:gd name="connsiteX50" fmla="*/ 157577 w 613519"/>
              <a:gd name="connsiteY50" fmla="*/ 55134 h 110081"/>
              <a:gd name="connsiteX51" fmla="*/ 155187 w 613519"/>
              <a:gd name="connsiteY51" fmla="*/ 29745 h 110081"/>
              <a:gd name="connsiteX52" fmla="*/ 148016 w 613519"/>
              <a:gd name="connsiteY52" fmla="*/ 16117 h 110081"/>
              <a:gd name="connsiteX53" fmla="*/ 136661 w 613519"/>
              <a:gd name="connsiteY53" fmla="*/ 11947 h 110081"/>
              <a:gd name="connsiteX54" fmla="*/ 125158 w 613519"/>
              <a:gd name="connsiteY54" fmla="*/ 16117 h 110081"/>
              <a:gd name="connsiteX55" fmla="*/ 117837 w 613519"/>
              <a:gd name="connsiteY55" fmla="*/ 29745 h 110081"/>
              <a:gd name="connsiteX56" fmla="*/ 115298 w 613519"/>
              <a:gd name="connsiteY56" fmla="*/ 55134 h 110081"/>
              <a:gd name="connsiteX57" fmla="*/ 117688 w 613519"/>
              <a:gd name="connsiteY57" fmla="*/ 80648 h 110081"/>
              <a:gd name="connsiteX58" fmla="*/ 125008 w 613519"/>
              <a:gd name="connsiteY58" fmla="*/ 94275 h 110081"/>
              <a:gd name="connsiteX59" fmla="*/ 136512 w 613519"/>
              <a:gd name="connsiteY59" fmla="*/ 98258 h 110081"/>
              <a:gd name="connsiteX60" fmla="*/ 218799 w 613519"/>
              <a:gd name="connsiteY60" fmla="*/ 110082 h 110081"/>
              <a:gd name="connsiteX61" fmla="*/ 200572 w 613519"/>
              <a:gd name="connsiteY61" fmla="*/ 104233 h 110081"/>
              <a:gd name="connsiteX62" fmla="*/ 187874 w 613519"/>
              <a:gd name="connsiteY62" fmla="*/ 86311 h 110081"/>
              <a:gd name="connsiteX63" fmla="*/ 183392 w 613519"/>
              <a:gd name="connsiteY63" fmla="*/ 54947 h 110081"/>
              <a:gd name="connsiteX64" fmla="*/ 187874 w 613519"/>
              <a:gd name="connsiteY64" fmla="*/ 23584 h 110081"/>
              <a:gd name="connsiteX65" fmla="*/ 200572 w 613519"/>
              <a:gd name="connsiteY65" fmla="*/ 5849 h 110081"/>
              <a:gd name="connsiteX66" fmla="*/ 218799 w 613519"/>
              <a:gd name="connsiteY66" fmla="*/ 186 h 110081"/>
              <a:gd name="connsiteX67" fmla="*/ 236876 w 613519"/>
              <a:gd name="connsiteY67" fmla="*/ 5849 h 110081"/>
              <a:gd name="connsiteX68" fmla="*/ 249276 w 613519"/>
              <a:gd name="connsiteY68" fmla="*/ 23584 h 110081"/>
              <a:gd name="connsiteX69" fmla="*/ 253758 w 613519"/>
              <a:gd name="connsiteY69" fmla="*/ 54698 h 110081"/>
              <a:gd name="connsiteX70" fmla="*/ 249276 w 613519"/>
              <a:gd name="connsiteY70" fmla="*/ 86062 h 110081"/>
              <a:gd name="connsiteX71" fmla="*/ 236876 w 613519"/>
              <a:gd name="connsiteY71" fmla="*/ 104233 h 110081"/>
              <a:gd name="connsiteX72" fmla="*/ 218799 w 613519"/>
              <a:gd name="connsiteY72" fmla="*/ 110082 h 110081"/>
              <a:gd name="connsiteX73" fmla="*/ 218649 w 613519"/>
              <a:gd name="connsiteY73" fmla="*/ 98258 h 110081"/>
              <a:gd name="connsiteX74" fmla="*/ 230004 w 613519"/>
              <a:gd name="connsiteY74" fmla="*/ 94275 h 110081"/>
              <a:gd name="connsiteX75" fmla="*/ 237175 w 613519"/>
              <a:gd name="connsiteY75" fmla="*/ 80648 h 110081"/>
              <a:gd name="connsiteX76" fmla="*/ 239714 w 613519"/>
              <a:gd name="connsiteY76" fmla="*/ 55134 h 110081"/>
              <a:gd name="connsiteX77" fmla="*/ 237324 w 613519"/>
              <a:gd name="connsiteY77" fmla="*/ 29745 h 110081"/>
              <a:gd name="connsiteX78" fmla="*/ 230153 w 613519"/>
              <a:gd name="connsiteY78" fmla="*/ 16117 h 110081"/>
              <a:gd name="connsiteX79" fmla="*/ 218799 w 613519"/>
              <a:gd name="connsiteY79" fmla="*/ 11947 h 110081"/>
              <a:gd name="connsiteX80" fmla="*/ 207295 w 613519"/>
              <a:gd name="connsiteY80" fmla="*/ 16117 h 110081"/>
              <a:gd name="connsiteX81" fmla="*/ 199975 w 613519"/>
              <a:gd name="connsiteY81" fmla="*/ 29745 h 110081"/>
              <a:gd name="connsiteX82" fmla="*/ 197435 w 613519"/>
              <a:gd name="connsiteY82" fmla="*/ 55134 h 110081"/>
              <a:gd name="connsiteX83" fmla="*/ 199825 w 613519"/>
              <a:gd name="connsiteY83" fmla="*/ 80648 h 110081"/>
              <a:gd name="connsiteX84" fmla="*/ 207146 w 613519"/>
              <a:gd name="connsiteY84" fmla="*/ 94275 h 110081"/>
              <a:gd name="connsiteX85" fmla="*/ 218649 w 613519"/>
              <a:gd name="connsiteY85" fmla="*/ 98258 h 110081"/>
              <a:gd name="connsiteX86" fmla="*/ 337545 w 613519"/>
              <a:gd name="connsiteY86" fmla="*/ 73491 h 110081"/>
              <a:gd name="connsiteX87" fmla="*/ 332764 w 613519"/>
              <a:gd name="connsiteY87" fmla="*/ 92782 h 110081"/>
              <a:gd name="connsiteX88" fmla="*/ 320065 w 613519"/>
              <a:gd name="connsiteY88" fmla="*/ 105601 h 110081"/>
              <a:gd name="connsiteX89" fmla="*/ 301988 w 613519"/>
              <a:gd name="connsiteY89" fmla="*/ 110082 h 110081"/>
              <a:gd name="connsiteX90" fmla="*/ 280326 w 613519"/>
              <a:gd name="connsiteY90" fmla="*/ 104108 h 110081"/>
              <a:gd name="connsiteX91" fmla="*/ 268224 w 613519"/>
              <a:gd name="connsiteY91" fmla="*/ 87555 h 110081"/>
              <a:gd name="connsiteX92" fmla="*/ 264490 w 613519"/>
              <a:gd name="connsiteY92" fmla="*/ 63161 h 110081"/>
              <a:gd name="connsiteX93" fmla="*/ 268972 w 613519"/>
              <a:gd name="connsiteY93" fmla="*/ 30181 h 110081"/>
              <a:gd name="connsiteX94" fmla="*/ 283015 w 613519"/>
              <a:gd name="connsiteY94" fmla="*/ 8089 h 110081"/>
              <a:gd name="connsiteX95" fmla="*/ 307516 w 613519"/>
              <a:gd name="connsiteY95" fmla="*/ 0 h 110081"/>
              <a:gd name="connsiteX96" fmla="*/ 330075 w 613519"/>
              <a:gd name="connsiteY96" fmla="*/ 5538 h 110081"/>
              <a:gd name="connsiteX97" fmla="*/ 330075 w 613519"/>
              <a:gd name="connsiteY97" fmla="*/ 18855 h 110081"/>
              <a:gd name="connsiteX98" fmla="*/ 307516 w 613519"/>
              <a:gd name="connsiteY98" fmla="*/ 12259 h 110081"/>
              <a:gd name="connsiteX99" fmla="*/ 291979 w 613519"/>
              <a:gd name="connsiteY99" fmla="*/ 17361 h 110081"/>
              <a:gd name="connsiteX100" fmla="*/ 282119 w 613519"/>
              <a:gd name="connsiteY100" fmla="*/ 31238 h 110081"/>
              <a:gd name="connsiteX101" fmla="*/ 277935 w 613519"/>
              <a:gd name="connsiteY101" fmla="*/ 50778 h 110081"/>
              <a:gd name="connsiteX102" fmla="*/ 289290 w 613519"/>
              <a:gd name="connsiteY102" fmla="*/ 40759 h 110081"/>
              <a:gd name="connsiteX103" fmla="*/ 303333 w 613519"/>
              <a:gd name="connsiteY103" fmla="*/ 37523 h 110081"/>
              <a:gd name="connsiteX104" fmla="*/ 320663 w 613519"/>
              <a:gd name="connsiteY104" fmla="*/ 41693 h 110081"/>
              <a:gd name="connsiteX105" fmla="*/ 332914 w 613519"/>
              <a:gd name="connsiteY105" fmla="*/ 53952 h 110081"/>
              <a:gd name="connsiteX106" fmla="*/ 337545 w 613519"/>
              <a:gd name="connsiteY106" fmla="*/ 73491 h 110081"/>
              <a:gd name="connsiteX107" fmla="*/ 301540 w 613519"/>
              <a:gd name="connsiteY107" fmla="*/ 98134 h 110081"/>
              <a:gd name="connsiteX108" fmla="*/ 312297 w 613519"/>
              <a:gd name="connsiteY108" fmla="*/ 95458 h 110081"/>
              <a:gd name="connsiteX109" fmla="*/ 320215 w 613519"/>
              <a:gd name="connsiteY109" fmla="*/ 87244 h 110081"/>
              <a:gd name="connsiteX110" fmla="*/ 323352 w 613519"/>
              <a:gd name="connsiteY110" fmla="*/ 73803 h 110081"/>
              <a:gd name="connsiteX111" fmla="*/ 320364 w 613519"/>
              <a:gd name="connsiteY111" fmla="*/ 60174 h 110081"/>
              <a:gd name="connsiteX112" fmla="*/ 312745 w 613519"/>
              <a:gd name="connsiteY112" fmla="*/ 51961 h 110081"/>
              <a:gd name="connsiteX113" fmla="*/ 303034 w 613519"/>
              <a:gd name="connsiteY113" fmla="*/ 49160 h 110081"/>
              <a:gd name="connsiteX114" fmla="*/ 286451 w 613519"/>
              <a:gd name="connsiteY114" fmla="*/ 55570 h 110081"/>
              <a:gd name="connsiteX115" fmla="*/ 279878 w 613519"/>
              <a:gd name="connsiteY115" fmla="*/ 74114 h 110081"/>
              <a:gd name="connsiteX116" fmla="*/ 285704 w 613519"/>
              <a:gd name="connsiteY116" fmla="*/ 91538 h 110081"/>
              <a:gd name="connsiteX117" fmla="*/ 301540 w 613519"/>
              <a:gd name="connsiteY117" fmla="*/ 98134 h 110081"/>
              <a:gd name="connsiteX118" fmla="*/ 354246 w 613519"/>
              <a:gd name="connsiteY118" fmla="*/ 1493 h 110081"/>
              <a:gd name="connsiteX119" fmla="*/ 420579 w 613519"/>
              <a:gd name="connsiteY119" fmla="*/ 1493 h 110081"/>
              <a:gd name="connsiteX120" fmla="*/ 420579 w 613519"/>
              <a:gd name="connsiteY120" fmla="*/ 14374 h 110081"/>
              <a:gd name="connsiteX121" fmla="*/ 368290 w 613519"/>
              <a:gd name="connsiteY121" fmla="*/ 14374 h 110081"/>
              <a:gd name="connsiteX122" fmla="*/ 368290 w 613519"/>
              <a:gd name="connsiteY122" fmla="*/ 46734 h 110081"/>
              <a:gd name="connsiteX123" fmla="*/ 412661 w 613519"/>
              <a:gd name="connsiteY123" fmla="*/ 46734 h 110081"/>
              <a:gd name="connsiteX124" fmla="*/ 412661 w 613519"/>
              <a:gd name="connsiteY124" fmla="*/ 59428 h 110081"/>
              <a:gd name="connsiteX125" fmla="*/ 368290 w 613519"/>
              <a:gd name="connsiteY125" fmla="*/ 59428 h 110081"/>
              <a:gd name="connsiteX126" fmla="*/ 368290 w 613519"/>
              <a:gd name="connsiteY126" fmla="*/ 95893 h 110081"/>
              <a:gd name="connsiteX127" fmla="*/ 421326 w 613519"/>
              <a:gd name="connsiteY127" fmla="*/ 95893 h 110081"/>
              <a:gd name="connsiteX128" fmla="*/ 421326 w 613519"/>
              <a:gd name="connsiteY128" fmla="*/ 108588 h 110081"/>
              <a:gd name="connsiteX129" fmla="*/ 354246 w 613519"/>
              <a:gd name="connsiteY129" fmla="*/ 108588 h 110081"/>
              <a:gd name="connsiteX130" fmla="*/ 354246 w 613519"/>
              <a:gd name="connsiteY130" fmla="*/ 1493 h 110081"/>
              <a:gd name="connsiteX131" fmla="*/ 467440 w 613519"/>
              <a:gd name="connsiteY131" fmla="*/ 110082 h 110081"/>
              <a:gd name="connsiteX132" fmla="*/ 438905 w 613519"/>
              <a:gd name="connsiteY132" fmla="*/ 102490 h 110081"/>
              <a:gd name="connsiteX133" fmla="*/ 438905 w 613519"/>
              <a:gd name="connsiteY133" fmla="*/ 87804 h 110081"/>
              <a:gd name="connsiteX134" fmla="*/ 452052 w 613519"/>
              <a:gd name="connsiteY134" fmla="*/ 95458 h 110081"/>
              <a:gd name="connsiteX135" fmla="*/ 467440 w 613519"/>
              <a:gd name="connsiteY135" fmla="*/ 97823 h 110081"/>
              <a:gd name="connsiteX136" fmla="*/ 484471 w 613519"/>
              <a:gd name="connsiteY136" fmla="*/ 91102 h 110081"/>
              <a:gd name="connsiteX137" fmla="*/ 490596 w 613519"/>
              <a:gd name="connsiteY137" fmla="*/ 73491 h 110081"/>
              <a:gd name="connsiteX138" fmla="*/ 484620 w 613519"/>
              <a:gd name="connsiteY138" fmla="*/ 56441 h 110081"/>
              <a:gd name="connsiteX139" fmla="*/ 469531 w 613519"/>
              <a:gd name="connsiteY139" fmla="*/ 51089 h 110081"/>
              <a:gd name="connsiteX140" fmla="*/ 458924 w 613519"/>
              <a:gd name="connsiteY140" fmla="*/ 53329 h 110081"/>
              <a:gd name="connsiteX141" fmla="*/ 452799 w 613519"/>
              <a:gd name="connsiteY141" fmla="*/ 57810 h 110081"/>
              <a:gd name="connsiteX142" fmla="*/ 441893 w 613519"/>
              <a:gd name="connsiteY142" fmla="*/ 57810 h 110081"/>
              <a:gd name="connsiteX143" fmla="*/ 441893 w 613519"/>
              <a:gd name="connsiteY143" fmla="*/ 1493 h 110081"/>
              <a:gd name="connsiteX144" fmla="*/ 499859 w 613519"/>
              <a:gd name="connsiteY144" fmla="*/ 1493 h 110081"/>
              <a:gd name="connsiteX145" fmla="*/ 499859 w 613519"/>
              <a:gd name="connsiteY145" fmla="*/ 14374 h 110081"/>
              <a:gd name="connsiteX146" fmla="*/ 454143 w 613519"/>
              <a:gd name="connsiteY146" fmla="*/ 14374 h 110081"/>
              <a:gd name="connsiteX147" fmla="*/ 454143 w 613519"/>
              <a:gd name="connsiteY147" fmla="*/ 44991 h 110081"/>
              <a:gd name="connsiteX148" fmla="*/ 461464 w 613519"/>
              <a:gd name="connsiteY148" fmla="*/ 41071 h 110081"/>
              <a:gd name="connsiteX149" fmla="*/ 471772 w 613519"/>
              <a:gd name="connsiteY149" fmla="*/ 39266 h 110081"/>
              <a:gd name="connsiteX150" fmla="*/ 488505 w 613519"/>
              <a:gd name="connsiteY150" fmla="*/ 43186 h 110081"/>
              <a:gd name="connsiteX151" fmla="*/ 500307 w 613519"/>
              <a:gd name="connsiteY151" fmla="*/ 54512 h 110081"/>
              <a:gd name="connsiteX152" fmla="*/ 504789 w 613519"/>
              <a:gd name="connsiteY152" fmla="*/ 73181 h 110081"/>
              <a:gd name="connsiteX153" fmla="*/ 500158 w 613519"/>
              <a:gd name="connsiteY153" fmla="*/ 92596 h 110081"/>
              <a:gd name="connsiteX154" fmla="*/ 487310 w 613519"/>
              <a:gd name="connsiteY154" fmla="*/ 105601 h 110081"/>
              <a:gd name="connsiteX155" fmla="*/ 467440 w 613519"/>
              <a:gd name="connsiteY155" fmla="*/ 110082 h 110081"/>
              <a:gd name="connsiteX156" fmla="*/ 613519 w 613519"/>
              <a:gd name="connsiteY156" fmla="*/ 108588 h 110081"/>
              <a:gd name="connsiteX157" fmla="*/ 598580 w 613519"/>
              <a:gd name="connsiteY157" fmla="*/ 108588 h 110081"/>
              <a:gd name="connsiteX158" fmla="*/ 587524 w 613519"/>
              <a:gd name="connsiteY158" fmla="*/ 77972 h 110081"/>
              <a:gd name="connsiteX159" fmla="*/ 540165 w 613519"/>
              <a:gd name="connsiteY159" fmla="*/ 77972 h 110081"/>
              <a:gd name="connsiteX160" fmla="*/ 529259 w 613519"/>
              <a:gd name="connsiteY160" fmla="*/ 108588 h 110081"/>
              <a:gd name="connsiteX161" fmla="*/ 516112 w 613519"/>
              <a:gd name="connsiteY161" fmla="*/ 108588 h 110081"/>
              <a:gd name="connsiteX162" fmla="*/ 554209 w 613519"/>
              <a:gd name="connsiteY162" fmla="*/ 1493 h 110081"/>
              <a:gd name="connsiteX163" fmla="*/ 575124 w 613519"/>
              <a:gd name="connsiteY163" fmla="*/ 1493 h 110081"/>
              <a:gd name="connsiteX164" fmla="*/ 613519 w 613519"/>
              <a:gd name="connsiteY164" fmla="*/ 108588 h 110081"/>
              <a:gd name="connsiteX165" fmla="*/ 544797 w 613519"/>
              <a:gd name="connsiteY165" fmla="*/ 65278 h 110081"/>
              <a:gd name="connsiteX166" fmla="*/ 583042 w 613519"/>
              <a:gd name="connsiteY166" fmla="*/ 65278 h 110081"/>
              <a:gd name="connsiteX167" fmla="*/ 563919 w 613519"/>
              <a:gd name="connsiteY167" fmla="*/ 11947 h 110081"/>
              <a:gd name="connsiteX168" fmla="*/ 544797 w 613519"/>
              <a:gd name="connsiteY168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61351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337545" y="73491"/>
                </a:moveTo>
                <a:cubicBezTo>
                  <a:pt x="337545" y="80772"/>
                  <a:pt x="335951" y="87182"/>
                  <a:pt x="332764" y="92782"/>
                </a:cubicBezTo>
                <a:cubicBezTo>
                  <a:pt x="329677" y="98258"/>
                  <a:pt x="325444" y="102490"/>
                  <a:pt x="320065" y="105601"/>
                </a:cubicBezTo>
                <a:cubicBezTo>
                  <a:pt x="314687" y="108588"/>
                  <a:pt x="308661" y="110082"/>
                  <a:pt x="301988" y="110082"/>
                </a:cubicBezTo>
                <a:cubicBezTo>
                  <a:pt x="293024" y="110082"/>
                  <a:pt x="285804" y="108091"/>
                  <a:pt x="280326" y="104108"/>
                </a:cubicBezTo>
                <a:cubicBezTo>
                  <a:pt x="274848" y="100125"/>
                  <a:pt x="270814" y="94587"/>
                  <a:pt x="268224" y="87555"/>
                </a:cubicBezTo>
                <a:cubicBezTo>
                  <a:pt x="265735" y="80461"/>
                  <a:pt x="264490" y="72372"/>
                  <a:pt x="264490" y="63161"/>
                </a:cubicBezTo>
                <a:cubicBezTo>
                  <a:pt x="264490" y="50653"/>
                  <a:pt x="265984" y="39639"/>
                  <a:pt x="268972" y="30181"/>
                </a:cubicBezTo>
                <a:cubicBezTo>
                  <a:pt x="272059" y="20722"/>
                  <a:pt x="276740" y="13379"/>
                  <a:pt x="283015" y="8089"/>
                </a:cubicBezTo>
                <a:cubicBezTo>
                  <a:pt x="289389" y="2675"/>
                  <a:pt x="297556" y="0"/>
                  <a:pt x="307516" y="0"/>
                </a:cubicBezTo>
                <a:cubicBezTo>
                  <a:pt x="316082" y="0"/>
                  <a:pt x="323601" y="1866"/>
                  <a:pt x="330075" y="5538"/>
                </a:cubicBezTo>
                <a:lnTo>
                  <a:pt x="330075" y="18855"/>
                </a:lnTo>
                <a:cubicBezTo>
                  <a:pt x="323601" y="14437"/>
                  <a:pt x="316082" y="12259"/>
                  <a:pt x="307516" y="12259"/>
                </a:cubicBezTo>
                <a:cubicBezTo>
                  <a:pt x="301341" y="12259"/>
                  <a:pt x="296162" y="13939"/>
                  <a:pt x="291979" y="17361"/>
                </a:cubicBezTo>
                <a:cubicBezTo>
                  <a:pt x="287796" y="20722"/>
                  <a:pt x="284509" y="25327"/>
                  <a:pt x="282119" y="31238"/>
                </a:cubicBezTo>
                <a:cubicBezTo>
                  <a:pt x="279828" y="37026"/>
                  <a:pt x="278433" y="43498"/>
                  <a:pt x="277935" y="50778"/>
                </a:cubicBezTo>
                <a:cubicBezTo>
                  <a:pt x="281222" y="46298"/>
                  <a:pt x="285007" y="42999"/>
                  <a:pt x="289290" y="40759"/>
                </a:cubicBezTo>
                <a:cubicBezTo>
                  <a:pt x="293572" y="38581"/>
                  <a:pt x="298253" y="37523"/>
                  <a:pt x="303333" y="37523"/>
                </a:cubicBezTo>
                <a:cubicBezTo>
                  <a:pt x="309807" y="37523"/>
                  <a:pt x="315583" y="38893"/>
                  <a:pt x="320663" y="41693"/>
                </a:cubicBezTo>
                <a:cubicBezTo>
                  <a:pt x="325842" y="44493"/>
                  <a:pt x="329926" y="48538"/>
                  <a:pt x="332914" y="53952"/>
                </a:cubicBezTo>
                <a:cubicBezTo>
                  <a:pt x="336001" y="59179"/>
                  <a:pt x="337545" y="65713"/>
                  <a:pt x="337545" y="73491"/>
                </a:cubicBezTo>
                <a:close/>
                <a:moveTo>
                  <a:pt x="301540" y="98134"/>
                </a:moveTo>
                <a:cubicBezTo>
                  <a:pt x="305424" y="98134"/>
                  <a:pt x="309010" y="97263"/>
                  <a:pt x="312297" y="95458"/>
                </a:cubicBezTo>
                <a:cubicBezTo>
                  <a:pt x="315583" y="93529"/>
                  <a:pt x="318223" y="90791"/>
                  <a:pt x="320215" y="87244"/>
                </a:cubicBezTo>
                <a:cubicBezTo>
                  <a:pt x="322306" y="83635"/>
                  <a:pt x="323352" y="79154"/>
                  <a:pt x="323352" y="73803"/>
                </a:cubicBezTo>
                <a:cubicBezTo>
                  <a:pt x="323352" y="68389"/>
                  <a:pt x="322356" y="63908"/>
                  <a:pt x="320364" y="60174"/>
                </a:cubicBezTo>
                <a:cubicBezTo>
                  <a:pt x="318372" y="56503"/>
                  <a:pt x="315832" y="53765"/>
                  <a:pt x="312745" y="51961"/>
                </a:cubicBezTo>
                <a:cubicBezTo>
                  <a:pt x="309657" y="50093"/>
                  <a:pt x="306420" y="49160"/>
                  <a:pt x="303034" y="49160"/>
                </a:cubicBezTo>
                <a:cubicBezTo>
                  <a:pt x="296461" y="49160"/>
                  <a:pt x="290933" y="51276"/>
                  <a:pt x="286451" y="55570"/>
                </a:cubicBezTo>
                <a:cubicBezTo>
                  <a:pt x="282069" y="59739"/>
                  <a:pt x="279878" y="65900"/>
                  <a:pt x="279878" y="74114"/>
                </a:cubicBezTo>
                <a:cubicBezTo>
                  <a:pt x="279878" y="81270"/>
                  <a:pt x="281820" y="87058"/>
                  <a:pt x="285704" y="91538"/>
                </a:cubicBezTo>
                <a:cubicBezTo>
                  <a:pt x="289588" y="95956"/>
                  <a:pt x="294867" y="98134"/>
                  <a:pt x="301540" y="98134"/>
                </a:cubicBezTo>
                <a:close/>
                <a:moveTo>
                  <a:pt x="354246" y="1493"/>
                </a:moveTo>
                <a:lnTo>
                  <a:pt x="420579" y="1493"/>
                </a:lnTo>
                <a:lnTo>
                  <a:pt x="420579" y="14374"/>
                </a:lnTo>
                <a:lnTo>
                  <a:pt x="368290" y="14374"/>
                </a:lnTo>
                <a:lnTo>
                  <a:pt x="368290" y="46734"/>
                </a:lnTo>
                <a:lnTo>
                  <a:pt x="412661" y="46734"/>
                </a:lnTo>
                <a:lnTo>
                  <a:pt x="412661" y="59428"/>
                </a:lnTo>
                <a:lnTo>
                  <a:pt x="368290" y="59428"/>
                </a:lnTo>
                <a:lnTo>
                  <a:pt x="368290" y="95893"/>
                </a:lnTo>
                <a:lnTo>
                  <a:pt x="421326" y="95893"/>
                </a:lnTo>
                <a:lnTo>
                  <a:pt x="421326" y="108588"/>
                </a:lnTo>
                <a:lnTo>
                  <a:pt x="354246" y="108588"/>
                </a:lnTo>
                <a:lnTo>
                  <a:pt x="354246" y="1493"/>
                </a:lnTo>
                <a:close/>
                <a:moveTo>
                  <a:pt x="467440" y="110082"/>
                </a:moveTo>
                <a:cubicBezTo>
                  <a:pt x="455488" y="110082"/>
                  <a:pt x="445976" y="107530"/>
                  <a:pt x="438905" y="102490"/>
                </a:cubicBezTo>
                <a:lnTo>
                  <a:pt x="438905" y="87804"/>
                </a:lnTo>
                <a:cubicBezTo>
                  <a:pt x="443088" y="91226"/>
                  <a:pt x="447470" y="93778"/>
                  <a:pt x="452052" y="95458"/>
                </a:cubicBezTo>
                <a:cubicBezTo>
                  <a:pt x="456633" y="97014"/>
                  <a:pt x="461763" y="97823"/>
                  <a:pt x="467440" y="97823"/>
                </a:cubicBezTo>
                <a:cubicBezTo>
                  <a:pt x="474810" y="97823"/>
                  <a:pt x="480487" y="95583"/>
                  <a:pt x="484471" y="91102"/>
                </a:cubicBezTo>
                <a:cubicBezTo>
                  <a:pt x="488555" y="86621"/>
                  <a:pt x="490596" y="80772"/>
                  <a:pt x="490596" y="73491"/>
                </a:cubicBezTo>
                <a:cubicBezTo>
                  <a:pt x="490596" y="65713"/>
                  <a:pt x="488604" y="60050"/>
                  <a:pt x="484620" y="56441"/>
                </a:cubicBezTo>
                <a:cubicBezTo>
                  <a:pt x="480637" y="52894"/>
                  <a:pt x="475607" y="51089"/>
                  <a:pt x="469531" y="51089"/>
                </a:cubicBezTo>
                <a:cubicBezTo>
                  <a:pt x="465149" y="51089"/>
                  <a:pt x="461613" y="51836"/>
                  <a:pt x="458924" y="53329"/>
                </a:cubicBezTo>
                <a:cubicBezTo>
                  <a:pt x="456235" y="54698"/>
                  <a:pt x="454193" y="56192"/>
                  <a:pt x="452799" y="57810"/>
                </a:cubicBezTo>
                <a:lnTo>
                  <a:pt x="441893" y="57810"/>
                </a:lnTo>
                <a:lnTo>
                  <a:pt x="441893" y="1493"/>
                </a:lnTo>
                <a:lnTo>
                  <a:pt x="499859" y="1493"/>
                </a:lnTo>
                <a:lnTo>
                  <a:pt x="499859" y="14374"/>
                </a:lnTo>
                <a:lnTo>
                  <a:pt x="454143" y="14374"/>
                </a:lnTo>
                <a:lnTo>
                  <a:pt x="454143" y="44991"/>
                </a:lnTo>
                <a:cubicBezTo>
                  <a:pt x="456135" y="43498"/>
                  <a:pt x="458576" y="42190"/>
                  <a:pt x="461464" y="41071"/>
                </a:cubicBezTo>
                <a:cubicBezTo>
                  <a:pt x="464352" y="39888"/>
                  <a:pt x="467788" y="39266"/>
                  <a:pt x="471772" y="39266"/>
                </a:cubicBezTo>
                <a:cubicBezTo>
                  <a:pt x="477947" y="39266"/>
                  <a:pt x="483525" y="40572"/>
                  <a:pt x="488505" y="43186"/>
                </a:cubicBezTo>
                <a:cubicBezTo>
                  <a:pt x="493485" y="45675"/>
                  <a:pt x="497419" y="49471"/>
                  <a:pt x="500307" y="54512"/>
                </a:cubicBezTo>
                <a:cubicBezTo>
                  <a:pt x="503295" y="59490"/>
                  <a:pt x="504789" y="65713"/>
                  <a:pt x="504789" y="73181"/>
                </a:cubicBezTo>
                <a:cubicBezTo>
                  <a:pt x="504789" y="80586"/>
                  <a:pt x="503245" y="87058"/>
                  <a:pt x="500158" y="92596"/>
                </a:cubicBezTo>
                <a:cubicBezTo>
                  <a:pt x="497170" y="98196"/>
                  <a:pt x="492887" y="102490"/>
                  <a:pt x="487310" y="105601"/>
                </a:cubicBezTo>
                <a:cubicBezTo>
                  <a:pt x="481732" y="108588"/>
                  <a:pt x="475109" y="110082"/>
                  <a:pt x="467440" y="110082"/>
                </a:cubicBezTo>
                <a:close/>
                <a:moveTo>
                  <a:pt x="613519" y="108588"/>
                </a:moveTo>
                <a:lnTo>
                  <a:pt x="598580" y="108588"/>
                </a:lnTo>
                <a:lnTo>
                  <a:pt x="587524" y="77972"/>
                </a:lnTo>
                <a:lnTo>
                  <a:pt x="540165" y="77972"/>
                </a:lnTo>
                <a:lnTo>
                  <a:pt x="529259" y="108588"/>
                </a:lnTo>
                <a:lnTo>
                  <a:pt x="516112" y="108588"/>
                </a:lnTo>
                <a:lnTo>
                  <a:pt x="554209" y="1493"/>
                </a:lnTo>
                <a:lnTo>
                  <a:pt x="575124" y="1493"/>
                </a:lnTo>
                <a:lnTo>
                  <a:pt x="613519" y="108588"/>
                </a:lnTo>
                <a:close/>
                <a:moveTo>
                  <a:pt x="544797" y="65278"/>
                </a:moveTo>
                <a:lnTo>
                  <a:pt x="583042" y="65278"/>
                </a:lnTo>
                <a:lnTo>
                  <a:pt x="563919" y="11947"/>
                </a:lnTo>
                <a:lnTo>
                  <a:pt x="544797" y="6527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5" name="Полилиния 984">
            <a:extLst>
              <a:ext uri="{FF2B5EF4-FFF2-40B4-BE49-F238E27FC236}">
                <a16:creationId xmlns:a16="http://schemas.microsoft.com/office/drawing/2014/main" id="{3A2529EE-B5AB-BAA2-24A0-8090BEF279E2}"/>
              </a:ext>
            </a:extLst>
          </p:cNvPr>
          <p:cNvSpPr/>
          <p:nvPr userDrawn="1"/>
        </p:nvSpPr>
        <p:spPr>
          <a:xfrm>
            <a:off x="13814863" y="5240073"/>
            <a:ext cx="1398954" cy="726227"/>
          </a:xfrm>
          <a:custGeom>
            <a:avLst/>
            <a:gdLst>
              <a:gd name="connsiteX0" fmla="*/ 213 w 1198727"/>
              <a:gd name="connsiteY0" fmla="*/ 1222 h 622284"/>
              <a:gd name="connsiteX1" fmla="*/ 1198941 w 1198727"/>
              <a:gd name="connsiteY1" fmla="*/ 1222 h 622284"/>
              <a:gd name="connsiteX2" fmla="*/ 1198941 w 1198727"/>
              <a:gd name="connsiteY2" fmla="*/ 623506 h 622284"/>
              <a:gd name="connsiteX3" fmla="*/ 213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222"/>
                </a:moveTo>
                <a:lnTo>
                  <a:pt x="1198941" y="1222"/>
                </a:lnTo>
                <a:lnTo>
                  <a:pt x="1198941" y="623506"/>
                </a:lnTo>
                <a:lnTo>
                  <a:pt x="213" y="623506"/>
                </a:lnTo>
                <a:close/>
              </a:path>
            </a:pathLst>
          </a:custGeom>
          <a:solidFill>
            <a:srgbClr val="00967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6" name="Полилиния 985">
            <a:extLst>
              <a:ext uri="{FF2B5EF4-FFF2-40B4-BE49-F238E27FC236}">
                <a16:creationId xmlns:a16="http://schemas.microsoft.com/office/drawing/2014/main" id="{C37D36E2-254B-D74D-C621-A2723BBE223E}"/>
              </a:ext>
            </a:extLst>
          </p:cNvPr>
          <p:cNvSpPr/>
          <p:nvPr userDrawn="1"/>
        </p:nvSpPr>
        <p:spPr>
          <a:xfrm>
            <a:off x="13938073" y="5541820"/>
            <a:ext cx="706437" cy="128468"/>
          </a:xfrm>
          <a:custGeom>
            <a:avLst/>
            <a:gdLst>
              <a:gd name="connsiteX0" fmla="*/ 22111 w 605327"/>
              <a:gd name="connsiteY0" fmla="*/ 108588 h 110081"/>
              <a:gd name="connsiteX1" fmla="*/ 10159 w 605327"/>
              <a:gd name="connsiteY1" fmla="*/ 108588 h 110081"/>
              <a:gd name="connsiteX2" fmla="*/ 16434 w 605327"/>
              <a:gd name="connsiteY2" fmla="*/ 77661 h 110081"/>
              <a:gd name="connsiteX3" fmla="*/ 0 w 605327"/>
              <a:gd name="connsiteY3" fmla="*/ 77661 h 110081"/>
              <a:gd name="connsiteX4" fmla="*/ 0 w 605327"/>
              <a:gd name="connsiteY4" fmla="*/ 67206 h 110081"/>
              <a:gd name="connsiteX5" fmla="*/ 18675 w 605327"/>
              <a:gd name="connsiteY5" fmla="*/ 67206 h 110081"/>
              <a:gd name="connsiteX6" fmla="*/ 24202 w 605327"/>
              <a:gd name="connsiteY6" fmla="*/ 40012 h 110081"/>
              <a:gd name="connsiteX7" fmla="*/ 4034 w 605327"/>
              <a:gd name="connsiteY7" fmla="*/ 40012 h 110081"/>
              <a:gd name="connsiteX8" fmla="*/ 4034 w 605327"/>
              <a:gd name="connsiteY8" fmla="*/ 29559 h 110081"/>
              <a:gd name="connsiteX9" fmla="*/ 26294 w 605327"/>
              <a:gd name="connsiteY9" fmla="*/ 29559 h 110081"/>
              <a:gd name="connsiteX10" fmla="*/ 32120 w 605327"/>
              <a:gd name="connsiteY10" fmla="*/ 1493 h 110081"/>
              <a:gd name="connsiteX11" fmla="*/ 44072 w 605327"/>
              <a:gd name="connsiteY11" fmla="*/ 1493 h 110081"/>
              <a:gd name="connsiteX12" fmla="*/ 38246 w 605327"/>
              <a:gd name="connsiteY12" fmla="*/ 29559 h 110081"/>
              <a:gd name="connsiteX13" fmla="*/ 60655 w 605327"/>
              <a:gd name="connsiteY13" fmla="*/ 29559 h 110081"/>
              <a:gd name="connsiteX14" fmla="*/ 66482 w 605327"/>
              <a:gd name="connsiteY14" fmla="*/ 1493 h 110081"/>
              <a:gd name="connsiteX15" fmla="*/ 78434 w 605327"/>
              <a:gd name="connsiteY15" fmla="*/ 1493 h 110081"/>
              <a:gd name="connsiteX16" fmla="*/ 72607 w 605327"/>
              <a:gd name="connsiteY16" fmla="*/ 29559 h 110081"/>
              <a:gd name="connsiteX17" fmla="*/ 89340 w 605327"/>
              <a:gd name="connsiteY17" fmla="*/ 29559 h 110081"/>
              <a:gd name="connsiteX18" fmla="*/ 89340 w 605327"/>
              <a:gd name="connsiteY18" fmla="*/ 40012 h 110081"/>
              <a:gd name="connsiteX19" fmla="*/ 70516 w 605327"/>
              <a:gd name="connsiteY19" fmla="*/ 40012 h 110081"/>
              <a:gd name="connsiteX20" fmla="*/ 64988 w 605327"/>
              <a:gd name="connsiteY20" fmla="*/ 67206 h 110081"/>
              <a:gd name="connsiteX21" fmla="*/ 85306 w 605327"/>
              <a:gd name="connsiteY21" fmla="*/ 67206 h 110081"/>
              <a:gd name="connsiteX22" fmla="*/ 85306 w 605327"/>
              <a:gd name="connsiteY22" fmla="*/ 77661 h 110081"/>
              <a:gd name="connsiteX23" fmla="*/ 62747 w 605327"/>
              <a:gd name="connsiteY23" fmla="*/ 77661 h 110081"/>
              <a:gd name="connsiteX24" fmla="*/ 56472 w 605327"/>
              <a:gd name="connsiteY24" fmla="*/ 108588 h 110081"/>
              <a:gd name="connsiteX25" fmla="*/ 44520 w 605327"/>
              <a:gd name="connsiteY25" fmla="*/ 108588 h 110081"/>
              <a:gd name="connsiteX26" fmla="*/ 50795 w 605327"/>
              <a:gd name="connsiteY26" fmla="*/ 77661 h 110081"/>
              <a:gd name="connsiteX27" fmla="*/ 28386 w 605327"/>
              <a:gd name="connsiteY27" fmla="*/ 77661 h 110081"/>
              <a:gd name="connsiteX28" fmla="*/ 22111 w 605327"/>
              <a:gd name="connsiteY28" fmla="*/ 108588 h 110081"/>
              <a:gd name="connsiteX29" fmla="*/ 30626 w 605327"/>
              <a:gd name="connsiteY29" fmla="*/ 67206 h 110081"/>
              <a:gd name="connsiteX30" fmla="*/ 53036 w 605327"/>
              <a:gd name="connsiteY30" fmla="*/ 67206 h 110081"/>
              <a:gd name="connsiteX31" fmla="*/ 58564 w 605327"/>
              <a:gd name="connsiteY31" fmla="*/ 40012 h 110081"/>
              <a:gd name="connsiteX32" fmla="*/ 36154 w 605327"/>
              <a:gd name="connsiteY32" fmla="*/ 40012 h 110081"/>
              <a:gd name="connsiteX33" fmla="*/ 30626 w 605327"/>
              <a:gd name="connsiteY33" fmla="*/ 67206 h 110081"/>
              <a:gd name="connsiteX34" fmla="*/ 136661 w 605327"/>
              <a:gd name="connsiteY34" fmla="*/ 110082 h 110081"/>
              <a:gd name="connsiteX35" fmla="*/ 118435 w 605327"/>
              <a:gd name="connsiteY35" fmla="*/ 104233 h 110081"/>
              <a:gd name="connsiteX36" fmla="*/ 105736 w 605327"/>
              <a:gd name="connsiteY36" fmla="*/ 86311 h 110081"/>
              <a:gd name="connsiteX37" fmla="*/ 101254 w 605327"/>
              <a:gd name="connsiteY37" fmla="*/ 54947 h 110081"/>
              <a:gd name="connsiteX38" fmla="*/ 105736 w 605327"/>
              <a:gd name="connsiteY38" fmla="*/ 23584 h 110081"/>
              <a:gd name="connsiteX39" fmla="*/ 118435 w 605327"/>
              <a:gd name="connsiteY39" fmla="*/ 5849 h 110081"/>
              <a:gd name="connsiteX40" fmla="*/ 136661 w 605327"/>
              <a:gd name="connsiteY40" fmla="*/ 186 h 110081"/>
              <a:gd name="connsiteX41" fmla="*/ 154738 w 605327"/>
              <a:gd name="connsiteY41" fmla="*/ 5849 h 110081"/>
              <a:gd name="connsiteX42" fmla="*/ 167138 w 605327"/>
              <a:gd name="connsiteY42" fmla="*/ 23584 h 110081"/>
              <a:gd name="connsiteX43" fmla="*/ 171620 w 605327"/>
              <a:gd name="connsiteY43" fmla="*/ 54698 h 110081"/>
              <a:gd name="connsiteX44" fmla="*/ 167138 w 605327"/>
              <a:gd name="connsiteY44" fmla="*/ 86062 h 110081"/>
              <a:gd name="connsiteX45" fmla="*/ 154738 w 605327"/>
              <a:gd name="connsiteY45" fmla="*/ 104233 h 110081"/>
              <a:gd name="connsiteX46" fmla="*/ 136661 w 605327"/>
              <a:gd name="connsiteY46" fmla="*/ 110082 h 110081"/>
              <a:gd name="connsiteX47" fmla="*/ 136512 w 605327"/>
              <a:gd name="connsiteY47" fmla="*/ 98258 h 110081"/>
              <a:gd name="connsiteX48" fmla="*/ 147866 w 605327"/>
              <a:gd name="connsiteY48" fmla="*/ 94275 h 110081"/>
              <a:gd name="connsiteX49" fmla="*/ 155037 w 605327"/>
              <a:gd name="connsiteY49" fmla="*/ 80648 h 110081"/>
              <a:gd name="connsiteX50" fmla="*/ 157577 w 605327"/>
              <a:gd name="connsiteY50" fmla="*/ 55134 h 110081"/>
              <a:gd name="connsiteX51" fmla="*/ 155187 w 605327"/>
              <a:gd name="connsiteY51" fmla="*/ 29745 h 110081"/>
              <a:gd name="connsiteX52" fmla="*/ 148016 w 605327"/>
              <a:gd name="connsiteY52" fmla="*/ 16117 h 110081"/>
              <a:gd name="connsiteX53" fmla="*/ 136661 w 605327"/>
              <a:gd name="connsiteY53" fmla="*/ 11947 h 110081"/>
              <a:gd name="connsiteX54" fmla="*/ 125158 w 605327"/>
              <a:gd name="connsiteY54" fmla="*/ 16117 h 110081"/>
              <a:gd name="connsiteX55" fmla="*/ 117837 w 605327"/>
              <a:gd name="connsiteY55" fmla="*/ 29745 h 110081"/>
              <a:gd name="connsiteX56" fmla="*/ 115298 w 605327"/>
              <a:gd name="connsiteY56" fmla="*/ 55134 h 110081"/>
              <a:gd name="connsiteX57" fmla="*/ 117688 w 605327"/>
              <a:gd name="connsiteY57" fmla="*/ 80648 h 110081"/>
              <a:gd name="connsiteX58" fmla="*/ 125008 w 605327"/>
              <a:gd name="connsiteY58" fmla="*/ 94275 h 110081"/>
              <a:gd name="connsiteX59" fmla="*/ 136512 w 605327"/>
              <a:gd name="connsiteY59" fmla="*/ 98258 h 110081"/>
              <a:gd name="connsiteX60" fmla="*/ 218799 w 605327"/>
              <a:gd name="connsiteY60" fmla="*/ 110082 h 110081"/>
              <a:gd name="connsiteX61" fmla="*/ 200572 w 605327"/>
              <a:gd name="connsiteY61" fmla="*/ 104233 h 110081"/>
              <a:gd name="connsiteX62" fmla="*/ 187874 w 605327"/>
              <a:gd name="connsiteY62" fmla="*/ 86311 h 110081"/>
              <a:gd name="connsiteX63" fmla="*/ 183392 w 605327"/>
              <a:gd name="connsiteY63" fmla="*/ 54947 h 110081"/>
              <a:gd name="connsiteX64" fmla="*/ 187874 w 605327"/>
              <a:gd name="connsiteY64" fmla="*/ 23584 h 110081"/>
              <a:gd name="connsiteX65" fmla="*/ 200572 w 605327"/>
              <a:gd name="connsiteY65" fmla="*/ 5849 h 110081"/>
              <a:gd name="connsiteX66" fmla="*/ 218799 w 605327"/>
              <a:gd name="connsiteY66" fmla="*/ 186 h 110081"/>
              <a:gd name="connsiteX67" fmla="*/ 236876 w 605327"/>
              <a:gd name="connsiteY67" fmla="*/ 5849 h 110081"/>
              <a:gd name="connsiteX68" fmla="*/ 249276 w 605327"/>
              <a:gd name="connsiteY68" fmla="*/ 23584 h 110081"/>
              <a:gd name="connsiteX69" fmla="*/ 253758 w 605327"/>
              <a:gd name="connsiteY69" fmla="*/ 54698 h 110081"/>
              <a:gd name="connsiteX70" fmla="*/ 249276 w 605327"/>
              <a:gd name="connsiteY70" fmla="*/ 86062 h 110081"/>
              <a:gd name="connsiteX71" fmla="*/ 236876 w 605327"/>
              <a:gd name="connsiteY71" fmla="*/ 104233 h 110081"/>
              <a:gd name="connsiteX72" fmla="*/ 218799 w 605327"/>
              <a:gd name="connsiteY72" fmla="*/ 110082 h 110081"/>
              <a:gd name="connsiteX73" fmla="*/ 218649 w 605327"/>
              <a:gd name="connsiteY73" fmla="*/ 98258 h 110081"/>
              <a:gd name="connsiteX74" fmla="*/ 230004 w 605327"/>
              <a:gd name="connsiteY74" fmla="*/ 94275 h 110081"/>
              <a:gd name="connsiteX75" fmla="*/ 237175 w 605327"/>
              <a:gd name="connsiteY75" fmla="*/ 80648 h 110081"/>
              <a:gd name="connsiteX76" fmla="*/ 239714 w 605327"/>
              <a:gd name="connsiteY76" fmla="*/ 55134 h 110081"/>
              <a:gd name="connsiteX77" fmla="*/ 237324 w 605327"/>
              <a:gd name="connsiteY77" fmla="*/ 29745 h 110081"/>
              <a:gd name="connsiteX78" fmla="*/ 230153 w 605327"/>
              <a:gd name="connsiteY78" fmla="*/ 16117 h 110081"/>
              <a:gd name="connsiteX79" fmla="*/ 218799 w 605327"/>
              <a:gd name="connsiteY79" fmla="*/ 11947 h 110081"/>
              <a:gd name="connsiteX80" fmla="*/ 207295 w 605327"/>
              <a:gd name="connsiteY80" fmla="*/ 16117 h 110081"/>
              <a:gd name="connsiteX81" fmla="*/ 199975 w 605327"/>
              <a:gd name="connsiteY81" fmla="*/ 29745 h 110081"/>
              <a:gd name="connsiteX82" fmla="*/ 197435 w 605327"/>
              <a:gd name="connsiteY82" fmla="*/ 55134 h 110081"/>
              <a:gd name="connsiteX83" fmla="*/ 199825 w 605327"/>
              <a:gd name="connsiteY83" fmla="*/ 80648 h 110081"/>
              <a:gd name="connsiteX84" fmla="*/ 207146 w 605327"/>
              <a:gd name="connsiteY84" fmla="*/ 94275 h 110081"/>
              <a:gd name="connsiteX85" fmla="*/ 218649 w 605327"/>
              <a:gd name="connsiteY85" fmla="*/ 98258 h 110081"/>
              <a:gd name="connsiteX86" fmla="*/ 264490 w 605327"/>
              <a:gd name="connsiteY86" fmla="*/ 35844 h 110081"/>
              <a:gd name="connsiteX87" fmla="*/ 269121 w 605327"/>
              <a:gd name="connsiteY87" fmla="*/ 17051 h 110081"/>
              <a:gd name="connsiteX88" fmla="*/ 281969 w 605327"/>
              <a:gd name="connsiteY88" fmla="*/ 4480 h 110081"/>
              <a:gd name="connsiteX89" fmla="*/ 300046 w 605327"/>
              <a:gd name="connsiteY89" fmla="*/ 0 h 110081"/>
              <a:gd name="connsiteX90" fmla="*/ 321709 w 605327"/>
              <a:gd name="connsiteY90" fmla="*/ 5849 h 110081"/>
              <a:gd name="connsiteX91" fmla="*/ 333810 w 605327"/>
              <a:gd name="connsiteY91" fmla="*/ 21842 h 110081"/>
              <a:gd name="connsiteX92" fmla="*/ 337545 w 605327"/>
              <a:gd name="connsiteY92" fmla="*/ 45426 h 110081"/>
              <a:gd name="connsiteX93" fmla="*/ 332914 w 605327"/>
              <a:gd name="connsiteY93" fmla="*/ 80088 h 110081"/>
              <a:gd name="connsiteX94" fmla="*/ 318571 w 605327"/>
              <a:gd name="connsiteY94" fmla="*/ 102303 h 110081"/>
              <a:gd name="connsiteX95" fmla="*/ 294070 w 605327"/>
              <a:gd name="connsiteY95" fmla="*/ 110082 h 110081"/>
              <a:gd name="connsiteX96" fmla="*/ 271063 w 605327"/>
              <a:gd name="connsiteY96" fmla="*/ 104543 h 110081"/>
              <a:gd name="connsiteX97" fmla="*/ 271063 w 605327"/>
              <a:gd name="connsiteY97" fmla="*/ 91413 h 110081"/>
              <a:gd name="connsiteX98" fmla="*/ 294070 w 605327"/>
              <a:gd name="connsiteY98" fmla="*/ 98010 h 110081"/>
              <a:gd name="connsiteX99" fmla="*/ 309608 w 605327"/>
              <a:gd name="connsiteY99" fmla="*/ 92907 h 110081"/>
              <a:gd name="connsiteX100" fmla="*/ 319318 w 605327"/>
              <a:gd name="connsiteY100" fmla="*/ 79154 h 110081"/>
              <a:gd name="connsiteX101" fmla="*/ 323651 w 605327"/>
              <a:gd name="connsiteY101" fmla="*/ 59739 h 110081"/>
              <a:gd name="connsiteX102" fmla="*/ 312596 w 605327"/>
              <a:gd name="connsiteY102" fmla="*/ 68389 h 110081"/>
              <a:gd name="connsiteX103" fmla="*/ 298702 w 605327"/>
              <a:gd name="connsiteY103" fmla="*/ 71127 h 110081"/>
              <a:gd name="connsiteX104" fmla="*/ 281371 w 605327"/>
              <a:gd name="connsiteY104" fmla="*/ 67082 h 110081"/>
              <a:gd name="connsiteX105" fmla="*/ 268972 w 605327"/>
              <a:gd name="connsiteY105" fmla="*/ 55134 h 110081"/>
              <a:gd name="connsiteX106" fmla="*/ 264490 w 605327"/>
              <a:gd name="connsiteY106" fmla="*/ 35844 h 110081"/>
              <a:gd name="connsiteX107" fmla="*/ 300494 w 605327"/>
              <a:gd name="connsiteY107" fmla="*/ 12134 h 110081"/>
              <a:gd name="connsiteX108" fmla="*/ 289738 w 605327"/>
              <a:gd name="connsiteY108" fmla="*/ 14810 h 110081"/>
              <a:gd name="connsiteX109" fmla="*/ 281670 w 605327"/>
              <a:gd name="connsiteY109" fmla="*/ 22589 h 110081"/>
              <a:gd name="connsiteX110" fmla="*/ 278682 w 605327"/>
              <a:gd name="connsiteY110" fmla="*/ 35532 h 110081"/>
              <a:gd name="connsiteX111" fmla="*/ 281670 w 605327"/>
              <a:gd name="connsiteY111" fmla="*/ 48725 h 110081"/>
              <a:gd name="connsiteX112" fmla="*/ 289290 w 605327"/>
              <a:gd name="connsiteY112" fmla="*/ 56752 h 110081"/>
              <a:gd name="connsiteX113" fmla="*/ 299000 w 605327"/>
              <a:gd name="connsiteY113" fmla="*/ 59428 h 110081"/>
              <a:gd name="connsiteX114" fmla="*/ 315434 w 605327"/>
              <a:gd name="connsiteY114" fmla="*/ 53329 h 110081"/>
              <a:gd name="connsiteX115" fmla="*/ 322157 w 605327"/>
              <a:gd name="connsiteY115" fmla="*/ 35283 h 110081"/>
              <a:gd name="connsiteX116" fmla="*/ 316330 w 605327"/>
              <a:gd name="connsiteY116" fmla="*/ 18544 h 110081"/>
              <a:gd name="connsiteX117" fmla="*/ 300494 w 605327"/>
              <a:gd name="connsiteY117" fmla="*/ 12134 h 110081"/>
              <a:gd name="connsiteX118" fmla="*/ 419683 w 605327"/>
              <a:gd name="connsiteY118" fmla="*/ 73491 h 110081"/>
              <a:gd name="connsiteX119" fmla="*/ 414902 w 605327"/>
              <a:gd name="connsiteY119" fmla="*/ 92782 h 110081"/>
              <a:gd name="connsiteX120" fmla="*/ 402203 w 605327"/>
              <a:gd name="connsiteY120" fmla="*/ 105601 h 110081"/>
              <a:gd name="connsiteX121" fmla="*/ 384126 w 605327"/>
              <a:gd name="connsiteY121" fmla="*/ 110082 h 110081"/>
              <a:gd name="connsiteX122" fmla="*/ 362463 w 605327"/>
              <a:gd name="connsiteY122" fmla="*/ 104108 h 110081"/>
              <a:gd name="connsiteX123" fmla="*/ 350362 w 605327"/>
              <a:gd name="connsiteY123" fmla="*/ 87555 h 110081"/>
              <a:gd name="connsiteX124" fmla="*/ 346627 w 605327"/>
              <a:gd name="connsiteY124" fmla="*/ 63161 h 110081"/>
              <a:gd name="connsiteX125" fmla="*/ 351109 w 605327"/>
              <a:gd name="connsiteY125" fmla="*/ 30181 h 110081"/>
              <a:gd name="connsiteX126" fmla="*/ 365152 w 605327"/>
              <a:gd name="connsiteY126" fmla="*/ 8089 h 110081"/>
              <a:gd name="connsiteX127" fmla="*/ 389654 w 605327"/>
              <a:gd name="connsiteY127" fmla="*/ 0 h 110081"/>
              <a:gd name="connsiteX128" fmla="*/ 412213 w 605327"/>
              <a:gd name="connsiteY128" fmla="*/ 5538 h 110081"/>
              <a:gd name="connsiteX129" fmla="*/ 412213 w 605327"/>
              <a:gd name="connsiteY129" fmla="*/ 18855 h 110081"/>
              <a:gd name="connsiteX130" fmla="*/ 389654 w 605327"/>
              <a:gd name="connsiteY130" fmla="*/ 12259 h 110081"/>
              <a:gd name="connsiteX131" fmla="*/ 374116 w 605327"/>
              <a:gd name="connsiteY131" fmla="*/ 17361 h 110081"/>
              <a:gd name="connsiteX132" fmla="*/ 364256 w 605327"/>
              <a:gd name="connsiteY132" fmla="*/ 31238 h 110081"/>
              <a:gd name="connsiteX133" fmla="*/ 360073 w 605327"/>
              <a:gd name="connsiteY133" fmla="*/ 50778 h 110081"/>
              <a:gd name="connsiteX134" fmla="*/ 371427 w 605327"/>
              <a:gd name="connsiteY134" fmla="*/ 40759 h 110081"/>
              <a:gd name="connsiteX135" fmla="*/ 385470 w 605327"/>
              <a:gd name="connsiteY135" fmla="*/ 37523 h 110081"/>
              <a:gd name="connsiteX136" fmla="*/ 402801 w 605327"/>
              <a:gd name="connsiteY136" fmla="*/ 41693 h 110081"/>
              <a:gd name="connsiteX137" fmla="*/ 415051 w 605327"/>
              <a:gd name="connsiteY137" fmla="*/ 53952 h 110081"/>
              <a:gd name="connsiteX138" fmla="*/ 419683 w 605327"/>
              <a:gd name="connsiteY138" fmla="*/ 73491 h 110081"/>
              <a:gd name="connsiteX139" fmla="*/ 383678 w 605327"/>
              <a:gd name="connsiteY139" fmla="*/ 98134 h 110081"/>
              <a:gd name="connsiteX140" fmla="*/ 394434 w 605327"/>
              <a:gd name="connsiteY140" fmla="*/ 95458 h 110081"/>
              <a:gd name="connsiteX141" fmla="*/ 402352 w 605327"/>
              <a:gd name="connsiteY141" fmla="*/ 87244 h 110081"/>
              <a:gd name="connsiteX142" fmla="*/ 405490 w 605327"/>
              <a:gd name="connsiteY142" fmla="*/ 73803 h 110081"/>
              <a:gd name="connsiteX143" fmla="*/ 402502 w 605327"/>
              <a:gd name="connsiteY143" fmla="*/ 60174 h 110081"/>
              <a:gd name="connsiteX144" fmla="*/ 394882 w 605327"/>
              <a:gd name="connsiteY144" fmla="*/ 51961 h 110081"/>
              <a:gd name="connsiteX145" fmla="*/ 385172 w 605327"/>
              <a:gd name="connsiteY145" fmla="*/ 49160 h 110081"/>
              <a:gd name="connsiteX146" fmla="*/ 368589 w 605327"/>
              <a:gd name="connsiteY146" fmla="*/ 55570 h 110081"/>
              <a:gd name="connsiteX147" fmla="*/ 362015 w 605327"/>
              <a:gd name="connsiteY147" fmla="*/ 74114 h 110081"/>
              <a:gd name="connsiteX148" fmla="*/ 367842 w 605327"/>
              <a:gd name="connsiteY148" fmla="*/ 91538 h 110081"/>
              <a:gd name="connsiteX149" fmla="*/ 383678 w 605327"/>
              <a:gd name="connsiteY149" fmla="*/ 98134 h 110081"/>
              <a:gd name="connsiteX150" fmla="*/ 499429 w 605327"/>
              <a:gd name="connsiteY150" fmla="*/ 13628 h 110081"/>
              <a:gd name="connsiteX151" fmla="*/ 454013 w 605327"/>
              <a:gd name="connsiteY151" fmla="*/ 108588 h 110081"/>
              <a:gd name="connsiteX152" fmla="*/ 439372 w 605327"/>
              <a:gd name="connsiteY152" fmla="*/ 108588 h 110081"/>
              <a:gd name="connsiteX153" fmla="*/ 485087 w 605327"/>
              <a:gd name="connsiteY153" fmla="*/ 14374 h 110081"/>
              <a:gd name="connsiteX154" fmla="*/ 430557 w 605327"/>
              <a:gd name="connsiteY154" fmla="*/ 14374 h 110081"/>
              <a:gd name="connsiteX155" fmla="*/ 430557 w 605327"/>
              <a:gd name="connsiteY155" fmla="*/ 1493 h 110081"/>
              <a:gd name="connsiteX156" fmla="*/ 499429 w 605327"/>
              <a:gd name="connsiteY156" fmla="*/ 1493 h 110081"/>
              <a:gd name="connsiteX157" fmla="*/ 499429 w 605327"/>
              <a:gd name="connsiteY157" fmla="*/ 13628 h 110081"/>
              <a:gd name="connsiteX158" fmla="*/ 518528 w 605327"/>
              <a:gd name="connsiteY158" fmla="*/ 1493 h 110081"/>
              <a:gd name="connsiteX159" fmla="*/ 554532 w 605327"/>
              <a:gd name="connsiteY159" fmla="*/ 1493 h 110081"/>
              <a:gd name="connsiteX160" fmla="*/ 574552 w 605327"/>
              <a:gd name="connsiteY160" fmla="*/ 4044 h 110081"/>
              <a:gd name="connsiteX161" fmla="*/ 590686 w 605327"/>
              <a:gd name="connsiteY161" fmla="*/ 12383 h 110081"/>
              <a:gd name="connsiteX162" fmla="*/ 601443 w 605327"/>
              <a:gd name="connsiteY162" fmla="*/ 27629 h 110081"/>
              <a:gd name="connsiteX163" fmla="*/ 605328 w 605327"/>
              <a:gd name="connsiteY163" fmla="*/ 51401 h 110081"/>
              <a:gd name="connsiteX164" fmla="*/ 598455 w 605327"/>
              <a:gd name="connsiteY164" fmla="*/ 83075 h 110081"/>
              <a:gd name="connsiteX165" fmla="*/ 579930 w 605327"/>
              <a:gd name="connsiteY165" fmla="*/ 102179 h 110081"/>
              <a:gd name="connsiteX166" fmla="*/ 552889 w 605327"/>
              <a:gd name="connsiteY166" fmla="*/ 108588 h 110081"/>
              <a:gd name="connsiteX167" fmla="*/ 518528 w 605327"/>
              <a:gd name="connsiteY167" fmla="*/ 108588 h 110081"/>
              <a:gd name="connsiteX168" fmla="*/ 518528 w 605327"/>
              <a:gd name="connsiteY168" fmla="*/ 1493 h 110081"/>
              <a:gd name="connsiteX169" fmla="*/ 552889 w 605327"/>
              <a:gd name="connsiteY169" fmla="*/ 95893 h 110081"/>
              <a:gd name="connsiteX170" fmla="*/ 572311 w 605327"/>
              <a:gd name="connsiteY170" fmla="*/ 91413 h 110081"/>
              <a:gd name="connsiteX171" fmla="*/ 585308 w 605327"/>
              <a:gd name="connsiteY171" fmla="*/ 77225 h 110081"/>
              <a:gd name="connsiteX172" fmla="*/ 590089 w 605327"/>
              <a:gd name="connsiteY172" fmla="*/ 52458 h 110081"/>
              <a:gd name="connsiteX173" fmla="*/ 585458 w 605327"/>
              <a:gd name="connsiteY173" fmla="*/ 29122 h 110081"/>
              <a:gd name="connsiteX174" fmla="*/ 572759 w 605327"/>
              <a:gd name="connsiteY174" fmla="*/ 17610 h 110081"/>
              <a:gd name="connsiteX175" fmla="*/ 554532 w 605327"/>
              <a:gd name="connsiteY175" fmla="*/ 14374 h 110081"/>
              <a:gd name="connsiteX176" fmla="*/ 532571 w 605327"/>
              <a:gd name="connsiteY176" fmla="*/ 14374 h 110081"/>
              <a:gd name="connsiteX177" fmla="*/ 532571 w 605327"/>
              <a:gd name="connsiteY177" fmla="*/ 95893 h 110081"/>
              <a:gd name="connsiteX178" fmla="*/ 552889 w 605327"/>
              <a:gd name="connsiteY17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60532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264490" y="35844"/>
                </a:moveTo>
                <a:cubicBezTo>
                  <a:pt x="264490" y="28687"/>
                  <a:pt x="266033" y="22402"/>
                  <a:pt x="269121" y="17051"/>
                </a:cubicBezTo>
                <a:cubicBezTo>
                  <a:pt x="272308" y="11637"/>
                  <a:pt x="276591" y="7467"/>
                  <a:pt x="281969" y="4480"/>
                </a:cubicBezTo>
                <a:cubicBezTo>
                  <a:pt x="287347" y="1493"/>
                  <a:pt x="293373" y="0"/>
                  <a:pt x="300046" y="0"/>
                </a:cubicBezTo>
                <a:cubicBezTo>
                  <a:pt x="309010" y="0"/>
                  <a:pt x="316231" y="1929"/>
                  <a:pt x="321709" y="5849"/>
                </a:cubicBezTo>
                <a:cubicBezTo>
                  <a:pt x="327286" y="9645"/>
                  <a:pt x="331320" y="14934"/>
                  <a:pt x="333810" y="21842"/>
                </a:cubicBezTo>
                <a:cubicBezTo>
                  <a:pt x="336300" y="28563"/>
                  <a:pt x="337545" y="36466"/>
                  <a:pt x="337545" y="45426"/>
                </a:cubicBezTo>
                <a:cubicBezTo>
                  <a:pt x="337545" y="58868"/>
                  <a:pt x="336001" y="70380"/>
                  <a:pt x="332914" y="80088"/>
                </a:cubicBezTo>
                <a:cubicBezTo>
                  <a:pt x="329826" y="89733"/>
                  <a:pt x="325045" y="97138"/>
                  <a:pt x="318571" y="102303"/>
                </a:cubicBezTo>
                <a:cubicBezTo>
                  <a:pt x="312197" y="107468"/>
                  <a:pt x="304030" y="110082"/>
                  <a:pt x="294070" y="110082"/>
                </a:cubicBezTo>
                <a:cubicBezTo>
                  <a:pt x="285106" y="110082"/>
                  <a:pt x="277437" y="108215"/>
                  <a:pt x="271063" y="104543"/>
                </a:cubicBezTo>
                <a:lnTo>
                  <a:pt x="271063" y="91413"/>
                </a:lnTo>
                <a:cubicBezTo>
                  <a:pt x="277836" y="95769"/>
                  <a:pt x="285505" y="98010"/>
                  <a:pt x="294070" y="98010"/>
                </a:cubicBezTo>
                <a:cubicBezTo>
                  <a:pt x="300245" y="98010"/>
                  <a:pt x="305424" y="96267"/>
                  <a:pt x="309608" y="92907"/>
                </a:cubicBezTo>
                <a:cubicBezTo>
                  <a:pt x="313791" y="89546"/>
                  <a:pt x="317028" y="84941"/>
                  <a:pt x="319318" y="79154"/>
                </a:cubicBezTo>
                <a:cubicBezTo>
                  <a:pt x="321709" y="73367"/>
                  <a:pt x="323153" y="66896"/>
                  <a:pt x="323651" y="59739"/>
                </a:cubicBezTo>
                <a:cubicBezTo>
                  <a:pt x="320563" y="63660"/>
                  <a:pt x="316878" y="66522"/>
                  <a:pt x="312596" y="68389"/>
                </a:cubicBezTo>
                <a:cubicBezTo>
                  <a:pt x="308313" y="70193"/>
                  <a:pt x="303682" y="71127"/>
                  <a:pt x="298702" y="71127"/>
                </a:cubicBezTo>
                <a:cubicBezTo>
                  <a:pt x="292327" y="71127"/>
                  <a:pt x="286551" y="69758"/>
                  <a:pt x="281371" y="67082"/>
                </a:cubicBezTo>
                <a:cubicBezTo>
                  <a:pt x="276192" y="64406"/>
                  <a:pt x="272059" y="60424"/>
                  <a:pt x="268972" y="55134"/>
                </a:cubicBezTo>
                <a:cubicBezTo>
                  <a:pt x="265984" y="49845"/>
                  <a:pt x="264490" y="43435"/>
                  <a:pt x="264490" y="35844"/>
                </a:cubicBezTo>
                <a:close/>
                <a:moveTo>
                  <a:pt x="300494" y="12134"/>
                </a:moveTo>
                <a:cubicBezTo>
                  <a:pt x="296710" y="12134"/>
                  <a:pt x="293124" y="13006"/>
                  <a:pt x="289738" y="14810"/>
                </a:cubicBezTo>
                <a:cubicBezTo>
                  <a:pt x="286451" y="16490"/>
                  <a:pt x="283762" y="19104"/>
                  <a:pt x="281670" y="22589"/>
                </a:cubicBezTo>
                <a:cubicBezTo>
                  <a:pt x="279678" y="25949"/>
                  <a:pt x="278682" y="30305"/>
                  <a:pt x="278682" y="35532"/>
                </a:cubicBezTo>
                <a:cubicBezTo>
                  <a:pt x="278682" y="40759"/>
                  <a:pt x="279678" y="45116"/>
                  <a:pt x="281670" y="48725"/>
                </a:cubicBezTo>
                <a:cubicBezTo>
                  <a:pt x="283662" y="52271"/>
                  <a:pt x="286202" y="54947"/>
                  <a:pt x="289290" y="56752"/>
                </a:cubicBezTo>
                <a:cubicBezTo>
                  <a:pt x="292377" y="58556"/>
                  <a:pt x="295614" y="59428"/>
                  <a:pt x="299000" y="59428"/>
                </a:cubicBezTo>
                <a:cubicBezTo>
                  <a:pt x="305574" y="59428"/>
                  <a:pt x="311052" y="57437"/>
                  <a:pt x="315434" y="53329"/>
                </a:cubicBezTo>
                <a:cubicBezTo>
                  <a:pt x="319916" y="49160"/>
                  <a:pt x="322157" y="43124"/>
                  <a:pt x="322157" y="35283"/>
                </a:cubicBezTo>
                <a:cubicBezTo>
                  <a:pt x="322157" y="28313"/>
                  <a:pt x="320215" y="22713"/>
                  <a:pt x="316330" y="18544"/>
                </a:cubicBezTo>
                <a:cubicBezTo>
                  <a:pt x="312446" y="14250"/>
                  <a:pt x="307167" y="12134"/>
                  <a:pt x="300494" y="12134"/>
                </a:cubicBezTo>
                <a:close/>
                <a:moveTo>
                  <a:pt x="419683" y="73491"/>
                </a:moveTo>
                <a:cubicBezTo>
                  <a:pt x="419683" y="80772"/>
                  <a:pt x="418089" y="87182"/>
                  <a:pt x="414902" y="92782"/>
                </a:cubicBezTo>
                <a:cubicBezTo>
                  <a:pt x="411814" y="98258"/>
                  <a:pt x="407581" y="102490"/>
                  <a:pt x="402203" y="105601"/>
                </a:cubicBezTo>
                <a:cubicBezTo>
                  <a:pt x="396825" y="108588"/>
                  <a:pt x="390799" y="110082"/>
                  <a:pt x="384126" y="110082"/>
                </a:cubicBezTo>
                <a:cubicBezTo>
                  <a:pt x="375162" y="110082"/>
                  <a:pt x="367941" y="108091"/>
                  <a:pt x="362463" y="104108"/>
                </a:cubicBezTo>
                <a:cubicBezTo>
                  <a:pt x="356985" y="100125"/>
                  <a:pt x="352952" y="94587"/>
                  <a:pt x="350362" y="87555"/>
                </a:cubicBezTo>
                <a:cubicBezTo>
                  <a:pt x="347872" y="80461"/>
                  <a:pt x="346627" y="72372"/>
                  <a:pt x="346627" y="63161"/>
                </a:cubicBezTo>
                <a:cubicBezTo>
                  <a:pt x="346627" y="50653"/>
                  <a:pt x="348121" y="39639"/>
                  <a:pt x="351109" y="30181"/>
                </a:cubicBezTo>
                <a:cubicBezTo>
                  <a:pt x="354196" y="20722"/>
                  <a:pt x="358878" y="13379"/>
                  <a:pt x="365152" y="8089"/>
                </a:cubicBezTo>
                <a:cubicBezTo>
                  <a:pt x="371527" y="2675"/>
                  <a:pt x="379694" y="0"/>
                  <a:pt x="389654" y="0"/>
                </a:cubicBezTo>
                <a:cubicBezTo>
                  <a:pt x="398219" y="0"/>
                  <a:pt x="405739" y="1866"/>
                  <a:pt x="412213" y="5538"/>
                </a:cubicBezTo>
                <a:lnTo>
                  <a:pt x="412213" y="18855"/>
                </a:lnTo>
                <a:cubicBezTo>
                  <a:pt x="405739" y="14437"/>
                  <a:pt x="398219" y="12259"/>
                  <a:pt x="389654" y="12259"/>
                </a:cubicBezTo>
                <a:cubicBezTo>
                  <a:pt x="383478" y="12259"/>
                  <a:pt x="378299" y="13939"/>
                  <a:pt x="374116" y="17361"/>
                </a:cubicBezTo>
                <a:cubicBezTo>
                  <a:pt x="369933" y="20722"/>
                  <a:pt x="366646" y="25327"/>
                  <a:pt x="364256" y="31238"/>
                </a:cubicBezTo>
                <a:cubicBezTo>
                  <a:pt x="361965" y="37026"/>
                  <a:pt x="360571" y="43498"/>
                  <a:pt x="360073" y="50778"/>
                </a:cubicBezTo>
                <a:cubicBezTo>
                  <a:pt x="363360" y="46298"/>
                  <a:pt x="367144" y="42999"/>
                  <a:pt x="371427" y="40759"/>
                </a:cubicBezTo>
                <a:cubicBezTo>
                  <a:pt x="375710" y="38581"/>
                  <a:pt x="380391" y="37523"/>
                  <a:pt x="385470" y="37523"/>
                </a:cubicBezTo>
                <a:cubicBezTo>
                  <a:pt x="391944" y="37523"/>
                  <a:pt x="397721" y="38893"/>
                  <a:pt x="402801" y="41693"/>
                </a:cubicBezTo>
                <a:cubicBezTo>
                  <a:pt x="407980" y="44493"/>
                  <a:pt x="412063" y="48538"/>
                  <a:pt x="415051" y="53952"/>
                </a:cubicBezTo>
                <a:cubicBezTo>
                  <a:pt x="418139" y="59179"/>
                  <a:pt x="419683" y="65713"/>
                  <a:pt x="419683" y="73491"/>
                </a:cubicBezTo>
                <a:close/>
                <a:moveTo>
                  <a:pt x="383678" y="98134"/>
                </a:moveTo>
                <a:cubicBezTo>
                  <a:pt x="387562" y="98134"/>
                  <a:pt x="391147" y="97263"/>
                  <a:pt x="394434" y="95458"/>
                </a:cubicBezTo>
                <a:cubicBezTo>
                  <a:pt x="397721" y="93529"/>
                  <a:pt x="400360" y="90791"/>
                  <a:pt x="402352" y="87244"/>
                </a:cubicBezTo>
                <a:cubicBezTo>
                  <a:pt x="404444" y="83635"/>
                  <a:pt x="405490" y="79154"/>
                  <a:pt x="405490" y="73803"/>
                </a:cubicBezTo>
                <a:cubicBezTo>
                  <a:pt x="405490" y="68389"/>
                  <a:pt x="404494" y="63908"/>
                  <a:pt x="402502" y="60174"/>
                </a:cubicBezTo>
                <a:cubicBezTo>
                  <a:pt x="400510" y="56503"/>
                  <a:pt x="397970" y="53765"/>
                  <a:pt x="394882" y="51961"/>
                </a:cubicBezTo>
                <a:cubicBezTo>
                  <a:pt x="391795" y="50093"/>
                  <a:pt x="388558" y="49160"/>
                  <a:pt x="385172" y="49160"/>
                </a:cubicBezTo>
                <a:cubicBezTo>
                  <a:pt x="378598" y="49160"/>
                  <a:pt x="373070" y="51276"/>
                  <a:pt x="368589" y="55570"/>
                </a:cubicBezTo>
                <a:cubicBezTo>
                  <a:pt x="364206" y="59739"/>
                  <a:pt x="362015" y="65900"/>
                  <a:pt x="362015" y="74114"/>
                </a:cubicBezTo>
                <a:cubicBezTo>
                  <a:pt x="362015" y="81270"/>
                  <a:pt x="363957" y="87058"/>
                  <a:pt x="367842" y="91538"/>
                </a:cubicBezTo>
                <a:cubicBezTo>
                  <a:pt x="371726" y="95956"/>
                  <a:pt x="377005" y="98134"/>
                  <a:pt x="383678" y="98134"/>
                </a:cubicBezTo>
                <a:close/>
                <a:moveTo>
                  <a:pt x="499429" y="13628"/>
                </a:moveTo>
                <a:lnTo>
                  <a:pt x="454013" y="108588"/>
                </a:lnTo>
                <a:lnTo>
                  <a:pt x="439372" y="108588"/>
                </a:lnTo>
                <a:lnTo>
                  <a:pt x="485087" y="14374"/>
                </a:lnTo>
                <a:lnTo>
                  <a:pt x="430557" y="14374"/>
                </a:lnTo>
                <a:lnTo>
                  <a:pt x="430557" y="1493"/>
                </a:lnTo>
                <a:lnTo>
                  <a:pt x="499429" y="1493"/>
                </a:lnTo>
                <a:lnTo>
                  <a:pt x="499429" y="13628"/>
                </a:lnTo>
                <a:close/>
                <a:moveTo>
                  <a:pt x="518528" y="1493"/>
                </a:moveTo>
                <a:lnTo>
                  <a:pt x="554532" y="1493"/>
                </a:lnTo>
                <a:cubicBezTo>
                  <a:pt x="561704" y="1493"/>
                  <a:pt x="568377" y="2365"/>
                  <a:pt x="574552" y="4044"/>
                </a:cubicBezTo>
                <a:cubicBezTo>
                  <a:pt x="580727" y="5725"/>
                  <a:pt x="586105" y="8525"/>
                  <a:pt x="590686" y="12383"/>
                </a:cubicBezTo>
                <a:cubicBezTo>
                  <a:pt x="595268" y="16179"/>
                  <a:pt x="598854" y="21282"/>
                  <a:pt x="601443" y="27629"/>
                </a:cubicBezTo>
                <a:cubicBezTo>
                  <a:pt x="604033" y="34039"/>
                  <a:pt x="605328" y="41942"/>
                  <a:pt x="605328" y="51401"/>
                </a:cubicBezTo>
                <a:cubicBezTo>
                  <a:pt x="605328" y="63908"/>
                  <a:pt x="603037" y="74487"/>
                  <a:pt x="598455" y="83075"/>
                </a:cubicBezTo>
                <a:cubicBezTo>
                  <a:pt x="593973" y="91538"/>
                  <a:pt x="587798" y="97885"/>
                  <a:pt x="579930" y="102179"/>
                </a:cubicBezTo>
                <a:cubicBezTo>
                  <a:pt x="572062" y="106473"/>
                  <a:pt x="563048" y="108588"/>
                  <a:pt x="552889" y="108588"/>
                </a:cubicBezTo>
                <a:lnTo>
                  <a:pt x="518528" y="108588"/>
                </a:lnTo>
                <a:lnTo>
                  <a:pt x="518528" y="1493"/>
                </a:lnTo>
                <a:close/>
                <a:moveTo>
                  <a:pt x="552889" y="95893"/>
                </a:moveTo>
                <a:cubicBezTo>
                  <a:pt x="560259" y="95893"/>
                  <a:pt x="566733" y="94400"/>
                  <a:pt x="572311" y="91413"/>
                </a:cubicBezTo>
                <a:cubicBezTo>
                  <a:pt x="577888" y="88302"/>
                  <a:pt x="582221" y="83572"/>
                  <a:pt x="585308" y="77225"/>
                </a:cubicBezTo>
                <a:cubicBezTo>
                  <a:pt x="588495" y="70754"/>
                  <a:pt x="590089" y="62477"/>
                  <a:pt x="590089" y="52458"/>
                </a:cubicBezTo>
                <a:cubicBezTo>
                  <a:pt x="590089" y="42377"/>
                  <a:pt x="588545" y="34599"/>
                  <a:pt x="585458" y="29122"/>
                </a:cubicBezTo>
                <a:cubicBezTo>
                  <a:pt x="582370" y="23646"/>
                  <a:pt x="578137" y="19851"/>
                  <a:pt x="572759" y="17610"/>
                </a:cubicBezTo>
                <a:cubicBezTo>
                  <a:pt x="567480" y="15433"/>
                  <a:pt x="561405" y="14374"/>
                  <a:pt x="554532" y="14374"/>
                </a:cubicBezTo>
                <a:lnTo>
                  <a:pt x="532571" y="14374"/>
                </a:lnTo>
                <a:lnTo>
                  <a:pt x="532571" y="95893"/>
                </a:lnTo>
                <a:lnTo>
                  <a:pt x="552889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7" name="Полилиния 986">
            <a:extLst>
              <a:ext uri="{FF2B5EF4-FFF2-40B4-BE49-F238E27FC236}">
                <a16:creationId xmlns:a16="http://schemas.microsoft.com/office/drawing/2014/main" id="{CC095993-3AAA-4CA1-78C2-F62937ACCDF8}"/>
              </a:ext>
            </a:extLst>
          </p:cNvPr>
          <p:cNvSpPr/>
          <p:nvPr userDrawn="1"/>
        </p:nvSpPr>
        <p:spPr>
          <a:xfrm>
            <a:off x="13814863" y="5966300"/>
            <a:ext cx="1398954" cy="726227"/>
          </a:xfrm>
          <a:custGeom>
            <a:avLst/>
            <a:gdLst>
              <a:gd name="connsiteX0" fmla="*/ 213 w 1198727"/>
              <a:gd name="connsiteY0" fmla="*/ 1322 h 622284"/>
              <a:gd name="connsiteX1" fmla="*/ 1198941 w 1198727"/>
              <a:gd name="connsiteY1" fmla="*/ 1322 h 622284"/>
              <a:gd name="connsiteX2" fmla="*/ 1198941 w 1198727"/>
              <a:gd name="connsiteY2" fmla="*/ 623606 h 622284"/>
              <a:gd name="connsiteX3" fmla="*/ 213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322"/>
                </a:moveTo>
                <a:lnTo>
                  <a:pt x="1198941" y="1322"/>
                </a:lnTo>
                <a:lnTo>
                  <a:pt x="1198941" y="623606"/>
                </a:lnTo>
                <a:lnTo>
                  <a:pt x="213" y="623606"/>
                </a:lnTo>
                <a:close/>
              </a:path>
            </a:pathLst>
          </a:custGeom>
          <a:solidFill>
            <a:srgbClr val="00BEA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8" name="Полилиния 987">
            <a:extLst>
              <a:ext uri="{FF2B5EF4-FFF2-40B4-BE49-F238E27FC236}">
                <a16:creationId xmlns:a16="http://schemas.microsoft.com/office/drawing/2014/main" id="{CA3C2299-2B99-8F79-E5B2-3372EC81E889}"/>
              </a:ext>
            </a:extLst>
          </p:cNvPr>
          <p:cNvSpPr/>
          <p:nvPr userDrawn="1"/>
        </p:nvSpPr>
        <p:spPr>
          <a:xfrm>
            <a:off x="13938073" y="6268264"/>
            <a:ext cx="726335" cy="128252"/>
          </a:xfrm>
          <a:custGeom>
            <a:avLst/>
            <a:gdLst>
              <a:gd name="connsiteX0" fmla="*/ 22111 w 622377"/>
              <a:gd name="connsiteY0" fmla="*/ 108402 h 109895"/>
              <a:gd name="connsiteX1" fmla="*/ 10159 w 622377"/>
              <a:gd name="connsiteY1" fmla="*/ 108402 h 109895"/>
              <a:gd name="connsiteX2" fmla="*/ 16434 w 622377"/>
              <a:gd name="connsiteY2" fmla="*/ 77475 h 109895"/>
              <a:gd name="connsiteX3" fmla="*/ 0 w 622377"/>
              <a:gd name="connsiteY3" fmla="*/ 77475 h 109895"/>
              <a:gd name="connsiteX4" fmla="*/ 0 w 622377"/>
              <a:gd name="connsiteY4" fmla="*/ 67020 h 109895"/>
              <a:gd name="connsiteX5" fmla="*/ 18675 w 622377"/>
              <a:gd name="connsiteY5" fmla="*/ 67020 h 109895"/>
              <a:gd name="connsiteX6" fmla="*/ 24202 w 622377"/>
              <a:gd name="connsiteY6" fmla="*/ 39826 h 109895"/>
              <a:gd name="connsiteX7" fmla="*/ 4034 w 622377"/>
              <a:gd name="connsiteY7" fmla="*/ 39826 h 109895"/>
              <a:gd name="connsiteX8" fmla="*/ 4034 w 622377"/>
              <a:gd name="connsiteY8" fmla="*/ 29372 h 109895"/>
              <a:gd name="connsiteX9" fmla="*/ 26294 w 622377"/>
              <a:gd name="connsiteY9" fmla="*/ 29372 h 109895"/>
              <a:gd name="connsiteX10" fmla="*/ 32120 w 622377"/>
              <a:gd name="connsiteY10" fmla="*/ 1307 h 109895"/>
              <a:gd name="connsiteX11" fmla="*/ 44072 w 622377"/>
              <a:gd name="connsiteY11" fmla="*/ 1307 h 109895"/>
              <a:gd name="connsiteX12" fmla="*/ 38246 w 622377"/>
              <a:gd name="connsiteY12" fmla="*/ 29372 h 109895"/>
              <a:gd name="connsiteX13" fmla="*/ 60655 w 622377"/>
              <a:gd name="connsiteY13" fmla="*/ 29372 h 109895"/>
              <a:gd name="connsiteX14" fmla="*/ 66482 w 622377"/>
              <a:gd name="connsiteY14" fmla="*/ 1307 h 109895"/>
              <a:gd name="connsiteX15" fmla="*/ 78434 w 622377"/>
              <a:gd name="connsiteY15" fmla="*/ 1307 h 109895"/>
              <a:gd name="connsiteX16" fmla="*/ 72607 w 622377"/>
              <a:gd name="connsiteY16" fmla="*/ 29372 h 109895"/>
              <a:gd name="connsiteX17" fmla="*/ 89340 w 622377"/>
              <a:gd name="connsiteY17" fmla="*/ 29372 h 109895"/>
              <a:gd name="connsiteX18" fmla="*/ 89340 w 622377"/>
              <a:gd name="connsiteY18" fmla="*/ 39826 h 109895"/>
              <a:gd name="connsiteX19" fmla="*/ 70516 w 622377"/>
              <a:gd name="connsiteY19" fmla="*/ 39826 h 109895"/>
              <a:gd name="connsiteX20" fmla="*/ 64988 w 622377"/>
              <a:gd name="connsiteY20" fmla="*/ 67020 h 109895"/>
              <a:gd name="connsiteX21" fmla="*/ 85306 w 622377"/>
              <a:gd name="connsiteY21" fmla="*/ 67020 h 109895"/>
              <a:gd name="connsiteX22" fmla="*/ 85306 w 622377"/>
              <a:gd name="connsiteY22" fmla="*/ 77475 h 109895"/>
              <a:gd name="connsiteX23" fmla="*/ 62747 w 622377"/>
              <a:gd name="connsiteY23" fmla="*/ 77475 h 109895"/>
              <a:gd name="connsiteX24" fmla="*/ 56472 w 622377"/>
              <a:gd name="connsiteY24" fmla="*/ 108402 h 109895"/>
              <a:gd name="connsiteX25" fmla="*/ 44520 w 622377"/>
              <a:gd name="connsiteY25" fmla="*/ 108402 h 109895"/>
              <a:gd name="connsiteX26" fmla="*/ 50795 w 622377"/>
              <a:gd name="connsiteY26" fmla="*/ 77475 h 109895"/>
              <a:gd name="connsiteX27" fmla="*/ 28386 w 622377"/>
              <a:gd name="connsiteY27" fmla="*/ 77475 h 109895"/>
              <a:gd name="connsiteX28" fmla="*/ 22111 w 622377"/>
              <a:gd name="connsiteY28" fmla="*/ 108402 h 109895"/>
              <a:gd name="connsiteX29" fmla="*/ 30626 w 622377"/>
              <a:gd name="connsiteY29" fmla="*/ 67020 h 109895"/>
              <a:gd name="connsiteX30" fmla="*/ 53036 w 622377"/>
              <a:gd name="connsiteY30" fmla="*/ 67020 h 109895"/>
              <a:gd name="connsiteX31" fmla="*/ 58564 w 622377"/>
              <a:gd name="connsiteY31" fmla="*/ 39826 h 109895"/>
              <a:gd name="connsiteX32" fmla="*/ 36154 w 622377"/>
              <a:gd name="connsiteY32" fmla="*/ 39826 h 109895"/>
              <a:gd name="connsiteX33" fmla="*/ 30626 w 622377"/>
              <a:gd name="connsiteY33" fmla="*/ 67020 h 109895"/>
              <a:gd name="connsiteX34" fmla="*/ 136661 w 622377"/>
              <a:gd name="connsiteY34" fmla="*/ 109896 h 109895"/>
              <a:gd name="connsiteX35" fmla="*/ 118435 w 622377"/>
              <a:gd name="connsiteY35" fmla="*/ 104047 h 109895"/>
              <a:gd name="connsiteX36" fmla="*/ 105736 w 622377"/>
              <a:gd name="connsiteY36" fmla="*/ 86125 h 109895"/>
              <a:gd name="connsiteX37" fmla="*/ 101254 w 622377"/>
              <a:gd name="connsiteY37" fmla="*/ 54761 h 109895"/>
              <a:gd name="connsiteX38" fmla="*/ 105736 w 622377"/>
              <a:gd name="connsiteY38" fmla="*/ 23398 h 109895"/>
              <a:gd name="connsiteX39" fmla="*/ 118435 w 622377"/>
              <a:gd name="connsiteY39" fmla="*/ 5663 h 109895"/>
              <a:gd name="connsiteX40" fmla="*/ 136661 w 622377"/>
              <a:gd name="connsiteY40" fmla="*/ 0 h 109895"/>
              <a:gd name="connsiteX41" fmla="*/ 154738 w 622377"/>
              <a:gd name="connsiteY41" fmla="*/ 5663 h 109895"/>
              <a:gd name="connsiteX42" fmla="*/ 167138 w 622377"/>
              <a:gd name="connsiteY42" fmla="*/ 23398 h 109895"/>
              <a:gd name="connsiteX43" fmla="*/ 171620 w 622377"/>
              <a:gd name="connsiteY43" fmla="*/ 54512 h 109895"/>
              <a:gd name="connsiteX44" fmla="*/ 167138 w 622377"/>
              <a:gd name="connsiteY44" fmla="*/ 85876 h 109895"/>
              <a:gd name="connsiteX45" fmla="*/ 154738 w 622377"/>
              <a:gd name="connsiteY45" fmla="*/ 104047 h 109895"/>
              <a:gd name="connsiteX46" fmla="*/ 136661 w 622377"/>
              <a:gd name="connsiteY46" fmla="*/ 109896 h 109895"/>
              <a:gd name="connsiteX47" fmla="*/ 136512 w 622377"/>
              <a:gd name="connsiteY47" fmla="*/ 98072 h 109895"/>
              <a:gd name="connsiteX48" fmla="*/ 147866 w 622377"/>
              <a:gd name="connsiteY48" fmla="*/ 94089 h 109895"/>
              <a:gd name="connsiteX49" fmla="*/ 155037 w 622377"/>
              <a:gd name="connsiteY49" fmla="*/ 80462 h 109895"/>
              <a:gd name="connsiteX50" fmla="*/ 157577 w 622377"/>
              <a:gd name="connsiteY50" fmla="*/ 54948 h 109895"/>
              <a:gd name="connsiteX51" fmla="*/ 155187 w 622377"/>
              <a:gd name="connsiteY51" fmla="*/ 29559 h 109895"/>
              <a:gd name="connsiteX52" fmla="*/ 148016 w 622377"/>
              <a:gd name="connsiteY52" fmla="*/ 15931 h 109895"/>
              <a:gd name="connsiteX53" fmla="*/ 136661 w 622377"/>
              <a:gd name="connsiteY53" fmla="*/ 11761 h 109895"/>
              <a:gd name="connsiteX54" fmla="*/ 125158 w 622377"/>
              <a:gd name="connsiteY54" fmla="*/ 15931 h 109895"/>
              <a:gd name="connsiteX55" fmla="*/ 117837 w 622377"/>
              <a:gd name="connsiteY55" fmla="*/ 29559 h 109895"/>
              <a:gd name="connsiteX56" fmla="*/ 115298 w 622377"/>
              <a:gd name="connsiteY56" fmla="*/ 54948 h 109895"/>
              <a:gd name="connsiteX57" fmla="*/ 117688 w 622377"/>
              <a:gd name="connsiteY57" fmla="*/ 80462 h 109895"/>
              <a:gd name="connsiteX58" fmla="*/ 125008 w 622377"/>
              <a:gd name="connsiteY58" fmla="*/ 94089 h 109895"/>
              <a:gd name="connsiteX59" fmla="*/ 136512 w 622377"/>
              <a:gd name="connsiteY59" fmla="*/ 98072 h 109895"/>
              <a:gd name="connsiteX60" fmla="*/ 218799 w 622377"/>
              <a:gd name="connsiteY60" fmla="*/ 109896 h 109895"/>
              <a:gd name="connsiteX61" fmla="*/ 200572 w 622377"/>
              <a:gd name="connsiteY61" fmla="*/ 104047 h 109895"/>
              <a:gd name="connsiteX62" fmla="*/ 187874 w 622377"/>
              <a:gd name="connsiteY62" fmla="*/ 86125 h 109895"/>
              <a:gd name="connsiteX63" fmla="*/ 183392 w 622377"/>
              <a:gd name="connsiteY63" fmla="*/ 54761 h 109895"/>
              <a:gd name="connsiteX64" fmla="*/ 187874 w 622377"/>
              <a:gd name="connsiteY64" fmla="*/ 23398 h 109895"/>
              <a:gd name="connsiteX65" fmla="*/ 200572 w 622377"/>
              <a:gd name="connsiteY65" fmla="*/ 5663 h 109895"/>
              <a:gd name="connsiteX66" fmla="*/ 218799 w 622377"/>
              <a:gd name="connsiteY66" fmla="*/ 0 h 109895"/>
              <a:gd name="connsiteX67" fmla="*/ 236876 w 622377"/>
              <a:gd name="connsiteY67" fmla="*/ 5663 h 109895"/>
              <a:gd name="connsiteX68" fmla="*/ 249276 w 622377"/>
              <a:gd name="connsiteY68" fmla="*/ 23398 h 109895"/>
              <a:gd name="connsiteX69" fmla="*/ 253758 w 622377"/>
              <a:gd name="connsiteY69" fmla="*/ 54512 h 109895"/>
              <a:gd name="connsiteX70" fmla="*/ 249276 w 622377"/>
              <a:gd name="connsiteY70" fmla="*/ 85876 h 109895"/>
              <a:gd name="connsiteX71" fmla="*/ 236876 w 622377"/>
              <a:gd name="connsiteY71" fmla="*/ 104047 h 109895"/>
              <a:gd name="connsiteX72" fmla="*/ 218799 w 622377"/>
              <a:gd name="connsiteY72" fmla="*/ 109896 h 109895"/>
              <a:gd name="connsiteX73" fmla="*/ 218649 w 622377"/>
              <a:gd name="connsiteY73" fmla="*/ 98072 h 109895"/>
              <a:gd name="connsiteX74" fmla="*/ 230004 w 622377"/>
              <a:gd name="connsiteY74" fmla="*/ 94089 h 109895"/>
              <a:gd name="connsiteX75" fmla="*/ 237175 w 622377"/>
              <a:gd name="connsiteY75" fmla="*/ 80462 h 109895"/>
              <a:gd name="connsiteX76" fmla="*/ 239714 w 622377"/>
              <a:gd name="connsiteY76" fmla="*/ 54948 h 109895"/>
              <a:gd name="connsiteX77" fmla="*/ 237324 w 622377"/>
              <a:gd name="connsiteY77" fmla="*/ 29559 h 109895"/>
              <a:gd name="connsiteX78" fmla="*/ 230153 w 622377"/>
              <a:gd name="connsiteY78" fmla="*/ 15931 h 109895"/>
              <a:gd name="connsiteX79" fmla="*/ 218799 w 622377"/>
              <a:gd name="connsiteY79" fmla="*/ 11761 h 109895"/>
              <a:gd name="connsiteX80" fmla="*/ 207295 w 622377"/>
              <a:gd name="connsiteY80" fmla="*/ 15931 h 109895"/>
              <a:gd name="connsiteX81" fmla="*/ 199975 w 622377"/>
              <a:gd name="connsiteY81" fmla="*/ 29559 h 109895"/>
              <a:gd name="connsiteX82" fmla="*/ 197435 w 622377"/>
              <a:gd name="connsiteY82" fmla="*/ 54948 h 109895"/>
              <a:gd name="connsiteX83" fmla="*/ 199825 w 622377"/>
              <a:gd name="connsiteY83" fmla="*/ 80462 h 109895"/>
              <a:gd name="connsiteX84" fmla="*/ 207146 w 622377"/>
              <a:gd name="connsiteY84" fmla="*/ 94089 h 109895"/>
              <a:gd name="connsiteX85" fmla="*/ 218649 w 622377"/>
              <a:gd name="connsiteY85" fmla="*/ 98072 h 109895"/>
              <a:gd name="connsiteX86" fmla="*/ 272109 w 622377"/>
              <a:gd name="connsiteY86" fmla="*/ 1307 h 109895"/>
              <a:gd name="connsiteX87" fmla="*/ 308413 w 622377"/>
              <a:gd name="connsiteY87" fmla="*/ 1307 h 109895"/>
              <a:gd name="connsiteX88" fmla="*/ 335155 w 622377"/>
              <a:gd name="connsiteY88" fmla="*/ 7281 h 109895"/>
              <a:gd name="connsiteX89" fmla="*/ 344417 w 622377"/>
              <a:gd name="connsiteY89" fmla="*/ 27443 h 109895"/>
              <a:gd name="connsiteX90" fmla="*/ 338591 w 622377"/>
              <a:gd name="connsiteY90" fmla="*/ 44930 h 109895"/>
              <a:gd name="connsiteX91" fmla="*/ 323053 w 622377"/>
              <a:gd name="connsiteY91" fmla="*/ 52832 h 109895"/>
              <a:gd name="connsiteX92" fmla="*/ 341877 w 622377"/>
              <a:gd name="connsiteY92" fmla="*/ 60175 h 109895"/>
              <a:gd name="connsiteX93" fmla="*/ 348302 w 622377"/>
              <a:gd name="connsiteY93" fmla="*/ 77475 h 109895"/>
              <a:gd name="connsiteX94" fmla="*/ 343073 w 622377"/>
              <a:gd name="connsiteY94" fmla="*/ 95397 h 109895"/>
              <a:gd name="connsiteX95" fmla="*/ 328730 w 622377"/>
              <a:gd name="connsiteY95" fmla="*/ 105415 h 109895"/>
              <a:gd name="connsiteX96" fmla="*/ 308114 w 622377"/>
              <a:gd name="connsiteY96" fmla="*/ 108402 h 109895"/>
              <a:gd name="connsiteX97" fmla="*/ 272109 w 622377"/>
              <a:gd name="connsiteY97" fmla="*/ 108402 h 109895"/>
              <a:gd name="connsiteX98" fmla="*/ 272109 w 622377"/>
              <a:gd name="connsiteY98" fmla="*/ 1307 h 109895"/>
              <a:gd name="connsiteX99" fmla="*/ 307367 w 622377"/>
              <a:gd name="connsiteY99" fmla="*/ 47045 h 109895"/>
              <a:gd name="connsiteX100" fmla="*/ 323800 w 622377"/>
              <a:gd name="connsiteY100" fmla="*/ 42565 h 109895"/>
              <a:gd name="connsiteX101" fmla="*/ 330225 w 622377"/>
              <a:gd name="connsiteY101" fmla="*/ 28190 h 109895"/>
              <a:gd name="connsiteX102" fmla="*/ 324547 w 622377"/>
              <a:gd name="connsiteY102" fmla="*/ 17175 h 109895"/>
              <a:gd name="connsiteX103" fmla="*/ 308413 w 622377"/>
              <a:gd name="connsiteY103" fmla="*/ 14188 h 109895"/>
              <a:gd name="connsiteX104" fmla="*/ 286152 w 622377"/>
              <a:gd name="connsiteY104" fmla="*/ 14188 h 109895"/>
              <a:gd name="connsiteX105" fmla="*/ 286152 w 622377"/>
              <a:gd name="connsiteY105" fmla="*/ 47045 h 109895"/>
              <a:gd name="connsiteX106" fmla="*/ 307367 w 622377"/>
              <a:gd name="connsiteY106" fmla="*/ 47045 h 109895"/>
              <a:gd name="connsiteX107" fmla="*/ 308114 w 622377"/>
              <a:gd name="connsiteY107" fmla="*/ 95707 h 109895"/>
              <a:gd name="connsiteX108" fmla="*/ 326490 w 622377"/>
              <a:gd name="connsiteY108" fmla="*/ 91849 h 109895"/>
              <a:gd name="connsiteX109" fmla="*/ 333511 w 622377"/>
              <a:gd name="connsiteY109" fmla="*/ 77786 h 109895"/>
              <a:gd name="connsiteX110" fmla="*/ 326938 w 622377"/>
              <a:gd name="connsiteY110" fmla="*/ 63722 h 109895"/>
              <a:gd name="connsiteX111" fmla="*/ 306470 w 622377"/>
              <a:gd name="connsiteY111" fmla="*/ 59740 h 109895"/>
              <a:gd name="connsiteX112" fmla="*/ 286152 w 622377"/>
              <a:gd name="connsiteY112" fmla="*/ 59740 h 109895"/>
              <a:gd name="connsiteX113" fmla="*/ 286152 w 622377"/>
              <a:gd name="connsiteY113" fmla="*/ 95707 h 109895"/>
              <a:gd name="connsiteX114" fmla="*/ 308114 w 622377"/>
              <a:gd name="connsiteY114" fmla="*/ 95707 h 109895"/>
              <a:gd name="connsiteX115" fmla="*/ 368396 w 622377"/>
              <a:gd name="connsiteY115" fmla="*/ 1307 h 109895"/>
              <a:gd name="connsiteX116" fmla="*/ 434728 w 622377"/>
              <a:gd name="connsiteY116" fmla="*/ 1307 h 109895"/>
              <a:gd name="connsiteX117" fmla="*/ 434728 w 622377"/>
              <a:gd name="connsiteY117" fmla="*/ 14188 h 109895"/>
              <a:gd name="connsiteX118" fmla="*/ 382439 w 622377"/>
              <a:gd name="connsiteY118" fmla="*/ 14188 h 109895"/>
              <a:gd name="connsiteX119" fmla="*/ 382439 w 622377"/>
              <a:gd name="connsiteY119" fmla="*/ 46547 h 109895"/>
              <a:gd name="connsiteX120" fmla="*/ 426810 w 622377"/>
              <a:gd name="connsiteY120" fmla="*/ 46547 h 109895"/>
              <a:gd name="connsiteX121" fmla="*/ 426810 w 622377"/>
              <a:gd name="connsiteY121" fmla="*/ 59242 h 109895"/>
              <a:gd name="connsiteX122" fmla="*/ 382439 w 622377"/>
              <a:gd name="connsiteY122" fmla="*/ 59242 h 109895"/>
              <a:gd name="connsiteX123" fmla="*/ 382439 w 622377"/>
              <a:gd name="connsiteY123" fmla="*/ 95707 h 109895"/>
              <a:gd name="connsiteX124" fmla="*/ 435475 w 622377"/>
              <a:gd name="connsiteY124" fmla="*/ 95707 h 109895"/>
              <a:gd name="connsiteX125" fmla="*/ 435475 w 622377"/>
              <a:gd name="connsiteY125" fmla="*/ 108402 h 109895"/>
              <a:gd name="connsiteX126" fmla="*/ 368396 w 622377"/>
              <a:gd name="connsiteY126" fmla="*/ 108402 h 109895"/>
              <a:gd name="connsiteX127" fmla="*/ 368396 w 622377"/>
              <a:gd name="connsiteY127" fmla="*/ 1307 h 109895"/>
              <a:gd name="connsiteX128" fmla="*/ 545531 w 622377"/>
              <a:gd name="connsiteY128" fmla="*/ 108402 h 109895"/>
              <a:gd name="connsiteX129" fmla="*/ 530591 w 622377"/>
              <a:gd name="connsiteY129" fmla="*/ 108402 h 109895"/>
              <a:gd name="connsiteX130" fmla="*/ 519536 w 622377"/>
              <a:gd name="connsiteY130" fmla="*/ 77786 h 109895"/>
              <a:gd name="connsiteX131" fmla="*/ 472177 w 622377"/>
              <a:gd name="connsiteY131" fmla="*/ 77786 h 109895"/>
              <a:gd name="connsiteX132" fmla="*/ 461271 w 622377"/>
              <a:gd name="connsiteY132" fmla="*/ 108402 h 109895"/>
              <a:gd name="connsiteX133" fmla="*/ 448124 w 622377"/>
              <a:gd name="connsiteY133" fmla="*/ 108402 h 109895"/>
              <a:gd name="connsiteX134" fmla="*/ 486220 w 622377"/>
              <a:gd name="connsiteY134" fmla="*/ 1307 h 109895"/>
              <a:gd name="connsiteX135" fmla="*/ 507136 w 622377"/>
              <a:gd name="connsiteY135" fmla="*/ 1307 h 109895"/>
              <a:gd name="connsiteX136" fmla="*/ 545531 w 622377"/>
              <a:gd name="connsiteY136" fmla="*/ 108402 h 109895"/>
              <a:gd name="connsiteX137" fmla="*/ 476808 w 622377"/>
              <a:gd name="connsiteY137" fmla="*/ 65091 h 109895"/>
              <a:gd name="connsiteX138" fmla="*/ 515054 w 622377"/>
              <a:gd name="connsiteY138" fmla="*/ 65091 h 109895"/>
              <a:gd name="connsiteX139" fmla="*/ 495931 w 622377"/>
              <a:gd name="connsiteY139" fmla="*/ 11761 h 109895"/>
              <a:gd name="connsiteX140" fmla="*/ 476808 w 622377"/>
              <a:gd name="connsiteY140" fmla="*/ 65091 h 109895"/>
              <a:gd name="connsiteX141" fmla="*/ 585028 w 622377"/>
              <a:gd name="connsiteY141" fmla="*/ 109896 h 109895"/>
              <a:gd name="connsiteX142" fmla="*/ 556493 w 622377"/>
              <a:gd name="connsiteY142" fmla="*/ 102304 h 109895"/>
              <a:gd name="connsiteX143" fmla="*/ 556493 w 622377"/>
              <a:gd name="connsiteY143" fmla="*/ 87618 h 109895"/>
              <a:gd name="connsiteX144" fmla="*/ 569640 w 622377"/>
              <a:gd name="connsiteY144" fmla="*/ 95272 h 109895"/>
              <a:gd name="connsiteX145" fmla="*/ 585028 w 622377"/>
              <a:gd name="connsiteY145" fmla="*/ 97637 h 109895"/>
              <a:gd name="connsiteX146" fmla="*/ 602059 w 622377"/>
              <a:gd name="connsiteY146" fmla="*/ 90916 h 109895"/>
              <a:gd name="connsiteX147" fmla="*/ 608185 w 622377"/>
              <a:gd name="connsiteY147" fmla="*/ 73305 h 109895"/>
              <a:gd name="connsiteX148" fmla="*/ 602209 w 622377"/>
              <a:gd name="connsiteY148" fmla="*/ 56255 h 109895"/>
              <a:gd name="connsiteX149" fmla="*/ 587120 w 622377"/>
              <a:gd name="connsiteY149" fmla="*/ 50903 h 109895"/>
              <a:gd name="connsiteX150" fmla="*/ 576513 w 622377"/>
              <a:gd name="connsiteY150" fmla="*/ 53143 h 109895"/>
              <a:gd name="connsiteX151" fmla="*/ 570387 w 622377"/>
              <a:gd name="connsiteY151" fmla="*/ 57624 h 109895"/>
              <a:gd name="connsiteX152" fmla="*/ 559481 w 622377"/>
              <a:gd name="connsiteY152" fmla="*/ 57624 h 109895"/>
              <a:gd name="connsiteX153" fmla="*/ 559481 w 622377"/>
              <a:gd name="connsiteY153" fmla="*/ 1307 h 109895"/>
              <a:gd name="connsiteX154" fmla="*/ 617447 w 622377"/>
              <a:gd name="connsiteY154" fmla="*/ 1307 h 109895"/>
              <a:gd name="connsiteX155" fmla="*/ 617447 w 622377"/>
              <a:gd name="connsiteY155" fmla="*/ 14188 h 109895"/>
              <a:gd name="connsiteX156" fmla="*/ 571732 w 622377"/>
              <a:gd name="connsiteY156" fmla="*/ 14188 h 109895"/>
              <a:gd name="connsiteX157" fmla="*/ 571732 w 622377"/>
              <a:gd name="connsiteY157" fmla="*/ 44805 h 109895"/>
              <a:gd name="connsiteX158" fmla="*/ 579052 w 622377"/>
              <a:gd name="connsiteY158" fmla="*/ 40885 h 109895"/>
              <a:gd name="connsiteX159" fmla="*/ 589361 w 622377"/>
              <a:gd name="connsiteY159" fmla="*/ 39080 h 109895"/>
              <a:gd name="connsiteX160" fmla="*/ 606093 w 622377"/>
              <a:gd name="connsiteY160" fmla="*/ 43000 h 109895"/>
              <a:gd name="connsiteX161" fmla="*/ 617895 w 622377"/>
              <a:gd name="connsiteY161" fmla="*/ 54326 h 109895"/>
              <a:gd name="connsiteX162" fmla="*/ 622377 w 622377"/>
              <a:gd name="connsiteY162" fmla="*/ 72995 h 109895"/>
              <a:gd name="connsiteX163" fmla="*/ 617746 w 622377"/>
              <a:gd name="connsiteY163" fmla="*/ 92410 h 109895"/>
              <a:gd name="connsiteX164" fmla="*/ 604898 w 622377"/>
              <a:gd name="connsiteY164" fmla="*/ 105415 h 109895"/>
              <a:gd name="connsiteX165" fmla="*/ 585028 w 622377"/>
              <a:gd name="connsiteY165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622377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36661" y="109896"/>
                </a:moveTo>
                <a:cubicBezTo>
                  <a:pt x="129889" y="109896"/>
                  <a:pt x="123813" y="107967"/>
                  <a:pt x="118435" y="104047"/>
                </a:cubicBezTo>
                <a:cubicBezTo>
                  <a:pt x="113057" y="100188"/>
                  <a:pt x="108824" y="94214"/>
                  <a:pt x="105736" y="86125"/>
                </a:cubicBezTo>
                <a:cubicBezTo>
                  <a:pt x="102748" y="77972"/>
                  <a:pt x="101254" y="67518"/>
                  <a:pt x="101254" y="54761"/>
                </a:cubicBezTo>
                <a:cubicBezTo>
                  <a:pt x="101254" y="41942"/>
                  <a:pt x="102748" y="31488"/>
                  <a:pt x="105736" y="23398"/>
                </a:cubicBezTo>
                <a:cubicBezTo>
                  <a:pt x="108824" y="15371"/>
                  <a:pt x="113057" y="9459"/>
                  <a:pt x="118435" y="5663"/>
                </a:cubicBezTo>
                <a:cubicBezTo>
                  <a:pt x="123813" y="1867"/>
                  <a:pt x="129889" y="0"/>
                  <a:pt x="136661" y="0"/>
                </a:cubicBezTo>
                <a:cubicBezTo>
                  <a:pt x="143434" y="0"/>
                  <a:pt x="149460" y="1867"/>
                  <a:pt x="154738" y="5663"/>
                </a:cubicBezTo>
                <a:cubicBezTo>
                  <a:pt x="160017" y="9459"/>
                  <a:pt x="164150" y="15371"/>
                  <a:pt x="167138" y="23398"/>
                </a:cubicBezTo>
                <a:cubicBezTo>
                  <a:pt x="170126" y="31363"/>
                  <a:pt x="171620" y="41756"/>
                  <a:pt x="171620" y="54512"/>
                </a:cubicBezTo>
                <a:cubicBezTo>
                  <a:pt x="171620" y="67145"/>
                  <a:pt x="170126" y="77599"/>
                  <a:pt x="167138" y="85876"/>
                </a:cubicBezTo>
                <a:cubicBezTo>
                  <a:pt x="164150" y="94027"/>
                  <a:pt x="160017" y="100064"/>
                  <a:pt x="154738" y="104047"/>
                </a:cubicBezTo>
                <a:cubicBezTo>
                  <a:pt x="149460" y="107967"/>
                  <a:pt x="143434" y="109896"/>
                  <a:pt x="136661" y="109896"/>
                </a:cubicBezTo>
                <a:close/>
                <a:moveTo>
                  <a:pt x="136512" y="98072"/>
                </a:moveTo>
                <a:cubicBezTo>
                  <a:pt x="140994" y="98072"/>
                  <a:pt x="144779" y="96766"/>
                  <a:pt x="147866" y="94089"/>
                </a:cubicBezTo>
                <a:cubicBezTo>
                  <a:pt x="151053" y="91289"/>
                  <a:pt x="153444" y="86747"/>
                  <a:pt x="155037" y="80462"/>
                </a:cubicBezTo>
                <a:cubicBezTo>
                  <a:pt x="156730" y="74114"/>
                  <a:pt x="157577" y="65589"/>
                  <a:pt x="157577" y="54948"/>
                </a:cubicBezTo>
                <a:cubicBezTo>
                  <a:pt x="157577" y="44307"/>
                  <a:pt x="156780" y="35844"/>
                  <a:pt x="155187" y="29559"/>
                </a:cubicBezTo>
                <a:cubicBezTo>
                  <a:pt x="153593" y="23150"/>
                  <a:pt x="151203" y="18669"/>
                  <a:pt x="148016" y="15931"/>
                </a:cubicBezTo>
                <a:cubicBezTo>
                  <a:pt x="144928" y="13192"/>
                  <a:pt x="141143" y="11761"/>
                  <a:pt x="136661" y="11761"/>
                </a:cubicBezTo>
                <a:cubicBezTo>
                  <a:pt x="132179" y="11761"/>
                  <a:pt x="128345" y="13192"/>
                  <a:pt x="125158" y="15931"/>
                </a:cubicBezTo>
                <a:cubicBezTo>
                  <a:pt x="121971" y="18669"/>
                  <a:pt x="119530" y="23150"/>
                  <a:pt x="117837" y="29559"/>
                </a:cubicBezTo>
                <a:cubicBezTo>
                  <a:pt x="116144" y="35844"/>
                  <a:pt x="115298" y="44307"/>
                  <a:pt x="115298" y="54948"/>
                </a:cubicBezTo>
                <a:cubicBezTo>
                  <a:pt x="115298" y="65589"/>
                  <a:pt x="116094" y="74114"/>
                  <a:pt x="117688" y="80462"/>
                </a:cubicBezTo>
                <a:cubicBezTo>
                  <a:pt x="119381" y="86747"/>
                  <a:pt x="121821" y="91289"/>
                  <a:pt x="125008" y="94089"/>
                </a:cubicBezTo>
                <a:cubicBezTo>
                  <a:pt x="128195" y="96766"/>
                  <a:pt x="132030" y="98072"/>
                  <a:pt x="136512" y="98072"/>
                </a:cubicBezTo>
                <a:close/>
                <a:moveTo>
                  <a:pt x="218799" y="109896"/>
                </a:moveTo>
                <a:cubicBezTo>
                  <a:pt x="212026" y="109896"/>
                  <a:pt x="205951" y="107967"/>
                  <a:pt x="200572" y="104047"/>
                </a:cubicBezTo>
                <a:cubicBezTo>
                  <a:pt x="195194" y="100188"/>
                  <a:pt x="190961" y="94214"/>
                  <a:pt x="187874" y="86125"/>
                </a:cubicBezTo>
                <a:cubicBezTo>
                  <a:pt x="184886" y="77972"/>
                  <a:pt x="183392" y="67518"/>
                  <a:pt x="183392" y="54761"/>
                </a:cubicBezTo>
                <a:cubicBezTo>
                  <a:pt x="183392" y="41942"/>
                  <a:pt x="184886" y="31488"/>
                  <a:pt x="187874" y="23398"/>
                </a:cubicBezTo>
                <a:cubicBezTo>
                  <a:pt x="190961" y="15371"/>
                  <a:pt x="195194" y="9459"/>
                  <a:pt x="200572" y="5663"/>
                </a:cubicBezTo>
                <a:cubicBezTo>
                  <a:pt x="205951" y="1867"/>
                  <a:pt x="212026" y="0"/>
                  <a:pt x="218799" y="0"/>
                </a:cubicBezTo>
                <a:cubicBezTo>
                  <a:pt x="225572" y="0"/>
                  <a:pt x="231597" y="1867"/>
                  <a:pt x="236876" y="5663"/>
                </a:cubicBezTo>
                <a:cubicBezTo>
                  <a:pt x="242155" y="9459"/>
                  <a:pt x="246288" y="15371"/>
                  <a:pt x="249276" y="23398"/>
                </a:cubicBezTo>
                <a:cubicBezTo>
                  <a:pt x="252264" y="31363"/>
                  <a:pt x="253758" y="41756"/>
                  <a:pt x="253758" y="54512"/>
                </a:cubicBezTo>
                <a:cubicBezTo>
                  <a:pt x="253758" y="67145"/>
                  <a:pt x="252264" y="77599"/>
                  <a:pt x="249276" y="85876"/>
                </a:cubicBezTo>
                <a:cubicBezTo>
                  <a:pt x="246288" y="94027"/>
                  <a:pt x="242155" y="100064"/>
                  <a:pt x="236876" y="104047"/>
                </a:cubicBezTo>
                <a:cubicBezTo>
                  <a:pt x="231597" y="107967"/>
                  <a:pt x="225572" y="109896"/>
                  <a:pt x="218799" y="109896"/>
                </a:cubicBezTo>
                <a:close/>
                <a:moveTo>
                  <a:pt x="218649" y="98072"/>
                </a:moveTo>
                <a:cubicBezTo>
                  <a:pt x="223131" y="98072"/>
                  <a:pt x="226916" y="96766"/>
                  <a:pt x="230004" y="94089"/>
                </a:cubicBezTo>
                <a:cubicBezTo>
                  <a:pt x="233191" y="91289"/>
                  <a:pt x="235581" y="86747"/>
                  <a:pt x="237175" y="80462"/>
                </a:cubicBezTo>
                <a:cubicBezTo>
                  <a:pt x="238868" y="74114"/>
                  <a:pt x="239714" y="65589"/>
                  <a:pt x="239714" y="54948"/>
                </a:cubicBezTo>
                <a:cubicBezTo>
                  <a:pt x="239714" y="44307"/>
                  <a:pt x="238918" y="35844"/>
                  <a:pt x="237324" y="29559"/>
                </a:cubicBezTo>
                <a:cubicBezTo>
                  <a:pt x="235730" y="23150"/>
                  <a:pt x="233340" y="18669"/>
                  <a:pt x="230153" y="15931"/>
                </a:cubicBezTo>
                <a:cubicBezTo>
                  <a:pt x="227065" y="13192"/>
                  <a:pt x="223281" y="11761"/>
                  <a:pt x="218799" y="11761"/>
                </a:cubicBezTo>
                <a:cubicBezTo>
                  <a:pt x="214317" y="11761"/>
                  <a:pt x="210482" y="13192"/>
                  <a:pt x="207295" y="15931"/>
                </a:cubicBezTo>
                <a:cubicBezTo>
                  <a:pt x="204108" y="18669"/>
                  <a:pt x="201668" y="23150"/>
                  <a:pt x="199975" y="29559"/>
                </a:cubicBezTo>
                <a:cubicBezTo>
                  <a:pt x="198282" y="35844"/>
                  <a:pt x="197435" y="44307"/>
                  <a:pt x="197435" y="54948"/>
                </a:cubicBezTo>
                <a:cubicBezTo>
                  <a:pt x="197435" y="65589"/>
                  <a:pt x="198232" y="74114"/>
                  <a:pt x="199825" y="80462"/>
                </a:cubicBezTo>
                <a:cubicBezTo>
                  <a:pt x="201519" y="86747"/>
                  <a:pt x="203959" y="91289"/>
                  <a:pt x="207146" y="94089"/>
                </a:cubicBezTo>
                <a:cubicBezTo>
                  <a:pt x="210333" y="96766"/>
                  <a:pt x="214168" y="98072"/>
                  <a:pt x="218649" y="98072"/>
                </a:cubicBezTo>
                <a:close/>
                <a:moveTo>
                  <a:pt x="272109" y="1307"/>
                </a:moveTo>
                <a:lnTo>
                  <a:pt x="308413" y="1307"/>
                </a:lnTo>
                <a:cubicBezTo>
                  <a:pt x="320165" y="1307"/>
                  <a:pt x="329079" y="3298"/>
                  <a:pt x="335155" y="7281"/>
                </a:cubicBezTo>
                <a:cubicBezTo>
                  <a:pt x="341330" y="11264"/>
                  <a:pt x="344417" y="17984"/>
                  <a:pt x="344417" y="27443"/>
                </a:cubicBezTo>
                <a:cubicBezTo>
                  <a:pt x="344417" y="35097"/>
                  <a:pt x="342475" y="40947"/>
                  <a:pt x="338591" y="44930"/>
                </a:cubicBezTo>
                <a:cubicBezTo>
                  <a:pt x="334706" y="48788"/>
                  <a:pt x="329527" y="51463"/>
                  <a:pt x="323053" y="52832"/>
                </a:cubicBezTo>
                <a:cubicBezTo>
                  <a:pt x="331320" y="53828"/>
                  <a:pt x="337595" y="56255"/>
                  <a:pt x="341877" y="60175"/>
                </a:cubicBezTo>
                <a:cubicBezTo>
                  <a:pt x="346160" y="63971"/>
                  <a:pt x="348302" y="69696"/>
                  <a:pt x="348302" y="77475"/>
                </a:cubicBezTo>
                <a:cubicBezTo>
                  <a:pt x="348302" y="84880"/>
                  <a:pt x="346559" y="90854"/>
                  <a:pt x="343073" y="95397"/>
                </a:cubicBezTo>
                <a:cubicBezTo>
                  <a:pt x="339587" y="100002"/>
                  <a:pt x="334806" y="103300"/>
                  <a:pt x="328730" y="105415"/>
                </a:cubicBezTo>
                <a:cubicBezTo>
                  <a:pt x="322655" y="107406"/>
                  <a:pt x="315783" y="108402"/>
                  <a:pt x="308114" y="108402"/>
                </a:cubicBezTo>
                <a:lnTo>
                  <a:pt x="272109" y="108402"/>
                </a:lnTo>
                <a:lnTo>
                  <a:pt x="272109" y="1307"/>
                </a:lnTo>
                <a:close/>
                <a:moveTo>
                  <a:pt x="307367" y="47045"/>
                </a:moveTo>
                <a:cubicBezTo>
                  <a:pt x="314139" y="47045"/>
                  <a:pt x="319617" y="45552"/>
                  <a:pt x="323800" y="42565"/>
                </a:cubicBezTo>
                <a:cubicBezTo>
                  <a:pt x="328083" y="39453"/>
                  <a:pt x="330225" y="34662"/>
                  <a:pt x="330225" y="28190"/>
                </a:cubicBezTo>
                <a:cubicBezTo>
                  <a:pt x="330225" y="22714"/>
                  <a:pt x="328332" y="19042"/>
                  <a:pt x="324547" y="17175"/>
                </a:cubicBezTo>
                <a:cubicBezTo>
                  <a:pt x="320763" y="15184"/>
                  <a:pt x="315384" y="14188"/>
                  <a:pt x="308413" y="14188"/>
                </a:cubicBezTo>
                <a:lnTo>
                  <a:pt x="286152" y="14188"/>
                </a:lnTo>
                <a:lnTo>
                  <a:pt x="286152" y="47045"/>
                </a:lnTo>
                <a:lnTo>
                  <a:pt x="307367" y="47045"/>
                </a:lnTo>
                <a:close/>
                <a:moveTo>
                  <a:pt x="308114" y="95707"/>
                </a:moveTo>
                <a:cubicBezTo>
                  <a:pt x="315683" y="95707"/>
                  <a:pt x="321808" y="94401"/>
                  <a:pt x="326490" y="91849"/>
                </a:cubicBezTo>
                <a:cubicBezTo>
                  <a:pt x="331171" y="89236"/>
                  <a:pt x="333511" y="84569"/>
                  <a:pt x="333511" y="77786"/>
                </a:cubicBezTo>
                <a:cubicBezTo>
                  <a:pt x="333511" y="71003"/>
                  <a:pt x="331320" y="66336"/>
                  <a:pt x="326938" y="63722"/>
                </a:cubicBezTo>
                <a:cubicBezTo>
                  <a:pt x="322655" y="61046"/>
                  <a:pt x="315832" y="59740"/>
                  <a:pt x="306470" y="59740"/>
                </a:cubicBezTo>
                <a:lnTo>
                  <a:pt x="286152" y="59740"/>
                </a:lnTo>
                <a:lnTo>
                  <a:pt x="286152" y="95707"/>
                </a:lnTo>
                <a:lnTo>
                  <a:pt x="308114" y="95707"/>
                </a:lnTo>
                <a:close/>
                <a:moveTo>
                  <a:pt x="368396" y="1307"/>
                </a:moveTo>
                <a:lnTo>
                  <a:pt x="434728" y="1307"/>
                </a:lnTo>
                <a:lnTo>
                  <a:pt x="434728" y="14188"/>
                </a:lnTo>
                <a:lnTo>
                  <a:pt x="382439" y="14188"/>
                </a:lnTo>
                <a:lnTo>
                  <a:pt x="382439" y="46547"/>
                </a:lnTo>
                <a:lnTo>
                  <a:pt x="426810" y="46547"/>
                </a:lnTo>
                <a:lnTo>
                  <a:pt x="426810" y="59242"/>
                </a:lnTo>
                <a:lnTo>
                  <a:pt x="382439" y="59242"/>
                </a:lnTo>
                <a:lnTo>
                  <a:pt x="382439" y="95707"/>
                </a:lnTo>
                <a:lnTo>
                  <a:pt x="435475" y="95707"/>
                </a:lnTo>
                <a:lnTo>
                  <a:pt x="435475" y="108402"/>
                </a:lnTo>
                <a:lnTo>
                  <a:pt x="368396" y="108402"/>
                </a:lnTo>
                <a:lnTo>
                  <a:pt x="368396" y="1307"/>
                </a:lnTo>
                <a:close/>
                <a:moveTo>
                  <a:pt x="545531" y="108402"/>
                </a:moveTo>
                <a:lnTo>
                  <a:pt x="530591" y="108402"/>
                </a:lnTo>
                <a:lnTo>
                  <a:pt x="519536" y="77786"/>
                </a:lnTo>
                <a:lnTo>
                  <a:pt x="472177" y="77786"/>
                </a:lnTo>
                <a:lnTo>
                  <a:pt x="461271" y="108402"/>
                </a:lnTo>
                <a:lnTo>
                  <a:pt x="448124" y="108402"/>
                </a:lnTo>
                <a:lnTo>
                  <a:pt x="486220" y="1307"/>
                </a:lnTo>
                <a:lnTo>
                  <a:pt x="507136" y="1307"/>
                </a:lnTo>
                <a:lnTo>
                  <a:pt x="545531" y="108402"/>
                </a:lnTo>
                <a:close/>
                <a:moveTo>
                  <a:pt x="476808" y="65091"/>
                </a:moveTo>
                <a:lnTo>
                  <a:pt x="515054" y="65091"/>
                </a:lnTo>
                <a:lnTo>
                  <a:pt x="495931" y="11761"/>
                </a:lnTo>
                <a:lnTo>
                  <a:pt x="476808" y="65091"/>
                </a:lnTo>
                <a:close/>
                <a:moveTo>
                  <a:pt x="585028" y="109896"/>
                </a:moveTo>
                <a:cubicBezTo>
                  <a:pt x="573076" y="109896"/>
                  <a:pt x="563565" y="107344"/>
                  <a:pt x="556493" y="102304"/>
                </a:cubicBezTo>
                <a:lnTo>
                  <a:pt x="556493" y="87618"/>
                </a:lnTo>
                <a:cubicBezTo>
                  <a:pt x="560676" y="91040"/>
                  <a:pt x="565059" y="93592"/>
                  <a:pt x="569640" y="95272"/>
                </a:cubicBezTo>
                <a:cubicBezTo>
                  <a:pt x="574222" y="96828"/>
                  <a:pt x="579351" y="97637"/>
                  <a:pt x="585028" y="97637"/>
                </a:cubicBezTo>
                <a:cubicBezTo>
                  <a:pt x="592398" y="97637"/>
                  <a:pt x="598075" y="95397"/>
                  <a:pt x="602059" y="90916"/>
                </a:cubicBezTo>
                <a:cubicBezTo>
                  <a:pt x="606143" y="86435"/>
                  <a:pt x="608185" y="80586"/>
                  <a:pt x="608185" y="73305"/>
                </a:cubicBezTo>
                <a:cubicBezTo>
                  <a:pt x="608185" y="65527"/>
                  <a:pt x="606193" y="59864"/>
                  <a:pt x="602209" y="56255"/>
                </a:cubicBezTo>
                <a:cubicBezTo>
                  <a:pt x="598225" y="52708"/>
                  <a:pt x="593195" y="50903"/>
                  <a:pt x="587120" y="50903"/>
                </a:cubicBezTo>
                <a:cubicBezTo>
                  <a:pt x="582737" y="50903"/>
                  <a:pt x="579202" y="51650"/>
                  <a:pt x="576513" y="53143"/>
                </a:cubicBezTo>
                <a:cubicBezTo>
                  <a:pt x="573823" y="54512"/>
                  <a:pt x="571782" y="56006"/>
                  <a:pt x="570387" y="57624"/>
                </a:cubicBezTo>
                <a:lnTo>
                  <a:pt x="559481" y="57624"/>
                </a:lnTo>
                <a:lnTo>
                  <a:pt x="559481" y="1307"/>
                </a:lnTo>
                <a:lnTo>
                  <a:pt x="617447" y="1307"/>
                </a:lnTo>
                <a:lnTo>
                  <a:pt x="617447" y="14188"/>
                </a:lnTo>
                <a:lnTo>
                  <a:pt x="571732" y="14188"/>
                </a:lnTo>
                <a:lnTo>
                  <a:pt x="571732" y="44805"/>
                </a:lnTo>
                <a:cubicBezTo>
                  <a:pt x="573724" y="43312"/>
                  <a:pt x="576164" y="42004"/>
                  <a:pt x="579052" y="40885"/>
                </a:cubicBezTo>
                <a:cubicBezTo>
                  <a:pt x="581940" y="39702"/>
                  <a:pt x="585377" y="39080"/>
                  <a:pt x="589361" y="39080"/>
                </a:cubicBezTo>
                <a:cubicBezTo>
                  <a:pt x="595536" y="39080"/>
                  <a:pt x="601113" y="40386"/>
                  <a:pt x="606093" y="43000"/>
                </a:cubicBezTo>
                <a:cubicBezTo>
                  <a:pt x="611073" y="45489"/>
                  <a:pt x="615007" y="49285"/>
                  <a:pt x="617895" y="54326"/>
                </a:cubicBezTo>
                <a:cubicBezTo>
                  <a:pt x="620884" y="59304"/>
                  <a:pt x="622377" y="65527"/>
                  <a:pt x="622377" y="72995"/>
                </a:cubicBezTo>
                <a:cubicBezTo>
                  <a:pt x="622377" y="80399"/>
                  <a:pt x="620834" y="86871"/>
                  <a:pt x="617746" y="92410"/>
                </a:cubicBezTo>
                <a:cubicBezTo>
                  <a:pt x="614758" y="98010"/>
                  <a:pt x="610476" y="102304"/>
                  <a:pt x="604898" y="105415"/>
                </a:cubicBezTo>
                <a:cubicBezTo>
                  <a:pt x="599321" y="108402"/>
                  <a:pt x="592697" y="109896"/>
                  <a:pt x="585028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9" name="Полилиния 988">
            <a:extLst>
              <a:ext uri="{FF2B5EF4-FFF2-40B4-BE49-F238E27FC236}">
                <a16:creationId xmlns:a16="http://schemas.microsoft.com/office/drawing/2014/main" id="{F578016B-F0A0-14B1-BAF8-905A6BAA49DD}"/>
              </a:ext>
            </a:extLst>
          </p:cNvPr>
          <p:cNvSpPr/>
          <p:nvPr userDrawn="1"/>
        </p:nvSpPr>
        <p:spPr>
          <a:xfrm>
            <a:off x="13814863" y="6692525"/>
            <a:ext cx="1398954" cy="726227"/>
          </a:xfrm>
          <a:custGeom>
            <a:avLst/>
            <a:gdLst>
              <a:gd name="connsiteX0" fmla="*/ 213 w 1198727"/>
              <a:gd name="connsiteY0" fmla="*/ 1422 h 622284"/>
              <a:gd name="connsiteX1" fmla="*/ 1198941 w 1198727"/>
              <a:gd name="connsiteY1" fmla="*/ 1422 h 622284"/>
              <a:gd name="connsiteX2" fmla="*/ 1198941 w 1198727"/>
              <a:gd name="connsiteY2" fmla="*/ 623706 h 622284"/>
              <a:gd name="connsiteX3" fmla="*/ 213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422"/>
                </a:moveTo>
                <a:lnTo>
                  <a:pt x="1198941" y="1422"/>
                </a:lnTo>
                <a:lnTo>
                  <a:pt x="1198941" y="623706"/>
                </a:lnTo>
                <a:lnTo>
                  <a:pt x="213" y="623706"/>
                </a:lnTo>
                <a:close/>
              </a:path>
            </a:pathLst>
          </a:custGeom>
          <a:solidFill>
            <a:srgbClr val="00EBC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0" name="Полилиния 989">
            <a:extLst>
              <a:ext uri="{FF2B5EF4-FFF2-40B4-BE49-F238E27FC236}">
                <a16:creationId xmlns:a16="http://schemas.microsoft.com/office/drawing/2014/main" id="{FE0A1736-0FFF-704A-29A7-187C5C4AFA5A}"/>
              </a:ext>
            </a:extLst>
          </p:cNvPr>
          <p:cNvSpPr/>
          <p:nvPr userDrawn="1"/>
        </p:nvSpPr>
        <p:spPr>
          <a:xfrm>
            <a:off x="13938073" y="6994273"/>
            <a:ext cx="724874" cy="128468"/>
          </a:xfrm>
          <a:custGeom>
            <a:avLst/>
            <a:gdLst>
              <a:gd name="connsiteX0" fmla="*/ 22111 w 621126"/>
              <a:gd name="connsiteY0" fmla="*/ 108588 h 110081"/>
              <a:gd name="connsiteX1" fmla="*/ 10159 w 621126"/>
              <a:gd name="connsiteY1" fmla="*/ 108588 h 110081"/>
              <a:gd name="connsiteX2" fmla="*/ 16434 w 621126"/>
              <a:gd name="connsiteY2" fmla="*/ 77661 h 110081"/>
              <a:gd name="connsiteX3" fmla="*/ 0 w 621126"/>
              <a:gd name="connsiteY3" fmla="*/ 77661 h 110081"/>
              <a:gd name="connsiteX4" fmla="*/ 0 w 621126"/>
              <a:gd name="connsiteY4" fmla="*/ 67206 h 110081"/>
              <a:gd name="connsiteX5" fmla="*/ 18675 w 621126"/>
              <a:gd name="connsiteY5" fmla="*/ 67206 h 110081"/>
              <a:gd name="connsiteX6" fmla="*/ 24202 w 621126"/>
              <a:gd name="connsiteY6" fmla="*/ 40012 h 110081"/>
              <a:gd name="connsiteX7" fmla="*/ 4034 w 621126"/>
              <a:gd name="connsiteY7" fmla="*/ 40012 h 110081"/>
              <a:gd name="connsiteX8" fmla="*/ 4034 w 621126"/>
              <a:gd name="connsiteY8" fmla="*/ 29559 h 110081"/>
              <a:gd name="connsiteX9" fmla="*/ 26294 w 621126"/>
              <a:gd name="connsiteY9" fmla="*/ 29559 h 110081"/>
              <a:gd name="connsiteX10" fmla="*/ 32120 w 621126"/>
              <a:gd name="connsiteY10" fmla="*/ 1493 h 110081"/>
              <a:gd name="connsiteX11" fmla="*/ 44072 w 621126"/>
              <a:gd name="connsiteY11" fmla="*/ 1493 h 110081"/>
              <a:gd name="connsiteX12" fmla="*/ 38246 w 621126"/>
              <a:gd name="connsiteY12" fmla="*/ 29559 h 110081"/>
              <a:gd name="connsiteX13" fmla="*/ 60655 w 621126"/>
              <a:gd name="connsiteY13" fmla="*/ 29559 h 110081"/>
              <a:gd name="connsiteX14" fmla="*/ 66482 w 621126"/>
              <a:gd name="connsiteY14" fmla="*/ 1493 h 110081"/>
              <a:gd name="connsiteX15" fmla="*/ 78434 w 621126"/>
              <a:gd name="connsiteY15" fmla="*/ 1493 h 110081"/>
              <a:gd name="connsiteX16" fmla="*/ 72607 w 621126"/>
              <a:gd name="connsiteY16" fmla="*/ 29559 h 110081"/>
              <a:gd name="connsiteX17" fmla="*/ 89340 w 621126"/>
              <a:gd name="connsiteY17" fmla="*/ 29559 h 110081"/>
              <a:gd name="connsiteX18" fmla="*/ 89340 w 621126"/>
              <a:gd name="connsiteY18" fmla="*/ 40012 h 110081"/>
              <a:gd name="connsiteX19" fmla="*/ 70516 w 621126"/>
              <a:gd name="connsiteY19" fmla="*/ 40012 h 110081"/>
              <a:gd name="connsiteX20" fmla="*/ 64988 w 621126"/>
              <a:gd name="connsiteY20" fmla="*/ 67206 h 110081"/>
              <a:gd name="connsiteX21" fmla="*/ 85306 w 621126"/>
              <a:gd name="connsiteY21" fmla="*/ 67206 h 110081"/>
              <a:gd name="connsiteX22" fmla="*/ 85306 w 621126"/>
              <a:gd name="connsiteY22" fmla="*/ 77661 h 110081"/>
              <a:gd name="connsiteX23" fmla="*/ 62747 w 621126"/>
              <a:gd name="connsiteY23" fmla="*/ 77661 h 110081"/>
              <a:gd name="connsiteX24" fmla="*/ 56472 w 621126"/>
              <a:gd name="connsiteY24" fmla="*/ 108588 h 110081"/>
              <a:gd name="connsiteX25" fmla="*/ 44520 w 621126"/>
              <a:gd name="connsiteY25" fmla="*/ 108588 h 110081"/>
              <a:gd name="connsiteX26" fmla="*/ 50795 w 621126"/>
              <a:gd name="connsiteY26" fmla="*/ 77661 h 110081"/>
              <a:gd name="connsiteX27" fmla="*/ 28386 w 621126"/>
              <a:gd name="connsiteY27" fmla="*/ 77661 h 110081"/>
              <a:gd name="connsiteX28" fmla="*/ 22111 w 621126"/>
              <a:gd name="connsiteY28" fmla="*/ 108588 h 110081"/>
              <a:gd name="connsiteX29" fmla="*/ 30626 w 621126"/>
              <a:gd name="connsiteY29" fmla="*/ 67206 h 110081"/>
              <a:gd name="connsiteX30" fmla="*/ 53036 w 621126"/>
              <a:gd name="connsiteY30" fmla="*/ 67206 h 110081"/>
              <a:gd name="connsiteX31" fmla="*/ 58564 w 621126"/>
              <a:gd name="connsiteY31" fmla="*/ 40012 h 110081"/>
              <a:gd name="connsiteX32" fmla="*/ 36154 w 621126"/>
              <a:gd name="connsiteY32" fmla="*/ 40012 h 110081"/>
              <a:gd name="connsiteX33" fmla="*/ 30626 w 621126"/>
              <a:gd name="connsiteY33" fmla="*/ 67206 h 110081"/>
              <a:gd name="connsiteX34" fmla="*/ 136661 w 621126"/>
              <a:gd name="connsiteY34" fmla="*/ 110082 h 110081"/>
              <a:gd name="connsiteX35" fmla="*/ 118435 w 621126"/>
              <a:gd name="connsiteY35" fmla="*/ 104233 h 110081"/>
              <a:gd name="connsiteX36" fmla="*/ 105736 w 621126"/>
              <a:gd name="connsiteY36" fmla="*/ 86311 h 110081"/>
              <a:gd name="connsiteX37" fmla="*/ 101254 w 621126"/>
              <a:gd name="connsiteY37" fmla="*/ 54947 h 110081"/>
              <a:gd name="connsiteX38" fmla="*/ 105736 w 621126"/>
              <a:gd name="connsiteY38" fmla="*/ 23584 h 110081"/>
              <a:gd name="connsiteX39" fmla="*/ 118435 w 621126"/>
              <a:gd name="connsiteY39" fmla="*/ 5849 h 110081"/>
              <a:gd name="connsiteX40" fmla="*/ 136661 w 621126"/>
              <a:gd name="connsiteY40" fmla="*/ 186 h 110081"/>
              <a:gd name="connsiteX41" fmla="*/ 154738 w 621126"/>
              <a:gd name="connsiteY41" fmla="*/ 5849 h 110081"/>
              <a:gd name="connsiteX42" fmla="*/ 167138 w 621126"/>
              <a:gd name="connsiteY42" fmla="*/ 23584 h 110081"/>
              <a:gd name="connsiteX43" fmla="*/ 171620 w 621126"/>
              <a:gd name="connsiteY43" fmla="*/ 54698 h 110081"/>
              <a:gd name="connsiteX44" fmla="*/ 167138 w 621126"/>
              <a:gd name="connsiteY44" fmla="*/ 86062 h 110081"/>
              <a:gd name="connsiteX45" fmla="*/ 154738 w 621126"/>
              <a:gd name="connsiteY45" fmla="*/ 104233 h 110081"/>
              <a:gd name="connsiteX46" fmla="*/ 136661 w 621126"/>
              <a:gd name="connsiteY46" fmla="*/ 110082 h 110081"/>
              <a:gd name="connsiteX47" fmla="*/ 136512 w 621126"/>
              <a:gd name="connsiteY47" fmla="*/ 98258 h 110081"/>
              <a:gd name="connsiteX48" fmla="*/ 147866 w 621126"/>
              <a:gd name="connsiteY48" fmla="*/ 94275 h 110081"/>
              <a:gd name="connsiteX49" fmla="*/ 155037 w 621126"/>
              <a:gd name="connsiteY49" fmla="*/ 80648 h 110081"/>
              <a:gd name="connsiteX50" fmla="*/ 157577 w 621126"/>
              <a:gd name="connsiteY50" fmla="*/ 55134 h 110081"/>
              <a:gd name="connsiteX51" fmla="*/ 155187 w 621126"/>
              <a:gd name="connsiteY51" fmla="*/ 29745 h 110081"/>
              <a:gd name="connsiteX52" fmla="*/ 148016 w 621126"/>
              <a:gd name="connsiteY52" fmla="*/ 16117 h 110081"/>
              <a:gd name="connsiteX53" fmla="*/ 136661 w 621126"/>
              <a:gd name="connsiteY53" fmla="*/ 11947 h 110081"/>
              <a:gd name="connsiteX54" fmla="*/ 125158 w 621126"/>
              <a:gd name="connsiteY54" fmla="*/ 16117 h 110081"/>
              <a:gd name="connsiteX55" fmla="*/ 117837 w 621126"/>
              <a:gd name="connsiteY55" fmla="*/ 29745 h 110081"/>
              <a:gd name="connsiteX56" fmla="*/ 115298 w 621126"/>
              <a:gd name="connsiteY56" fmla="*/ 55134 h 110081"/>
              <a:gd name="connsiteX57" fmla="*/ 117688 w 621126"/>
              <a:gd name="connsiteY57" fmla="*/ 80648 h 110081"/>
              <a:gd name="connsiteX58" fmla="*/ 125008 w 621126"/>
              <a:gd name="connsiteY58" fmla="*/ 94275 h 110081"/>
              <a:gd name="connsiteX59" fmla="*/ 136512 w 621126"/>
              <a:gd name="connsiteY59" fmla="*/ 98258 h 110081"/>
              <a:gd name="connsiteX60" fmla="*/ 218799 w 621126"/>
              <a:gd name="connsiteY60" fmla="*/ 110082 h 110081"/>
              <a:gd name="connsiteX61" fmla="*/ 200572 w 621126"/>
              <a:gd name="connsiteY61" fmla="*/ 104233 h 110081"/>
              <a:gd name="connsiteX62" fmla="*/ 187874 w 621126"/>
              <a:gd name="connsiteY62" fmla="*/ 86311 h 110081"/>
              <a:gd name="connsiteX63" fmla="*/ 183392 w 621126"/>
              <a:gd name="connsiteY63" fmla="*/ 54947 h 110081"/>
              <a:gd name="connsiteX64" fmla="*/ 187874 w 621126"/>
              <a:gd name="connsiteY64" fmla="*/ 23584 h 110081"/>
              <a:gd name="connsiteX65" fmla="*/ 200572 w 621126"/>
              <a:gd name="connsiteY65" fmla="*/ 5849 h 110081"/>
              <a:gd name="connsiteX66" fmla="*/ 218799 w 621126"/>
              <a:gd name="connsiteY66" fmla="*/ 186 h 110081"/>
              <a:gd name="connsiteX67" fmla="*/ 236876 w 621126"/>
              <a:gd name="connsiteY67" fmla="*/ 5849 h 110081"/>
              <a:gd name="connsiteX68" fmla="*/ 249276 w 621126"/>
              <a:gd name="connsiteY68" fmla="*/ 23584 h 110081"/>
              <a:gd name="connsiteX69" fmla="*/ 253758 w 621126"/>
              <a:gd name="connsiteY69" fmla="*/ 54698 h 110081"/>
              <a:gd name="connsiteX70" fmla="*/ 249276 w 621126"/>
              <a:gd name="connsiteY70" fmla="*/ 86062 h 110081"/>
              <a:gd name="connsiteX71" fmla="*/ 236876 w 621126"/>
              <a:gd name="connsiteY71" fmla="*/ 104233 h 110081"/>
              <a:gd name="connsiteX72" fmla="*/ 218799 w 621126"/>
              <a:gd name="connsiteY72" fmla="*/ 110082 h 110081"/>
              <a:gd name="connsiteX73" fmla="*/ 218649 w 621126"/>
              <a:gd name="connsiteY73" fmla="*/ 98258 h 110081"/>
              <a:gd name="connsiteX74" fmla="*/ 230004 w 621126"/>
              <a:gd name="connsiteY74" fmla="*/ 94275 h 110081"/>
              <a:gd name="connsiteX75" fmla="*/ 237175 w 621126"/>
              <a:gd name="connsiteY75" fmla="*/ 80648 h 110081"/>
              <a:gd name="connsiteX76" fmla="*/ 239714 w 621126"/>
              <a:gd name="connsiteY76" fmla="*/ 55134 h 110081"/>
              <a:gd name="connsiteX77" fmla="*/ 237324 w 621126"/>
              <a:gd name="connsiteY77" fmla="*/ 29745 h 110081"/>
              <a:gd name="connsiteX78" fmla="*/ 230153 w 621126"/>
              <a:gd name="connsiteY78" fmla="*/ 16117 h 110081"/>
              <a:gd name="connsiteX79" fmla="*/ 218799 w 621126"/>
              <a:gd name="connsiteY79" fmla="*/ 11947 h 110081"/>
              <a:gd name="connsiteX80" fmla="*/ 207295 w 621126"/>
              <a:gd name="connsiteY80" fmla="*/ 16117 h 110081"/>
              <a:gd name="connsiteX81" fmla="*/ 199975 w 621126"/>
              <a:gd name="connsiteY81" fmla="*/ 29745 h 110081"/>
              <a:gd name="connsiteX82" fmla="*/ 197435 w 621126"/>
              <a:gd name="connsiteY82" fmla="*/ 55134 h 110081"/>
              <a:gd name="connsiteX83" fmla="*/ 199825 w 621126"/>
              <a:gd name="connsiteY83" fmla="*/ 80648 h 110081"/>
              <a:gd name="connsiteX84" fmla="*/ 207146 w 621126"/>
              <a:gd name="connsiteY84" fmla="*/ 94275 h 110081"/>
              <a:gd name="connsiteX85" fmla="*/ 218649 w 621126"/>
              <a:gd name="connsiteY85" fmla="*/ 98258 h 110081"/>
              <a:gd name="connsiteX86" fmla="*/ 272109 w 621126"/>
              <a:gd name="connsiteY86" fmla="*/ 1493 h 110081"/>
              <a:gd name="connsiteX87" fmla="*/ 338441 w 621126"/>
              <a:gd name="connsiteY87" fmla="*/ 1493 h 110081"/>
              <a:gd name="connsiteX88" fmla="*/ 338441 w 621126"/>
              <a:gd name="connsiteY88" fmla="*/ 14374 h 110081"/>
              <a:gd name="connsiteX89" fmla="*/ 286152 w 621126"/>
              <a:gd name="connsiteY89" fmla="*/ 14374 h 110081"/>
              <a:gd name="connsiteX90" fmla="*/ 286152 w 621126"/>
              <a:gd name="connsiteY90" fmla="*/ 46734 h 110081"/>
              <a:gd name="connsiteX91" fmla="*/ 330523 w 621126"/>
              <a:gd name="connsiteY91" fmla="*/ 46734 h 110081"/>
              <a:gd name="connsiteX92" fmla="*/ 330523 w 621126"/>
              <a:gd name="connsiteY92" fmla="*/ 59428 h 110081"/>
              <a:gd name="connsiteX93" fmla="*/ 286152 w 621126"/>
              <a:gd name="connsiteY93" fmla="*/ 59428 h 110081"/>
              <a:gd name="connsiteX94" fmla="*/ 286152 w 621126"/>
              <a:gd name="connsiteY94" fmla="*/ 95893 h 110081"/>
              <a:gd name="connsiteX95" fmla="*/ 339188 w 621126"/>
              <a:gd name="connsiteY95" fmla="*/ 95893 h 110081"/>
              <a:gd name="connsiteX96" fmla="*/ 339188 w 621126"/>
              <a:gd name="connsiteY96" fmla="*/ 108588 h 110081"/>
              <a:gd name="connsiteX97" fmla="*/ 272109 w 621126"/>
              <a:gd name="connsiteY97" fmla="*/ 108588 h 110081"/>
              <a:gd name="connsiteX98" fmla="*/ 272109 w 621126"/>
              <a:gd name="connsiteY98" fmla="*/ 1493 h 110081"/>
              <a:gd name="connsiteX99" fmla="*/ 361393 w 621126"/>
              <a:gd name="connsiteY99" fmla="*/ 1493 h 110081"/>
              <a:gd name="connsiteX100" fmla="*/ 397696 w 621126"/>
              <a:gd name="connsiteY100" fmla="*/ 1493 h 110081"/>
              <a:gd name="connsiteX101" fmla="*/ 424438 w 621126"/>
              <a:gd name="connsiteY101" fmla="*/ 7467 h 110081"/>
              <a:gd name="connsiteX102" fmla="*/ 433701 w 621126"/>
              <a:gd name="connsiteY102" fmla="*/ 27629 h 110081"/>
              <a:gd name="connsiteX103" fmla="*/ 427874 w 621126"/>
              <a:gd name="connsiteY103" fmla="*/ 45116 h 110081"/>
              <a:gd name="connsiteX104" fmla="*/ 412337 w 621126"/>
              <a:gd name="connsiteY104" fmla="*/ 53018 h 110081"/>
              <a:gd name="connsiteX105" fmla="*/ 431161 w 621126"/>
              <a:gd name="connsiteY105" fmla="*/ 60361 h 110081"/>
              <a:gd name="connsiteX106" fmla="*/ 437585 w 621126"/>
              <a:gd name="connsiteY106" fmla="*/ 77661 h 110081"/>
              <a:gd name="connsiteX107" fmla="*/ 432356 w 621126"/>
              <a:gd name="connsiteY107" fmla="*/ 95583 h 110081"/>
              <a:gd name="connsiteX108" fmla="*/ 418014 w 621126"/>
              <a:gd name="connsiteY108" fmla="*/ 105601 h 110081"/>
              <a:gd name="connsiteX109" fmla="*/ 397397 w 621126"/>
              <a:gd name="connsiteY109" fmla="*/ 108588 h 110081"/>
              <a:gd name="connsiteX110" fmla="*/ 361393 w 621126"/>
              <a:gd name="connsiteY110" fmla="*/ 108588 h 110081"/>
              <a:gd name="connsiteX111" fmla="*/ 361393 w 621126"/>
              <a:gd name="connsiteY111" fmla="*/ 1493 h 110081"/>
              <a:gd name="connsiteX112" fmla="*/ 396650 w 621126"/>
              <a:gd name="connsiteY112" fmla="*/ 47231 h 110081"/>
              <a:gd name="connsiteX113" fmla="*/ 413084 w 621126"/>
              <a:gd name="connsiteY113" fmla="*/ 42751 h 110081"/>
              <a:gd name="connsiteX114" fmla="*/ 419508 w 621126"/>
              <a:gd name="connsiteY114" fmla="*/ 28376 h 110081"/>
              <a:gd name="connsiteX115" fmla="*/ 413831 w 621126"/>
              <a:gd name="connsiteY115" fmla="*/ 17361 h 110081"/>
              <a:gd name="connsiteX116" fmla="*/ 397696 w 621126"/>
              <a:gd name="connsiteY116" fmla="*/ 14374 h 110081"/>
              <a:gd name="connsiteX117" fmla="*/ 375436 w 621126"/>
              <a:gd name="connsiteY117" fmla="*/ 14374 h 110081"/>
              <a:gd name="connsiteX118" fmla="*/ 375436 w 621126"/>
              <a:gd name="connsiteY118" fmla="*/ 47231 h 110081"/>
              <a:gd name="connsiteX119" fmla="*/ 396650 w 621126"/>
              <a:gd name="connsiteY119" fmla="*/ 47231 h 110081"/>
              <a:gd name="connsiteX120" fmla="*/ 397397 w 621126"/>
              <a:gd name="connsiteY120" fmla="*/ 95893 h 110081"/>
              <a:gd name="connsiteX121" fmla="*/ 415773 w 621126"/>
              <a:gd name="connsiteY121" fmla="*/ 92035 h 110081"/>
              <a:gd name="connsiteX122" fmla="*/ 422795 w 621126"/>
              <a:gd name="connsiteY122" fmla="*/ 77972 h 110081"/>
              <a:gd name="connsiteX123" fmla="*/ 416221 w 621126"/>
              <a:gd name="connsiteY123" fmla="*/ 63908 h 110081"/>
              <a:gd name="connsiteX124" fmla="*/ 395754 w 621126"/>
              <a:gd name="connsiteY124" fmla="*/ 59926 h 110081"/>
              <a:gd name="connsiteX125" fmla="*/ 375436 w 621126"/>
              <a:gd name="connsiteY125" fmla="*/ 59926 h 110081"/>
              <a:gd name="connsiteX126" fmla="*/ 375436 w 621126"/>
              <a:gd name="connsiteY126" fmla="*/ 95893 h 110081"/>
              <a:gd name="connsiteX127" fmla="*/ 397397 w 621126"/>
              <a:gd name="connsiteY127" fmla="*/ 95893 h 110081"/>
              <a:gd name="connsiteX128" fmla="*/ 503420 w 621126"/>
              <a:gd name="connsiteY128" fmla="*/ 110082 h 110081"/>
              <a:gd name="connsiteX129" fmla="*/ 475632 w 621126"/>
              <a:gd name="connsiteY129" fmla="*/ 103486 h 110081"/>
              <a:gd name="connsiteX130" fmla="*/ 457256 w 621126"/>
              <a:gd name="connsiteY130" fmla="*/ 84693 h 110081"/>
              <a:gd name="connsiteX131" fmla="*/ 450682 w 621126"/>
              <a:gd name="connsiteY131" fmla="*/ 55134 h 110081"/>
              <a:gd name="connsiteX132" fmla="*/ 464278 w 621126"/>
              <a:gd name="connsiteY132" fmla="*/ 14810 h 110081"/>
              <a:gd name="connsiteX133" fmla="*/ 503121 w 621126"/>
              <a:gd name="connsiteY133" fmla="*/ 186 h 110081"/>
              <a:gd name="connsiteX134" fmla="*/ 521049 w 621126"/>
              <a:gd name="connsiteY134" fmla="*/ 2240 h 110081"/>
              <a:gd name="connsiteX135" fmla="*/ 535690 w 621126"/>
              <a:gd name="connsiteY135" fmla="*/ 7902 h 110081"/>
              <a:gd name="connsiteX136" fmla="*/ 535690 w 621126"/>
              <a:gd name="connsiteY136" fmla="*/ 21344 h 110081"/>
              <a:gd name="connsiteX137" fmla="*/ 520600 w 621126"/>
              <a:gd name="connsiteY137" fmla="*/ 15121 h 110081"/>
              <a:gd name="connsiteX138" fmla="*/ 502971 w 621126"/>
              <a:gd name="connsiteY138" fmla="*/ 12881 h 110081"/>
              <a:gd name="connsiteX139" fmla="*/ 475034 w 621126"/>
              <a:gd name="connsiteY139" fmla="*/ 23459 h 110081"/>
              <a:gd name="connsiteX140" fmla="*/ 465921 w 621126"/>
              <a:gd name="connsiteY140" fmla="*/ 55134 h 110081"/>
              <a:gd name="connsiteX141" fmla="*/ 475781 w 621126"/>
              <a:gd name="connsiteY141" fmla="*/ 86933 h 110081"/>
              <a:gd name="connsiteX142" fmla="*/ 504615 w 621126"/>
              <a:gd name="connsiteY142" fmla="*/ 97387 h 110081"/>
              <a:gd name="connsiteX143" fmla="*/ 535690 w 621126"/>
              <a:gd name="connsiteY143" fmla="*/ 87555 h 110081"/>
              <a:gd name="connsiteX144" fmla="*/ 535690 w 621126"/>
              <a:gd name="connsiteY144" fmla="*/ 100997 h 110081"/>
              <a:gd name="connsiteX145" fmla="*/ 521796 w 621126"/>
              <a:gd name="connsiteY145" fmla="*/ 107717 h 110081"/>
              <a:gd name="connsiteX146" fmla="*/ 503420 w 621126"/>
              <a:gd name="connsiteY146" fmla="*/ 110082 h 110081"/>
              <a:gd name="connsiteX147" fmla="*/ 569435 w 621126"/>
              <a:gd name="connsiteY147" fmla="*/ 58992 h 110081"/>
              <a:gd name="connsiteX148" fmla="*/ 569435 w 621126"/>
              <a:gd name="connsiteY148" fmla="*/ 46298 h 110081"/>
              <a:gd name="connsiteX149" fmla="*/ 583777 w 621126"/>
              <a:gd name="connsiteY149" fmla="*/ 46298 h 110081"/>
              <a:gd name="connsiteX150" fmla="*/ 597372 w 621126"/>
              <a:gd name="connsiteY150" fmla="*/ 41817 h 110081"/>
              <a:gd name="connsiteX151" fmla="*/ 602750 w 621126"/>
              <a:gd name="connsiteY151" fmla="*/ 28812 h 110081"/>
              <a:gd name="connsiteX152" fmla="*/ 597820 w 621126"/>
              <a:gd name="connsiteY152" fmla="*/ 16864 h 110081"/>
              <a:gd name="connsiteX153" fmla="*/ 583627 w 621126"/>
              <a:gd name="connsiteY153" fmla="*/ 12383 h 110081"/>
              <a:gd name="connsiteX154" fmla="*/ 568987 w 621126"/>
              <a:gd name="connsiteY154" fmla="*/ 15246 h 110081"/>
              <a:gd name="connsiteX155" fmla="*/ 554943 w 621126"/>
              <a:gd name="connsiteY155" fmla="*/ 24331 h 110081"/>
              <a:gd name="connsiteX156" fmla="*/ 554943 w 621126"/>
              <a:gd name="connsiteY156" fmla="*/ 9707 h 110081"/>
              <a:gd name="connsiteX157" fmla="*/ 583777 w 621126"/>
              <a:gd name="connsiteY157" fmla="*/ 0 h 110081"/>
              <a:gd name="connsiteX158" fmla="*/ 607830 w 621126"/>
              <a:gd name="connsiteY158" fmla="*/ 7779 h 110081"/>
              <a:gd name="connsiteX159" fmla="*/ 616644 w 621126"/>
              <a:gd name="connsiteY159" fmla="*/ 28065 h 110081"/>
              <a:gd name="connsiteX160" fmla="*/ 610967 w 621126"/>
              <a:gd name="connsiteY160" fmla="*/ 44244 h 110081"/>
              <a:gd name="connsiteX161" fmla="*/ 597671 w 621126"/>
              <a:gd name="connsiteY161" fmla="*/ 52147 h 110081"/>
              <a:gd name="connsiteX162" fmla="*/ 609174 w 621126"/>
              <a:gd name="connsiteY162" fmla="*/ 56441 h 110081"/>
              <a:gd name="connsiteX163" fmla="*/ 617839 w 621126"/>
              <a:gd name="connsiteY163" fmla="*/ 65153 h 110081"/>
              <a:gd name="connsiteX164" fmla="*/ 621126 w 621126"/>
              <a:gd name="connsiteY164" fmla="*/ 77661 h 110081"/>
              <a:gd name="connsiteX165" fmla="*/ 616196 w 621126"/>
              <a:gd name="connsiteY165" fmla="*/ 94836 h 110081"/>
              <a:gd name="connsiteX166" fmla="*/ 602601 w 621126"/>
              <a:gd name="connsiteY166" fmla="*/ 106224 h 110081"/>
              <a:gd name="connsiteX167" fmla="*/ 582731 w 621126"/>
              <a:gd name="connsiteY167" fmla="*/ 110082 h 110081"/>
              <a:gd name="connsiteX168" fmla="*/ 552254 w 621126"/>
              <a:gd name="connsiteY168" fmla="*/ 100997 h 110081"/>
              <a:gd name="connsiteX169" fmla="*/ 552254 w 621126"/>
              <a:gd name="connsiteY169" fmla="*/ 86062 h 110081"/>
              <a:gd name="connsiteX170" fmla="*/ 565999 w 621126"/>
              <a:gd name="connsiteY170" fmla="*/ 94711 h 110081"/>
              <a:gd name="connsiteX171" fmla="*/ 582880 w 621126"/>
              <a:gd name="connsiteY171" fmla="*/ 97823 h 110081"/>
              <a:gd name="connsiteX172" fmla="*/ 600211 w 621126"/>
              <a:gd name="connsiteY172" fmla="*/ 92596 h 110081"/>
              <a:gd name="connsiteX173" fmla="*/ 606635 w 621126"/>
              <a:gd name="connsiteY173" fmla="*/ 77972 h 110081"/>
              <a:gd name="connsiteX174" fmla="*/ 600808 w 621126"/>
              <a:gd name="connsiteY174" fmla="*/ 64095 h 110081"/>
              <a:gd name="connsiteX175" fmla="*/ 583179 w 621126"/>
              <a:gd name="connsiteY175" fmla="*/ 58992 h 110081"/>
              <a:gd name="connsiteX176" fmla="*/ 569435 w 621126"/>
              <a:gd name="connsiteY176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62112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272109" y="1493"/>
                </a:moveTo>
                <a:lnTo>
                  <a:pt x="338441" y="1493"/>
                </a:lnTo>
                <a:lnTo>
                  <a:pt x="338441" y="14374"/>
                </a:lnTo>
                <a:lnTo>
                  <a:pt x="286152" y="14374"/>
                </a:lnTo>
                <a:lnTo>
                  <a:pt x="286152" y="46734"/>
                </a:lnTo>
                <a:lnTo>
                  <a:pt x="330523" y="46734"/>
                </a:lnTo>
                <a:lnTo>
                  <a:pt x="330523" y="59428"/>
                </a:lnTo>
                <a:lnTo>
                  <a:pt x="286152" y="59428"/>
                </a:lnTo>
                <a:lnTo>
                  <a:pt x="286152" y="95893"/>
                </a:lnTo>
                <a:lnTo>
                  <a:pt x="339188" y="95893"/>
                </a:lnTo>
                <a:lnTo>
                  <a:pt x="339188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61393" y="1493"/>
                </a:moveTo>
                <a:lnTo>
                  <a:pt x="397696" y="1493"/>
                </a:lnTo>
                <a:cubicBezTo>
                  <a:pt x="409449" y="1493"/>
                  <a:pt x="418363" y="3484"/>
                  <a:pt x="424438" y="7467"/>
                </a:cubicBezTo>
                <a:cubicBezTo>
                  <a:pt x="430613" y="11450"/>
                  <a:pt x="433701" y="18170"/>
                  <a:pt x="433701" y="27629"/>
                </a:cubicBezTo>
                <a:cubicBezTo>
                  <a:pt x="433701" y="35283"/>
                  <a:pt x="431759" y="41133"/>
                  <a:pt x="427874" y="45116"/>
                </a:cubicBezTo>
                <a:cubicBezTo>
                  <a:pt x="423990" y="48974"/>
                  <a:pt x="418811" y="51649"/>
                  <a:pt x="412337" y="53018"/>
                </a:cubicBezTo>
                <a:cubicBezTo>
                  <a:pt x="420604" y="54014"/>
                  <a:pt x="426878" y="56441"/>
                  <a:pt x="431161" y="60361"/>
                </a:cubicBezTo>
                <a:cubicBezTo>
                  <a:pt x="435444" y="64157"/>
                  <a:pt x="437585" y="69882"/>
                  <a:pt x="437585" y="77661"/>
                </a:cubicBezTo>
                <a:cubicBezTo>
                  <a:pt x="437585" y="85066"/>
                  <a:pt x="435842" y="91040"/>
                  <a:pt x="432356" y="95583"/>
                </a:cubicBezTo>
                <a:cubicBezTo>
                  <a:pt x="428870" y="100188"/>
                  <a:pt x="424090" y="103486"/>
                  <a:pt x="418014" y="105601"/>
                </a:cubicBezTo>
                <a:cubicBezTo>
                  <a:pt x="411939" y="107592"/>
                  <a:pt x="405066" y="108588"/>
                  <a:pt x="397397" y="108588"/>
                </a:cubicBezTo>
                <a:lnTo>
                  <a:pt x="361393" y="108588"/>
                </a:lnTo>
                <a:lnTo>
                  <a:pt x="361393" y="1493"/>
                </a:lnTo>
                <a:close/>
                <a:moveTo>
                  <a:pt x="396650" y="47231"/>
                </a:moveTo>
                <a:cubicBezTo>
                  <a:pt x="403423" y="47231"/>
                  <a:pt x="408901" y="45738"/>
                  <a:pt x="413084" y="42751"/>
                </a:cubicBezTo>
                <a:cubicBezTo>
                  <a:pt x="417367" y="39639"/>
                  <a:pt x="419508" y="34848"/>
                  <a:pt x="419508" y="28376"/>
                </a:cubicBezTo>
                <a:cubicBezTo>
                  <a:pt x="419508" y="22900"/>
                  <a:pt x="417616" y="19228"/>
                  <a:pt x="413831" y="17361"/>
                </a:cubicBezTo>
                <a:cubicBezTo>
                  <a:pt x="410046" y="15370"/>
                  <a:pt x="404668" y="14374"/>
                  <a:pt x="397696" y="14374"/>
                </a:cubicBezTo>
                <a:lnTo>
                  <a:pt x="375436" y="14374"/>
                </a:lnTo>
                <a:lnTo>
                  <a:pt x="375436" y="47231"/>
                </a:lnTo>
                <a:lnTo>
                  <a:pt x="396650" y="47231"/>
                </a:lnTo>
                <a:close/>
                <a:moveTo>
                  <a:pt x="397397" y="95893"/>
                </a:moveTo>
                <a:cubicBezTo>
                  <a:pt x="404967" y="95893"/>
                  <a:pt x="411092" y="94587"/>
                  <a:pt x="415773" y="92035"/>
                </a:cubicBezTo>
                <a:cubicBezTo>
                  <a:pt x="420454" y="89422"/>
                  <a:pt x="422795" y="84755"/>
                  <a:pt x="422795" y="77972"/>
                </a:cubicBezTo>
                <a:cubicBezTo>
                  <a:pt x="422795" y="71189"/>
                  <a:pt x="420604" y="66522"/>
                  <a:pt x="416221" y="63908"/>
                </a:cubicBezTo>
                <a:cubicBezTo>
                  <a:pt x="411939" y="61233"/>
                  <a:pt x="405116" y="59926"/>
                  <a:pt x="395754" y="59926"/>
                </a:cubicBezTo>
                <a:lnTo>
                  <a:pt x="375436" y="59926"/>
                </a:lnTo>
                <a:lnTo>
                  <a:pt x="375436" y="95893"/>
                </a:lnTo>
                <a:lnTo>
                  <a:pt x="397397" y="95893"/>
                </a:lnTo>
                <a:close/>
                <a:moveTo>
                  <a:pt x="503420" y="110082"/>
                </a:moveTo>
                <a:cubicBezTo>
                  <a:pt x="492862" y="110082"/>
                  <a:pt x="483600" y="107904"/>
                  <a:pt x="475632" y="103486"/>
                </a:cubicBezTo>
                <a:cubicBezTo>
                  <a:pt x="467764" y="99129"/>
                  <a:pt x="461638" y="92844"/>
                  <a:pt x="457256" y="84693"/>
                </a:cubicBezTo>
                <a:cubicBezTo>
                  <a:pt x="452874" y="76416"/>
                  <a:pt x="450682" y="66584"/>
                  <a:pt x="450682" y="55134"/>
                </a:cubicBezTo>
                <a:cubicBezTo>
                  <a:pt x="450682" y="37897"/>
                  <a:pt x="455214" y="24455"/>
                  <a:pt x="464278" y="14810"/>
                </a:cubicBezTo>
                <a:cubicBezTo>
                  <a:pt x="473341" y="5040"/>
                  <a:pt x="486289" y="186"/>
                  <a:pt x="503121" y="186"/>
                </a:cubicBezTo>
                <a:cubicBezTo>
                  <a:pt x="509396" y="186"/>
                  <a:pt x="515371" y="871"/>
                  <a:pt x="521049" y="2240"/>
                </a:cubicBezTo>
                <a:cubicBezTo>
                  <a:pt x="526825" y="3547"/>
                  <a:pt x="531706" y="5414"/>
                  <a:pt x="535690" y="7902"/>
                </a:cubicBezTo>
                <a:lnTo>
                  <a:pt x="535690" y="21344"/>
                </a:lnTo>
                <a:cubicBezTo>
                  <a:pt x="531407" y="18669"/>
                  <a:pt x="526377" y="16615"/>
                  <a:pt x="520600" y="15121"/>
                </a:cubicBezTo>
                <a:cubicBezTo>
                  <a:pt x="514923" y="13628"/>
                  <a:pt x="509047" y="12881"/>
                  <a:pt x="502971" y="12881"/>
                </a:cubicBezTo>
                <a:cubicBezTo>
                  <a:pt x="490422" y="12881"/>
                  <a:pt x="481110" y="16366"/>
                  <a:pt x="475034" y="23459"/>
                </a:cubicBezTo>
                <a:cubicBezTo>
                  <a:pt x="468959" y="30554"/>
                  <a:pt x="465921" y="41071"/>
                  <a:pt x="465921" y="55134"/>
                </a:cubicBezTo>
                <a:cubicBezTo>
                  <a:pt x="465921" y="69260"/>
                  <a:pt x="469208" y="79839"/>
                  <a:pt x="475781" y="86933"/>
                </a:cubicBezTo>
                <a:cubicBezTo>
                  <a:pt x="482355" y="93902"/>
                  <a:pt x="491966" y="97387"/>
                  <a:pt x="504615" y="97387"/>
                </a:cubicBezTo>
                <a:cubicBezTo>
                  <a:pt x="516567" y="97387"/>
                  <a:pt x="526925" y="94089"/>
                  <a:pt x="535690" y="87555"/>
                </a:cubicBezTo>
                <a:lnTo>
                  <a:pt x="535690" y="100997"/>
                </a:lnTo>
                <a:cubicBezTo>
                  <a:pt x="532204" y="103734"/>
                  <a:pt x="527572" y="105974"/>
                  <a:pt x="521796" y="107717"/>
                </a:cubicBezTo>
                <a:cubicBezTo>
                  <a:pt x="516019" y="109273"/>
                  <a:pt x="509894" y="110082"/>
                  <a:pt x="503420" y="110082"/>
                </a:cubicBezTo>
                <a:close/>
                <a:moveTo>
                  <a:pt x="569435" y="58992"/>
                </a:moveTo>
                <a:lnTo>
                  <a:pt x="569435" y="46298"/>
                </a:lnTo>
                <a:lnTo>
                  <a:pt x="583777" y="46298"/>
                </a:lnTo>
                <a:cubicBezTo>
                  <a:pt x="589354" y="46298"/>
                  <a:pt x="593886" y="44804"/>
                  <a:pt x="597372" y="41817"/>
                </a:cubicBezTo>
                <a:cubicBezTo>
                  <a:pt x="600958" y="38768"/>
                  <a:pt x="602750" y="34412"/>
                  <a:pt x="602750" y="28812"/>
                </a:cubicBezTo>
                <a:cubicBezTo>
                  <a:pt x="602750" y="23771"/>
                  <a:pt x="601107" y="19788"/>
                  <a:pt x="597820" y="16864"/>
                </a:cubicBezTo>
                <a:cubicBezTo>
                  <a:pt x="594534" y="13877"/>
                  <a:pt x="589803" y="12383"/>
                  <a:pt x="583627" y="12383"/>
                </a:cubicBezTo>
                <a:cubicBezTo>
                  <a:pt x="578448" y="12383"/>
                  <a:pt x="573568" y="13379"/>
                  <a:pt x="568987" y="15246"/>
                </a:cubicBezTo>
                <a:cubicBezTo>
                  <a:pt x="564505" y="17113"/>
                  <a:pt x="559824" y="20162"/>
                  <a:pt x="554943" y="24331"/>
                </a:cubicBezTo>
                <a:lnTo>
                  <a:pt x="554943" y="9707"/>
                </a:lnTo>
                <a:cubicBezTo>
                  <a:pt x="562911" y="3235"/>
                  <a:pt x="572522" y="0"/>
                  <a:pt x="583777" y="0"/>
                </a:cubicBezTo>
                <a:cubicBezTo>
                  <a:pt x="594036" y="0"/>
                  <a:pt x="602053" y="2613"/>
                  <a:pt x="607830" y="7779"/>
                </a:cubicBezTo>
                <a:cubicBezTo>
                  <a:pt x="613706" y="12943"/>
                  <a:pt x="616644" y="19726"/>
                  <a:pt x="616644" y="28065"/>
                </a:cubicBezTo>
                <a:cubicBezTo>
                  <a:pt x="616644" y="34848"/>
                  <a:pt x="614752" y="40262"/>
                  <a:pt x="610967" y="44244"/>
                </a:cubicBezTo>
                <a:cubicBezTo>
                  <a:pt x="607282" y="48227"/>
                  <a:pt x="602850" y="50840"/>
                  <a:pt x="597671" y="52147"/>
                </a:cubicBezTo>
                <a:cubicBezTo>
                  <a:pt x="601854" y="52707"/>
                  <a:pt x="605688" y="54201"/>
                  <a:pt x="609174" y="56441"/>
                </a:cubicBezTo>
                <a:cubicBezTo>
                  <a:pt x="612760" y="58681"/>
                  <a:pt x="615648" y="61543"/>
                  <a:pt x="617839" y="65153"/>
                </a:cubicBezTo>
                <a:cubicBezTo>
                  <a:pt x="620031" y="68700"/>
                  <a:pt x="621126" y="72869"/>
                  <a:pt x="621126" y="77661"/>
                </a:cubicBezTo>
                <a:cubicBezTo>
                  <a:pt x="621126" y="84257"/>
                  <a:pt x="619483" y="89982"/>
                  <a:pt x="616196" y="94836"/>
                </a:cubicBezTo>
                <a:cubicBezTo>
                  <a:pt x="612909" y="99752"/>
                  <a:pt x="608378" y="103486"/>
                  <a:pt x="602601" y="106224"/>
                </a:cubicBezTo>
                <a:cubicBezTo>
                  <a:pt x="596924" y="108775"/>
                  <a:pt x="590301" y="110082"/>
                  <a:pt x="582731" y="110082"/>
                </a:cubicBezTo>
                <a:cubicBezTo>
                  <a:pt x="569584" y="110082"/>
                  <a:pt x="559425" y="107033"/>
                  <a:pt x="552254" y="100997"/>
                </a:cubicBezTo>
                <a:lnTo>
                  <a:pt x="552254" y="86062"/>
                </a:lnTo>
                <a:cubicBezTo>
                  <a:pt x="556039" y="89733"/>
                  <a:pt x="560620" y="92596"/>
                  <a:pt x="565999" y="94711"/>
                </a:cubicBezTo>
                <a:cubicBezTo>
                  <a:pt x="571377" y="96765"/>
                  <a:pt x="577004" y="97823"/>
                  <a:pt x="582880" y="97823"/>
                </a:cubicBezTo>
                <a:cubicBezTo>
                  <a:pt x="590251" y="97823"/>
                  <a:pt x="596027" y="96080"/>
                  <a:pt x="600211" y="92596"/>
                </a:cubicBezTo>
                <a:cubicBezTo>
                  <a:pt x="604493" y="89048"/>
                  <a:pt x="606635" y="84132"/>
                  <a:pt x="606635" y="77972"/>
                </a:cubicBezTo>
                <a:cubicBezTo>
                  <a:pt x="606635" y="71998"/>
                  <a:pt x="604692" y="67393"/>
                  <a:pt x="600808" y="64095"/>
                </a:cubicBezTo>
                <a:cubicBezTo>
                  <a:pt x="597023" y="60673"/>
                  <a:pt x="591147" y="58992"/>
                  <a:pt x="583179" y="58992"/>
                </a:cubicBezTo>
                <a:lnTo>
                  <a:pt x="569435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1" name="Полилиния 990">
            <a:extLst>
              <a:ext uri="{FF2B5EF4-FFF2-40B4-BE49-F238E27FC236}">
                <a16:creationId xmlns:a16="http://schemas.microsoft.com/office/drawing/2014/main" id="{1120ADFF-265D-1F53-9754-B06D38C29B79}"/>
              </a:ext>
            </a:extLst>
          </p:cNvPr>
          <p:cNvSpPr/>
          <p:nvPr userDrawn="1"/>
        </p:nvSpPr>
        <p:spPr>
          <a:xfrm>
            <a:off x="13814863" y="7418752"/>
            <a:ext cx="1398954" cy="726227"/>
          </a:xfrm>
          <a:custGeom>
            <a:avLst/>
            <a:gdLst>
              <a:gd name="connsiteX0" fmla="*/ 213 w 1198727"/>
              <a:gd name="connsiteY0" fmla="*/ 1522 h 622284"/>
              <a:gd name="connsiteX1" fmla="*/ 1198941 w 1198727"/>
              <a:gd name="connsiteY1" fmla="*/ 1522 h 622284"/>
              <a:gd name="connsiteX2" fmla="*/ 1198941 w 1198727"/>
              <a:gd name="connsiteY2" fmla="*/ 623806 h 622284"/>
              <a:gd name="connsiteX3" fmla="*/ 213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522"/>
                </a:moveTo>
                <a:lnTo>
                  <a:pt x="1198941" y="1522"/>
                </a:lnTo>
                <a:lnTo>
                  <a:pt x="1198941" y="623806"/>
                </a:lnTo>
                <a:lnTo>
                  <a:pt x="213" y="623806"/>
                </a:lnTo>
                <a:close/>
              </a:path>
            </a:pathLst>
          </a:custGeom>
          <a:solidFill>
            <a:srgbClr val="32FFD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2" name="Полилиния 991">
            <a:extLst>
              <a:ext uri="{FF2B5EF4-FFF2-40B4-BE49-F238E27FC236}">
                <a16:creationId xmlns:a16="http://schemas.microsoft.com/office/drawing/2014/main" id="{68C92190-4C2C-B81C-968E-175C330EA288}"/>
              </a:ext>
            </a:extLst>
          </p:cNvPr>
          <p:cNvSpPr/>
          <p:nvPr userDrawn="1"/>
        </p:nvSpPr>
        <p:spPr>
          <a:xfrm>
            <a:off x="13938073" y="7720500"/>
            <a:ext cx="730730" cy="128468"/>
          </a:xfrm>
          <a:custGeom>
            <a:avLst/>
            <a:gdLst>
              <a:gd name="connsiteX0" fmla="*/ 22111 w 626143"/>
              <a:gd name="connsiteY0" fmla="*/ 108588 h 110081"/>
              <a:gd name="connsiteX1" fmla="*/ 10159 w 626143"/>
              <a:gd name="connsiteY1" fmla="*/ 108588 h 110081"/>
              <a:gd name="connsiteX2" fmla="*/ 16434 w 626143"/>
              <a:gd name="connsiteY2" fmla="*/ 77661 h 110081"/>
              <a:gd name="connsiteX3" fmla="*/ 0 w 626143"/>
              <a:gd name="connsiteY3" fmla="*/ 77661 h 110081"/>
              <a:gd name="connsiteX4" fmla="*/ 0 w 626143"/>
              <a:gd name="connsiteY4" fmla="*/ 67206 h 110081"/>
              <a:gd name="connsiteX5" fmla="*/ 18675 w 626143"/>
              <a:gd name="connsiteY5" fmla="*/ 67206 h 110081"/>
              <a:gd name="connsiteX6" fmla="*/ 24202 w 626143"/>
              <a:gd name="connsiteY6" fmla="*/ 40012 h 110081"/>
              <a:gd name="connsiteX7" fmla="*/ 4034 w 626143"/>
              <a:gd name="connsiteY7" fmla="*/ 40012 h 110081"/>
              <a:gd name="connsiteX8" fmla="*/ 4034 w 626143"/>
              <a:gd name="connsiteY8" fmla="*/ 29559 h 110081"/>
              <a:gd name="connsiteX9" fmla="*/ 26294 w 626143"/>
              <a:gd name="connsiteY9" fmla="*/ 29559 h 110081"/>
              <a:gd name="connsiteX10" fmla="*/ 32120 w 626143"/>
              <a:gd name="connsiteY10" fmla="*/ 1493 h 110081"/>
              <a:gd name="connsiteX11" fmla="*/ 44072 w 626143"/>
              <a:gd name="connsiteY11" fmla="*/ 1493 h 110081"/>
              <a:gd name="connsiteX12" fmla="*/ 38246 w 626143"/>
              <a:gd name="connsiteY12" fmla="*/ 29559 h 110081"/>
              <a:gd name="connsiteX13" fmla="*/ 60655 w 626143"/>
              <a:gd name="connsiteY13" fmla="*/ 29559 h 110081"/>
              <a:gd name="connsiteX14" fmla="*/ 66482 w 626143"/>
              <a:gd name="connsiteY14" fmla="*/ 1493 h 110081"/>
              <a:gd name="connsiteX15" fmla="*/ 78434 w 626143"/>
              <a:gd name="connsiteY15" fmla="*/ 1493 h 110081"/>
              <a:gd name="connsiteX16" fmla="*/ 72607 w 626143"/>
              <a:gd name="connsiteY16" fmla="*/ 29559 h 110081"/>
              <a:gd name="connsiteX17" fmla="*/ 89340 w 626143"/>
              <a:gd name="connsiteY17" fmla="*/ 29559 h 110081"/>
              <a:gd name="connsiteX18" fmla="*/ 89340 w 626143"/>
              <a:gd name="connsiteY18" fmla="*/ 40012 h 110081"/>
              <a:gd name="connsiteX19" fmla="*/ 70516 w 626143"/>
              <a:gd name="connsiteY19" fmla="*/ 40012 h 110081"/>
              <a:gd name="connsiteX20" fmla="*/ 64988 w 626143"/>
              <a:gd name="connsiteY20" fmla="*/ 67206 h 110081"/>
              <a:gd name="connsiteX21" fmla="*/ 85306 w 626143"/>
              <a:gd name="connsiteY21" fmla="*/ 67206 h 110081"/>
              <a:gd name="connsiteX22" fmla="*/ 85306 w 626143"/>
              <a:gd name="connsiteY22" fmla="*/ 77661 h 110081"/>
              <a:gd name="connsiteX23" fmla="*/ 62747 w 626143"/>
              <a:gd name="connsiteY23" fmla="*/ 77661 h 110081"/>
              <a:gd name="connsiteX24" fmla="*/ 56472 w 626143"/>
              <a:gd name="connsiteY24" fmla="*/ 108588 h 110081"/>
              <a:gd name="connsiteX25" fmla="*/ 44520 w 626143"/>
              <a:gd name="connsiteY25" fmla="*/ 108588 h 110081"/>
              <a:gd name="connsiteX26" fmla="*/ 50795 w 626143"/>
              <a:gd name="connsiteY26" fmla="*/ 77661 h 110081"/>
              <a:gd name="connsiteX27" fmla="*/ 28386 w 626143"/>
              <a:gd name="connsiteY27" fmla="*/ 77661 h 110081"/>
              <a:gd name="connsiteX28" fmla="*/ 22111 w 626143"/>
              <a:gd name="connsiteY28" fmla="*/ 108588 h 110081"/>
              <a:gd name="connsiteX29" fmla="*/ 30626 w 626143"/>
              <a:gd name="connsiteY29" fmla="*/ 67206 h 110081"/>
              <a:gd name="connsiteX30" fmla="*/ 53036 w 626143"/>
              <a:gd name="connsiteY30" fmla="*/ 67206 h 110081"/>
              <a:gd name="connsiteX31" fmla="*/ 58564 w 626143"/>
              <a:gd name="connsiteY31" fmla="*/ 40012 h 110081"/>
              <a:gd name="connsiteX32" fmla="*/ 36154 w 626143"/>
              <a:gd name="connsiteY32" fmla="*/ 40012 h 110081"/>
              <a:gd name="connsiteX33" fmla="*/ 30626 w 626143"/>
              <a:gd name="connsiteY33" fmla="*/ 67206 h 110081"/>
              <a:gd name="connsiteX34" fmla="*/ 120078 w 626143"/>
              <a:gd name="connsiteY34" fmla="*/ 58992 h 110081"/>
              <a:gd name="connsiteX35" fmla="*/ 120078 w 626143"/>
              <a:gd name="connsiteY35" fmla="*/ 46298 h 110081"/>
              <a:gd name="connsiteX36" fmla="*/ 134420 w 626143"/>
              <a:gd name="connsiteY36" fmla="*/ 46298 h 110081"/>
              <a:gd name="connsiteX37" fmla="*/ 148016 w 626143"/>
              <a:gd name="connsiteY37" fmla="*/ 41817 h 110081"/>
              <a:gd name="connsiteX38" fmla="*/ 153394 w 626143"/>
              <a:gd name="connsiteY38" fmla="*/ 28812 h 110081"/>
              <a:gd name="connsiteX39" fmla="*/ 148464 w 626143"/>
              <a:gd name="connsiteY39" fmla="*/ 16864 h 110081"/>
              <a:gd name="connsiteX40" fmla="*/ 134271 w 626143"/>
              <a:gd name="connsiteY40" fmla="*/ 12383 h 110081"/>
              <a:gd name="connsiteX41" fmla="*/ 119630 w 626143"/>
              <a:gd name="connsiteY41" fmla="*/ 15246 h 110081"/>
              <a:gd name="connsiteX42" fmla="*/ 105587 w 626143"/>
              <a:gd name="connsiteY42" fmla="*/ 24331 h 110081"/>
              <a:gd name="connsiteX43" fmla="*/ 105587 w 626143"/>
              <a:gd name="connsiteY43" fmla="*/ 9707 h 110081"/>
              <a:gd name="connsiteX44" fmla="*/ 134420 w 626143"/>
              <a:gd name="connsiteY44" fmla="*/ 0 h 110081"/>
              <a:gd name="connsiteX45" fmla="*/ 158473 w 626143"/>
              <a:gd name="connsiteY45" fmla="*/ 7779 h 110081"/>
              <a:gd name="connsiteX46" fmla="*/ 167288 w 626143"/>
              <a:gd name="connsiteY46" fmla="*/ 28065 h 110081"/>
              <a:gd name="connsiteX47" fmla="*/ 161611 w 626143"/>
              <a:gd name="connsiteY47" fmla="*/ 44244 h 110081"/>
              <a:gd name="connsiteX48" fmla="*/ 148314 w 626143"/>
              <a:gd name="connsiteY48" fmla="*/ 52147 h 110081"/>
              <a:gd name="connsiteX49" fmla="*/ 159818 w 626143"/>
              <a:gd name="connsiteY49" fmla="*/ 56441 h 110081"/>
              <a:gd name="connsiteX50" fmla="*/ 168483 w 626143"/>
              <a:gd name="connsiteY50" fmla="*/ 65153 h 110081"/>
              <a:gd name="connsiteX51" fmla="*/ 171770 w 626143"/>
              <a:gd name="connsiteY51" fmla="*/ 77661 h 110081"/>
              <a:gd name="connsiteX52" fmla="*/ 166840 w 626143"/>
              <a:gd name="connsiteY52" fmla="*/ 94836 h 110081"/>
              <a:gd name="connsiteX53" fmla="*/ 153244 w 626143"/>
              <a:gd name="connsiteY53" fmla="*/ 106224 h 110081"/>
              <a:gd name="connsiteX54" fmla="*/ 133375 w 626143"/>
              <a:gd name="connsiteY54" fmla="*/ 110082 h 110081"/>
              <a:gd name="connsiteX55" fmla="*/ 102898 w 626143"/>
              <a:gd name="connsiteY55" fmla="*/ 100997 h 110081"/>
              <a:gd name="connsiteX56" fmla="*/ 102898 w 626143"/>
              <a:gd name="connsiteY56" fmla="*/ 86062 h 110081"/>
              <a:gd name="connsiteX57" fmla="*/ 116642 w 626143"/>
              <a:gd name="connsiteY57" fmla="*/ 94711 h 110081"/>
              <a:gd name="connsiteX58" fmla="*/ 133524 w 626143"/>
              <a:gd name="connsiteY58" fmla="*/ 97823 h 110081"/>
              <a:gd name="connsiteX59" fmla="*/ 150854 w 626143"/>
              <a:gd name="connsiteY59" fmla="*/ 92596 h 110081"/>
              <a:gd name="connsiteX60" fmla="*/ 157278 w 626143"/>
              <a:gd name="connsiteY60" fmla="*/ 77972 h 110081"/>
              <a:gd name="connsiteX61" fmla="*/ 151452 w 626143"/>
              <a:gd name="connsiteY61" fmla="*/ 64095 h 110081"/>
              <a:gd name="connsiteX62" fmla="*/ 133823 w 626143"/>
              <a:gd name="connsiteY62" fmla="*/ 58992 h 110081"/>
              <a:gd name="connsiteX63" fmla="*/ 120078 w 626143"/>
              <a:gd name="connsiteY63" fmla="*/ 58992 h 110081"/>
              <a:gd name="connsiteX64" fmla="*/ 253011 w 626143"/>
              <a:gd name="connsiteY64" fmla="*/ 108588 h 110081"/>
              <a:gd name="connsiteX65" fmla="*/ 184736 w 626143"/>
              <a:gd name="connsiteY65" fmla="*/ 108588 h 110081"/>
              <a:gd name="connsiteX66" fmla="*/ 184736 w 626143"/>
              <a:gd name="connsiteY66" fmla="*/ 94400 h 110081"/>
              <a:gd name="connsiteX67" fmla="*/ 210881 w 626143"/>
              <a:gd name="connsiteY67" fmla="*/ 72433 h 110081"/>
              <a:gd name="connsiteX68" fmla="*/ 226866 w 626143"/>
              <a:gd name="connsiteY68" fmla="*/ 56628 h 110081"/>
              <a:gd name="connsiteX69" fmla="*/ 234934 w 626143"/>
              <a:gd name="connsiteY69" fmla="*/ 43933 h 110081"/>
              <a:gd name="connsiteX70" fmla="*/ 237324 w 626143"/>
              <a:gd name="connsiteY70" fmla="*/ 32109 h 110081"/>
              <a:gd name="connsiteX71" fmla="*/ 231796 w 626143"/>
              <a:gd name="connsiteY71" fmla="*/ 17610 h 110081"/>
              <a:gd name="connsiteX72" fmla="*/ 216558 w 626143"/>
              <a:gd name="connsiteY72" fmla="*/ 12383 h 110081"/>
              <a:gd name="connsiteX73" fmla="*/ 187575 w 626143"/>
              <a:gd name="connsiteY73" fmla="*/ 27194 h 110081"/>
              <a:gd name="connsiteX74" fmla="*/ 187575 w 626143"/>
              <a:gd name="connsiteY74" fmla="*/ 12134 h 110081"/>
              <a:gd name="connsiteX75" fmla="*/ 217006 w 626143"/>
              <a:gd name="connsiteY75" fmla="*/ 0 h 110081"/>
              <a:gd name="connsiteX76" fmla="*/ 242404 w 626143"/>
              <a:gd name="connsiteY76" fmla="*/ 8401 h 110081"/>
              <a:gd name="connsiteX77" fmla="*/ 251816 w 626143"/>
              <a:gd name="connsiteY77" fmla="*/ 30803 h 110081"/>
              <a:gd name="connsiteX78" fmla="*/ 249425 w 626143"/>
              <a:gd name="connsiteY78" fmla="*/ 44804 h 110081"/>
              <a:gd name="connsiteX79" fmla="*/ 241358 w 626143"/>
              <a:gd name="connsiteY79" fmla="*/ 58681 h 110081"/>
              <a:gd name="connsiteX80" fmla="*/ 225671 w 626143"/>
              <a:gd name="connsiteY80" fmla="*/ 74860 h 110081"/>
              <a:gd name="connsiteX81" fmla="*/ 200274 w 626143"/>
              <a:gd name="connsiteY81" fmla="*/ 95769 h 110081"/>
              <a:gd name="connsiteX82" fmla="*/ 253011 w 626143"/>
              <a:gd name="connsiteY82" fmla="*/ 95769 h 110081"/>
              <a:gd name="connsiteX83" fmla="*/ 253011 w 626143"/>
              <a:gd name="connsiteY83" fmla="*/ 108588 h 110081"/>
              <a:gd name="connsiteX84" fmla="*/ 272109 w 626143"/>
              <a:gd name="connsiteY84" fmla="*/ 1493 h 110081"/>
              <a:gd name="connsiteX85" fmla="*/ 337545 w 626143"/>
              <a:gd name="connsiteY85" fmla="*/ 1493 h 110081"/>
              <a:gd name="connsiteX86" fmla="*/ 337545 w 626143"/>
              <a:gd name="connsiteY86" fmla="*/ 14374 h 110081"/>
              <a:gd name="connsiteX87" fmla="*/ 286152 w 626143"/>
              <a:gd name="connsiteY87" fmla="*/ 14374 h 110081"/>
              <a:gd name="connsiteX88" fmla="*/ 286152 w 626143"/>
              <a:gd name="connsiteY88" fmla="*/ 49907 h 110081"/>
              <a:gd name="connsiteX89" fmla="*/ 329776 w 626143"/>
              <a:gd name="connsiteY89" fmla="*/ 49907 h 110081"/>
              <a:gd name="connsiteX90" fmla="*/ 329776 w 626143"/>
              <a:gd name="connsiteY90" fmla="*/ 62601 h 110081"/>
              <a:gd name="connsiteX91" fmla="*/ 286152 w 626143"/>
              <a:gd name="connsiteY91" fmla="*/ 62601 h 110081"/>
              <a:gd name="connsiteX92" fmla="*/ 286152 w 626143"/>
              <a:gd name="connsiteY92" fmla="*/ 108588 h 110081"/>
              <a:gd name="connsiteX93" fmla="*/ 272109 w 626143"/>
              <a:gd name="connsiteY93" fmla="*/ 108588 h 110081"/>
              <a:gd name="connsiteX94" fmla="*/ 272109 w 626143"/>
              <a:gd name="connsiteY94" fmla="*/ 1493 h 110081"/>
              <a:gd name="connsiteX95" fmla="*/ 357016 w 626143"/>
              <a:gd name="connsiteY95" fmla="*/ 1493 h 110081"/>
              <a:gd name="connsiteX96" fmla="*/ 422452 w 626143"/>
              <a:gd name="connsiteY96" fmla="*/ 1493 h 110081"/>
              <a:gd name="connsiteX97" fmla="*/ 422452 w 626143"/>
              <a:gd name="connsiteY97" fmla="*/ 14374 h 110081"/>
              <a:gd name="connsiteX98" fmla="*/ 371060 w 626143"/>
              <a:gd name="connsiteY98" fmla="*/ 14374 h 110081"/>
              <a:gd name="connsiteX99" fmla="*/ 371060 w 626143"/>
              <a:gd name="connsiteY99" fmla="*/ 49907 h 110081"/>
              <a:gd name="connsiteX100" fmla="*/ 414684 w 626143"/>
              <a:gd name="connsiteY100" fmla="*/ 49907 h 110081"/>
              <a:gd name="connsiteX101" fmla="*/ 414684 w 626143"/>
              <a:gd name="connsiteY101" fmla="*/ 62601 h 110081"/>
              <a:gd name="connsiteX102" fmla="*/ 371060 w 626143"/>
              <a:gd name="connsiteY102" fmla="*/ 62601 h 110081"/>
              <a:gd name="connsiteX103" fmla="*/ 371060 w 626143"/>
              <a:gd name="connsiteY103" fmla="*/ 108588 h 110081"/>
              <a:gd name="connsiteX104" fmla="*/ 357016 w 626143"/>
              <a:gd name="connsiteY104" fmla="*/ 108588 h 110081"/>
              <a:gd name="connsiteX105" fmla="*/ 357016 w 626143"/>
              <a:gd name="connsiteY105" fmla="*/ 1493 h 110081"/>
              <a:gd name="connsiteX106" fmla="*/ 441930 w 626143"/>
              <a:gd name="connsiteY106" fmla="*/ 1493 h 110081"/>
              <a:gd name="connsiteX107" fmla="*/ 477935 w 626143"/>
              <a:gd name="connsiteY107" fmla="*/ 1493 h 110081"/>
              <a:gd name="connsiteX108" fmla="*/ 497954 w 626143"/>
              <a:gd name="connsiteY108" fmla="*/ 4044 h 110081"/>
              <a:gd name="connsiteX109" fmla="*/ 514089 w 626143"/>
              <a:gd name="connsiteY109" fmla="*/ 12383 h 110081"/>
              <a:gd name="connsiteX110" fmla="*/ 524846 w 626143"/>
              <a:gd name="connsiteY110" fmla="*/ 27629 h 110081"/>
              <a:gd name="connsiteX111" fmla="*/ 528730 w 626143"/>
              <a:gd name="connsiteY111" fmla="*/ 51401 h 110081"/>
              <a:gd name="connsiteX112" fmla="*/ 521858 w 626143"/>
              <a:gd name="connsiteY112" fmla="*/ 83075 h 110081"/>
              <a:gd name="connsiteX113" fmla="*/ 503333 w 626143"/>
              <a:gd name="connsiteY113" fmla="*/ 102179 h 110081"/>
              <a:gd name="connsiteX114" fmla="*/ 476292 w 626143"/>
              <a:gd name="connsiteY114" fmla="*/ 108588 h 110081"/>
              <a:gd name="connsiteX115" fmla="*/ 441930 w 626143"/>
              <a:gd name="connsiteY115" fmla="*/ 108588 h 110081"/>
              <a:gd name="connsiteX116" fmla="*/ 441930 w 626143"/>
              <a:gd name="connsiteY116" fmla="*/ 1493 h 110081"/>
              <a:gd name="connsiteX117" fmla="*/ 476292 w 626143"/>
              <a:gd name="connsiteY117" fmla="*/ 95893 h 110081"/>
              <a:gd name="connsiteX118" fmla="*/ 495713 w 626143"/>
              <a:gd name="connsiteY118" fmla="*/ 91413 h 110081"/>
              <a:gd name="connsiteX119" fmla="*/ 508711 w 626143"/>
              <a:gd name="connsiteY119" fmla="*/ 77225 h 110081"/>
              <a:gd name="connsiteX120" fmla="*/ 513492 w 626143"/>
              <a:gd name="connsiteY120" fmla="*/ 52458 h 110081"/>
              <a:gd name="connsiteX121" fmla="*/ 508860 w 626143"/>
              <a:gd name="connsiteY121" fmla="*/ 29122 h 110081"/>
              <a:gd name="connsiteX122" fmla="*/ 496161 w 626143"/>
              <a:gd name="connsiteY122" fmla="*/ 17610 h 110081"/>
              <a:gd name="connsiteX123" fmla="*/ 477935 w 626143"/>
              <a:gd name="connsiteY123" fmla="*/ 14374 h 110081"/>
              <a:gd name="connsiteX124" fmla="*/ 455974 w 626143"/>
              <a:gd name="connsiteY124" fmla="*/ 14374 h 110081"/>
              <a:gd name="connsiteX125" fmla="*/ 455974 w 626143"/>
              <a:gd name="connsiteY125" fmla="*/ 95893 h 110081"/>
              <a:gd name="connsiteX126" fmla="*/ 476292 w 626143"/>
              <a:gd name="connsiteY126" fmla="*/ 95893 h 110081"/>
              <a:gd name="connsiteX127" fmla="*/ 593874 w 626143"/>
              <a:gd name="connsiteY127" fmla="*/ 110082 h 110081"/>
              <a:gd name="connsiteX128" fmla="*/ 566086 w 626143"/>
              <a:gd name="connsiteY128" fmla="*/ 103486 h 110081"/>
              <a:gd name="connsiteX129" fmla="*/ 547710 w 626143"/>
              <a:gd name="connsiteY129" fmla="*/ 84693 h 110081"/>
              <a:gd name="connsiteX130" fmla="*/ 541136 w 626143"/>
              <a:gd name="connsiteY130" fmla="*/ 55134 h 110081"/>
              <a:gd name="connsiteX131" fmla="*/ 554731 w 626143"/>
              <a:gd name="connsiteY131" fmla="*/ 14810 h 110081"/>
              <a:gd name="connsiteX132" fmla="*/ 593575 w 626143"/>
              <a:gd name="connsiteY132" fmla="*/ 186 h 110081"/>
              <a:gd name="connsiteX133" fmla="*/ 611503 w 626143"/>
              <a:gd name="connsiteY133" fmla="*/ 2240 h 110081"/>
              <a:gd name="connsiteX134" fmla="*/ 626144 w 626143"/>
              <a:gd name="connsiteY134" fmla="*/ 7902 h 110081"/>
              <a:gd name="connsiteX135" fmla="*/ 626144 w 626143"/>
              <a:gd name="connsiteY135" fmla="*/ 21344 h 110081"/>
              <a:gd name="connsiteX136" fmla="*/ 611054 w 626143"/>
              <a:gd name="connsiteY136" fmla="*/ 15121 h 110081"/>
              <a:gd name="connsiteX137" fmla="*/ 593425 w 626143"/>
              <a:gd name="connsiteY137" fmla="*/ 12881 h 110081"/>
              <a:gd name="connsiteX138" fmla="*/ 565488 w 626143"/>
              <a:gd name="connsiteY138" fmla="*/ 23459 h 110081"/>
              <a:gd name="connsiteX139" fmla="*/ 556375 w 626143"/>
              <a:gd name="connsiteY139" fmla="*/ 55134 h 110081"/>
              <a:gd name="connsiteX140" fmla="*/ 566235 w 626143"/>
              <a:gd name="connsiteY140" fmla="*/ 86933 h 110081"/>
              <a:gd name="connsiteX141" fmla="*/ 595069 w 626143"/>
              <a:gd name="connsiteY141" fmla="*/ 97387 h 110081"/>
              <a:gd name="connsiteX142" fmla="*/ 626144 w 626143"/>
              <a:gd name="connsiteY142" fmla="*/ 87555 h 110081"/>
              <a:gd name="connsiteX143" fmla="*/ 626144 w 626143"/>
              <a:gd name="connsiteY143" fmla="*/ 100997 h 110081"/>
              <a:gd name="connsiteX144" fmla="*/ 612250 w 626143"/>
              <a:gd name="connsiteY144" fmla="*/ 107717 h 110081"/>
              <a:gd name="connsiteX145" fmla="*/ 593874 w 626143"/>
              <a:gd name="connsiteY14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626143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420" y="46298"/>
                </a:lnTo>
                <a:cubicBezTo>
                  <a:pt x="139998" y="46298"/>
                  <a:pt x="144530" y="44804"/>
                  <a:pt x="148016" y="41817"/>
                </a:cubicBezTo>
                <a:cubicBezTo>
                  <a:pt x="151601" y="38768"/>
                  <a:pt x="153394" y="34412"/>
                  <a:pt x="153394" y="28812"/>
                </a:cubicBezTo>
                <a:cubicBezTo>
                  <a:pt x="153394" y="23771"/>
                  <a:pt x="151751" y="19788"/>
                  <a:pt x="148464" y="16864"/>
                </a:cubicBezTo>
                <a:cubicBezTo>
                  <a:pt x="145177" y="13877"/>
                  <a:pt x="140446" y="12383"/>
                  <a:pt x="134271" y="12383"/>
                </a:cubicBezTo>
                <a:cubicBezTo>
                  <a:pt x="129092" y="12383"/>
                  <a:pt x="124212" y="13379"/>
                  <a:pt x="119630" y="15246"/>
                </a:cubicBezTo>
                <a:cubicBezTo>
                  <a:pt x="115148" y="17113"/>
                  <a:pt x="110467" y="20162"/>
                  <a:pt x="105587" y="24331"/>
                </a:cubicBezTo>
                <a:lnTo>
                  <a:pt x="105587" y="9707"/>
                </a:lnTo>
                <a:cubicBezTo>
                  <a:pt x="113555" y="3235"/>
                  <a:pt x="123166" y="0"/>
                  <a:pt x="134420" y="0"/>
                </a:cubicBezTo>
                <a:cubicBezTo>
                  <a:pt x="144679" y="0"/>
                  <a:pt x="152697" y="2613"/>
                  <a:pt x="158473" y="7779"/>
                </a:cubicBezTo>
                <a:cubicBezTo>
                  <a:pt x="164350" y="12943"/>
                  <a:pt x="167288" y="19726"/>
                  <a:pt x="167288" y="28065"/>
                </a:cubicBezTo>
                <a:cubicBezTo>
                  <a:pt x="167288" y="34848"/>
                  <a:pt x="165396" y="40262"/>
                  <a:pt x="161611" y="44244"/>
                </a:cubicBezTo>
                <a:cubicBezTo>
                  <a:pt x="157926" y="48227"/>
                  <a:pt x="153493" y="50840"/>
                  <a:pt x="148314" y="52147"/>
                </a:cubicBezTo>
                <a:cubicBezTo>
                  <a:pt x="152497" y="52707"/>
                  <a:pt x="156332" y="54201"/>
                  <a:pt x="159818" y="56441"/>
                </a:cubicBezTo>
                <a:cubicBezTo>
                  <a:pt x="163403" y="58681"/>
                  <a:pt x="166292" y="61543"/>
                  <a:pt x="168483" y="65153"/>
                </a:cubicBezTo>
                <a:cubicBezTo>
                  <a:pt x="170674" y="68700"/>
                  <a:pt x="171770" y="72869"/>
                  <a:pt x="171770" y="77661"/>
                </a:cubicBezTo>
                <a:cubicBezTo>
                  <a:pt x="171770" y="84257"/>
                  <a:pt x="170126" y="89982"/>
                  <a:pt x="166840" y="94836"/>
                </a:cubicBezTo>
                <a:cubicBezTo>
                  <a:pt x="163553" y="99752"/>
                  <a:pt x="159021" y="103486"/>
                  <a:pt x="153244" y="106224"/>
                </a:cubicBezTo>
                <a:cubicBezTo>
                  <a:pt x="147567" y="108775"/>
                  <a:pt x="140944" y="110082"/>
                  <a:pt x="133375" y="110082"/>
                </a:cubicBezTo>
                <a:cubicBezTo>
                  <a:pt x="120228" y="110082"/>
                  <a:pt x="110069" y="107033"/>
                  <a:pt x="102898" y="100997"/>
                </a:cubicBezTo>
                <a:lnTo>
                  <a:pt x="102898" y="86062"/>
                </a:lnTo>
                <a:cubicBezTo>
                  <a:pt x="106682" y="89733"/>
                  <a:pt x="111264" y="92596"/>
                  <a:pt x="116642" y="94711"/>
                </a:cubicBezTo>
                <a:cubicBezTo>
                  <a:pt x="122020" y="96765"/>
                  <a:pt x="127648" y="97823"/>
                  <a:pt x="133524" y="97823"/>
                </a:cubicBezTo>
                <a:cubicBezTo>
                  <a:pt x="140894" y="97823"/>
                  <a:pt x="146671" y="96080"/>
                  <a:pt x="150854" y="92596"/>
                </a:cubicBezTo>
                <a:cubicBezTo>
                  <a:pt x="155137" y="89048"/>
                  <a:pt x="157278" y="84132"/>
                  <a:pt x="157278" y="77972"/>
                </a:cubicBezTo>
                <a:cubicBezTo>
                  <a:pt x="157278" y="71998"/>
                  <a:pt x="155336" y="67393"/>
                  <a:pt x="151452" y="64095"/>
                </a:cubicBezTo>
                <a:cubicBezTo>
                  <a:pt x="147667" y="60673"/>
                  <a:pt x="141791" y="58992"/>
                  <a:pt x="133823" y="58992"/>
                </a:cubicBezTo>
                <a:lnTo>
                  <a:pt x="120078" y="58992"/>
                </a:ln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1" y="72433"/>
                </a:cubicBezTo>
                <a:cubicBezTo>
                  <a:pt x="217753" y="66397"/>
                  <a:pt x="223082" y="61108"/>
                  <a:pt x="226866" y="56628"/>
                </a:cubicBezTo>
                <a:cubicBezTo>
                  <a:pt x="230751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2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9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4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477935" y="1493"/>
                </a:lnTo>
                <a:cubicBezTo>
                  <a:pt x="485106" y="1493"/>
                  <a:pt x="491779" y="2365"/>
                  <a:pt x="497954" y="4044"/>
                </a:cubicBezTo>
                <a:cubicBezTo>
                  <a:pt x="504129" y="5725"/>
                  <a:pt x="509508" y="8525"/>
                  <a:pt x="514089" y="12383"/>
                </a:cubicBezTo>
                <a:cubicBezTo>
                  <a:pt x="518671" y="16179"/>
                  <a:pt x="522256" y="21282"/>
                  <a:pt x="524846" y="27629"/>
                </a:cubicBezTo>
                <a:cubicBezTo>
                  <a:pt x="527435" y="34039"/>
                  <a:pt x="528730" y="41942"/>
                  <a:pt x="528730" y="51401"/>
                </a:cubicBezTo>
                <a:cubicBezTo>
                  <a:pt x="528730" y="63908"/>
                  <a:pt x="526439" y="74487"/>
                  <a:pt x="521858" y="83075"/>
                </a:cubicBezTo>
                <a:cubicBezTo>
                  <a:pt x="517376" y="91538"/>
                  <a:pt x="511201" y="97885"/>
                  <a:pt x="503333" y="102179"/>
                </a:cubicBezTo>
                <a:cubicBezTo>
                  <a:pt x="495464" y="106473"/>
                  <a:pt x="486451" y="108588"/>
                  <a:pt x="476292" y="108588"/>
                </a:cubicBez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476292" y="95893"/>
                </a:moveTo>
                <a:cubicBezTo>
                  <a:pt x="483662" y="95893"/>
                  <a:pt x="490136" y="94400"/>
                  <a:pt x="495713" y="91413"/>
                </a:cubicBezTo>
                <a:cubicBezTo>
                  <a:pt x="501291" y="88302"/>
                  <a:pt x="505623" y="83572"/>
                  <a:pt x="508711" y="77225"/>
                </a:cubicBezTo>
                <a:cubicBezTo>
                  <a:pt x="511898" y="70754"/>
                  <a:pt x="513492" y="62477"/>
                  <a:pt x="513492" y="52458"/>
                </a:cubicBezTo>
                <a:cubicBezTo>
                  <a:pt x="513492" y="42377"/>
                  <a:pt x="511948" y="34599"/>
                  <a:pt x="508860" y="29122"/>
                </a:cubicBezTo>
                <a:cubicBezTo>
                  <a:pt x="505773" y="23646"/>
                  <a:pt x="501540" y="19851"/>
                  <a:pt x="496161" y="17610"/>
                </a:cubicBezTo>
                <a:cubicBezTo>
                  <a:pt x="490883" y="15433"/>
                  <a:pt x="484807" y="14374"/>
                  <a:pt x="477935" y="14374"/>
                </a:cubicBezTo>
                <a:lnTo>
                  <a:pt x="455974" y="14374"/>
                </a:lnTo>
                <a:lnTo>
                  <a:pt x="455974" y="95893"/>
                </a:lnTo>
                <a:lnTo>
                  <a:pt x="476292" y="95893"/>
                </a:lnTo>
                <a:close/>
                <a:moveTo>
                  <a:pt x="593874" y="110082"/>
                </a:moveTo>
                <a:cubicBezTo>
                  <a:pt x="583316" y="110082"/>
                  <a:pt x="574054" y="107904"/>
                  <a:pt x="566086" y="103486"/>
                </a:cubicBezTo>
                <a:cubicBezTo>
                  <a:pt x="558217" y="99129"/>
                  <a:pt x="552092" y="92844"/>
                  <a:pt x="547710" y="84693"/>
                </a:cubicBezTo>
                <a:cubicBezTo>
                  <a:pt x="543327" y="76416"/>
                  <a:pt x="541136" y="66584"/>
                  <a:pt x="541136" y="55134"/>
                </a:cubicBezTo>
                <a:cubicBezTo>
                  <a:pt x="541136" y="37897"/>
                  <a:pt x="545668" y="24455"/>
                  <a:pt x="554731" y="14810"/>
                </a:cubicBezTo>
                <a:cubicBezTo>
                  <a:pt x="563795" y="5040"/>
                  <a:pt x="576743" y="186"/>
                  <a:pt x="593575" y="186"/>
                </a:cubicBezTo>
                <a:cubicBezTo>
                  <a:pt x="599850" y="186"/>
                  <a:pt x="605825" y="871"/>
                  <a:pt x="611503" y="2240"/>
                </a:cubicBezTo>
                <a:cubicBezTo>
                  <a:pt x="617279" y="3547"/>
                  <a:pt x="622160" y="5414"/>
                  <a:pt x="626144" y="7902"/>
                </a:cubicBezTo>
                <a:lnTo>
                  <a:pt x="626144" y="21344"/>
                </a:lnTo>
                <a:cubicBezTo>
                  <a:pt x="621861" y="18669"/>
                  <a:pt x="616831" y="16615"/>
                  <a:pt x="611054" y="15121"/>
                </a:cubicBezTo>
                <a:cubicBezTo>
                  <a:pt x="605377" y="13628"/>
                  <a:pt x="599501" y="12881"/>
                  <a:pt x="593425" y="12881"/>
                </a:cubicBezTo>
                <a:cubicBezTo>
                  <a:pt x="580876" y="12881"/>
                  <a:pt x="571564" y="16366"/>
                  <a:pt x="565488" y="23459"/>
                </a:cubicBezTo>
                <a:cubicBezTo>
                  <a:pt x="559413" y="30554"/>
                  <a:pt x="556375" y="41071"/>
                  <a:pt x="556375" y="55134"/>
                </a:cubicBezTo>
                <a:cubicBezTo>
                  <a:pt x="556375" y="69260"/>
                  <a:pt x="559662" y="79839"/>
                  <a:pt x="566235" y="86933"/>
                </a:cubicBezTo>
                <a:cubicBezTo>
                  <a:pt x="572809" y="93902"/>
                  <a:pt x="582420" y="97387"/>
                  <a:pt x="595069" y="97387"/>
                </a:cubicBezTo>
                <a:cubicBezTo>
                  <a:pt x="607021" y="97387"/>
                  <a:pt x="617379" y="94089"/>
                  <a:pt x="626144" y="87555"/>
                </a:cubicBezTo>
                <a:lnTo>
                  <a:pt x="626144" y="100997"/>
                </a:lnTo>
                <a:cubicBezTo>
                  <a:pt x="622658" y="103734"/>
                  <a:pt x="618026" y="105974"/>
                  <a:pt x="612250" y="107717"/>
                </a:cubicBezTo>
                <a:cubicBezTo>
                  <a:pt x="606473" y="109273"/>
                  <a:pt x="600348" y="110082"/>
                  <a:pt x="593874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3" name="Полилиния 992">
            <a:extLst>
              <a:ext uri="{FF2B5EF4-FFF2-40B4-BE49-F238E27FC236}">
                <a16:creationId xmlns:a16="http://schemas.microsoft.com/office/drawing/2014/main" id="{43258787-8E86-9310-1BD1-A3D32E0019F4}"/>
              </a:ext>
            </a:extLst>
          </p:cNvPr>
          <p:cNvSpPr/>
          <p:nvPr userDrawn="1"/>
        </p:nvSpPr>
        <p:spPr>
          <a:xfrm>
            <a:off x="13814863" y="8144980"/>
            <a:ext cx="1398954" cy="726227"/>
          </a:xfrm>
          <a:custGeom>
            <a:avLst/>
            <a:gdLst>
              <a:gd name="connsiteX0" fmla="*/ 213 w 1198727"/>
              <a:gd name="connsiteY0" fmla="*/ 1622 h 622284"/>
              <a:gd name="connsiteX1" fmla="*/ 1198941 w 1198727"/>
              <a:gd name="connsiteY1" fmla="*/ 1622 h 622284"/>
              <a:gd name="connsiteX2" fmla="*/ 1198941 w 1198727"/>
              <a:gd name="connsiteY2" fmla="*/ 623906 h 622284"/>
              <a:gd name="connsiteX3" fmla="*/ 213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622"/>
                </a:moveTo>
                <a:lnTo>
                  <a:pt x="1198941" y="1622"/>
                </a:lnTo>
                <a:lnTo>
                  <a:pt x="1198941" y="623906"/>
                </a:lnTo>
                <a:lnTo>
                  <a:pt x="213" y="623906"/>
                </a:lnTo>
                <a:close/>
              </a:path>
            </a:pathLst>
          </a:custGeom>
          <a:solidFill>
            <a:srgbClr val="69FFE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4" name="Полилиния 993">
            <a:extLst>
              <a:ext uri="{FF2B5EF4-FFF2-40B4-BE49-F238E27FC236}">
                <a16:creationId xmlns:a16="http://schemas.microsoft.com/office/drawing/2014/main" id="{6BAA6E7F-DFA3-F89C-99D0-206527C19896}"/>
              </a:ext>
            </a:extLst>
          </p:cNvPr>
          <p:cNvSpPr/>
          <p:nvPr userDrawn="1"/>
        </p:nvSpPr>
        <p:spPr>
          <a:xfrm>
            <a:off x="13938073" y="8446726"/>
            <a:ext cx="696318" cy="128468"/>
          </a:xfrm>
          <a:custGeom>
            <a:avLst/>
            <a:gdLst>
              <a:gd name="connsiteX0" fmla="*/ 22111 w 596656"/>
              <a:gd name="connsiteY0" fmla="*/ 108588 h 110081"/>
              <a:gd name="connsiteX1" fmla="*/ 10159 w 596656"/>
              <a:gd name="connsiteY1" fmla="*/ 108588 h 110081"/>
              <a:gd name="connsiteX2" fmla="*/ 16434 w 596656"/>
              <a:gd name="connsiteY2" fmla="*/ 77661 h 110081"/>
              <a:gd name="connsiteX3" fmla="*/ 0 w 596656"/>
              <a:gd name="connsiteY3" fmla="*/ 77661 h 110081"/>
              <a:gd name="connsiteX4" fmla="*/ 0 w 596656"/>
              <a:gd name="connsiteY4" fmla="*/ 67206 h 110081"/>
              <a:gd name="connsiteX5" fmla="*/ 18675 w 596656"/>
              <a:gd name="connsiteY5" fmla="*/ 67206 h 110081"/>
              <a:gd name="connsiteX6" fmla="*/ 24202 w 596656"/>
              <a:gd name="connsiteY6" fmla="*/ 40012 h 110081"/>
              <a:gd name="connsiteX7" fmla="*/ 4034 w 596656"/>
              <a:gd name="connsiteY7" fmla="*/ 40012 h 110081"/>
              <a:gd name="connsiteX8" fmla="*/ 4034 w 596656"/>
              <a:gd name="connsiteY8" fmla="*/ 29559 h 110081"/>
              <a:gd name="connsiteX9" fmla="*/ 26294 w 596656"/>
              <a:gd name="connsiteY9" fmla="*/ 29559 h 110081"/>
              <a:gd name="connsiteX10" fmla="*/ 32120 w 596656"/>
              <a:gd name="connsiteY10" fmla="*/ 1493 h 110081"/>
              <a:gd name="connsiteX11" fmla="*/ 44072 w 596656"/>
              <a:gd name="connsiteY11" fmla="*/ 1493 h 110081"/>
              <a:gd name="connsiteX12" fmla="*/ 38246 w 596656"/>
              <a:gd name="connsiteY12" fmla="*/ 29559 h 110081"/>
              <a:gd name="connsiteX13" fmla="*/ 60655 w 596656"/>
              <a:gd name="connsiteY13" fmla="*/ 29559 h 110081"/>
              <a:gd name="connsiteX14" fmla="*/ 66482 w 596656"/>
              <a:gd name="connsiteY14" fmla="*/ 1493 h 110081"/>
              <a:gd name="connsiteX15" fmla="*/ 78434 w 596656"/>
              <a:gd name="connsiteY15" fmla="*/ 1493 h 110081"/>
              <a:gd name="connsiteX16" fmla="*/ 72607 w 596656"/>
              <a:gd name="connsiteY16" fmla="*/ 29559 h 110081"/>
              <a:gd name="connsiteX17" fmla="*/ 89340 w 596656"/>
              <a:gd name="connsiteY17" fmla="*/ 29559 h 110081"/>
              <a:gd name="connsiteX18" fmla="*/ 89340 w 596656"/>
              <a:gd name="connsiteY18" fmla="*/ 40012 h 110081"/>
              <a:gd name="connsiteX19" fmla="*/ 70516 w 596656"/>
              <a:gd name="connsiteY19" fmla="*/ 40012 h 110081"/>
              <a:gd name="connsiteX20" fmla="*/ 64988 w 596656"/>
              <a:gd name="connsiteY20" fmla="*/ 67206 h 110081"/>
              <a:gd name="connsiteX21" fmla="*/ 85306 w 596656"/>
              <a:gd name="connsiteY21" fmla="*/ 67206 h 110081"/>
              <a:gd name="connsiteX22" fmla="*/ 85306 w 596656"/>
              <a:gd name="connsiteY22" fmla="*/ 77661 h 110081"/>
              <a:gd name="connsiteX23" fmla="*/ 62747 w 596656"/>
              <a:gd name="connsiteY23" fmla="*/ 77661 h 110081"/>
              <a:gd name="connsiteX24" fmla="*/ 56472 w 596656"/>
              <a:gd name="connsiteY24" fmla="*/ 108588 h 110081"/>
              <a:gd name="connsiteX25" fmla="*/ 44520 w 596656"/>
              <a:gd name="connsiteY25" fmla="*/ 108588 h 110081"/>
              <a:gd name="connsiteX26" fmla="*/ 50795 w 596656"/>
              <a:gd name="connsiteY26" fmla="*/ 77661 h 110081"/>
              <a:gd name="connsiteX27" fmla="*/ 28386 w 596656"/>
              <a:gd name="connsiteY27" fmla="*/ 77661 h 110081"/>
              <a:gd name="connsiteX28" fmla="*/ 22111 w 596656"/>
              <a:gd name="connsiteY28" fmla="*/ 108588 h 110081"/>
              <a:gd name="connsiteX29" fmla="*/ 30626 w 596656"/>
              <a:gd name="connsiteY29" fmla="*/ 67206 h 110081"/>
              <a:gd name="connsiteX30" fmla="*/ 53036 w 596656"/>
              <a:gd name="connsiteY30" fmla="*/ 67206 h 110081"/>
              <a:gd name="connsiteX31" fmla="*/ 58564 w 596656"/>
              <a:gd name="connsiteY31" fmla="*/ 40012 h 110081"/>
              <a:gd name="connsiteX32" fmla="*/ 36154 w 596656"/>
              <a:gd name="connsiteY32" fmla="*/ 40012 h 110081"/>
              <a:gd name="connsiteX33" fmla="*/ 30626 w 596656"/>
              <a:gd name="connsiteY33" fmla="*/ 67206 h 110081"/>
              <a:gd name="connsiteX34" fmla="*/ 173264 w 596656"/>
              <a:gd name="connsiteY34" fmla="*/ 73491 h 110081"/>
              <a:gd name="connsiteX35" fmla="*/ 168483 w 596656"/>
              <a:gd name="connsiteY35" fmla="*/ 92782 h 110081"/>
              <a:gd name="connsiteX36" fmla="*/ 155784 w 596656"/>
              <a:gd name="connsiteY36" fmla="*/ 105601 h 110081"/>
              <a:gd name="connsiteX37" fmla="*/ 137707 w 596656"/>
              <a:gd name="connsiteY37" fmla="*/ 110082 h 110081"/>
              <a:gd name="connsiteX38" fmla="*/ 116044 w 596656"/>
              <a:gd name="connsiteY38" fmla="*/ 104108 h 110081"/>
              <a:gd name="connsiteX39" fmla="*/ 103943 w 596656"/>
              <a:gd name="connsiteY39" fmla="*/ 87555 h 110081"/>
              <a:gd name="connsiteX40" fmla="*/ 100208 w 596656"/>
              <a:gd name="connsiteY40" fmla="*/ 63161 h 110081"/>
              <a:gd name="connsiteX41" fmla="*/ 104690 w 596656"/>
              <a:gd name="connsiteY41" fmla="*/ 30181 h 110081"/>
              <a:gd name="connsiteX42" fmla="*/ 118734 w 596656"/>
              <a:gd name="connsiteY42" fmla="*/ 8089 h 110081"/>
              <a:gd name="connsiteX43" fmla="*/ 143235 w 596656"/>
              <a:gd name="connsiteY43" fmla="*/ 0 h 110081"/>
              <a:gd name="connsiteX44" fmla="*/ 165794 w 596656"/>
              <a:gd name="connsiteY44" fmla="*/ 5538 h 110081"/>
              <a:gd name="connsiteX45" fmla="*/ 165794 w 596656"/>
              <a:gd name="connsiteY45" fmla="*/ 18855 h 110081"/>
              <a:gd name="connsiteX46" fmla="*/ 143235 w 596656"/>
              <a:gd name="connsiteY46" fmla="*/ 12259 h 110081"/>
              <a:gd name="connsiteX47" fmla="*/ 127698 w 596656"/>
              <a:gd name="connsiteY47" fmla="*/ 17361 h 110081"/>
              <a:gd name="connsiteX48" fmla="*/ 117837 w 596656"/>
              <a:gd name="connsiteY48" fmla="*/ 31238 h 110081"/>
              <a:gd name="connsiteX49" fmla="*/ 113654 w 596656"/>
              <a:gd name="connsiteY49" fmla="*/ 50778 h 110081"/>
              <a:gd name="connsiteX50" fmla="*/ 125008 w 596656"/>
              <a:gd name="connsiteY50" fmla="*/ 40759 h 110081"/>
              <a:gd name="connsiteX51" fmla="*/ 139052 w 596656"/>
              <a:gd name="connsiteY51" fmla="*/ 37523 h 110081"/>
              <a:gd name="connsiteX52" fmla="*/ 156382 w 596656"/>
              <a:gd name="connsiteY52" fmla="*/ 41693 h 110081"/>
              <a:gd name="connsiteX53" fmla="*/ 168632 w 596656"/>
              <a:gd name="connsiteY53" fmla="*/ 53952 h 110081"/>
              <a:gd name="connsiteX54" fmla="*/ 173264 w 596656"/>
              <a:gd name="connsiteY54" fmla="*/ 73491 h 110081"/>
              <a:gd name="connsiteX55" fmla="*/ 137259 w 596656"/>
              <a:gd name="connsiteY55" fmla="*/ 98134 h 110081"/>
              <a:gd name="connsiteX56" fmla="*/ 148016 w 596656"/>
              <a:gd name="connsiteY56" fmla="*/ 95458 h 110081"/>
              <a:gd name="connsiteX57" fmla="*/ 155934 w 596656"/>
              <a:gd name="connsiteY57" fmla="*/ 87244 h 110081"/>
              <a:gd name="connsiteX58" fmla="*/ 159071 w 596656"/>
              <a:gd name="connsiteY58" fmla="*/ 73803 h 110081"/>
              <a:gd name="connsiteX59" fmla="*/ 156083 w 596656"/>
              <a:gd name="connsiteY59" fmla="*/ 60174 h 110081"/>
              <a:gd name="connsiteX60" fmla="*/ 148464 w 596656"/>
              <a:gd name="connsiteY60" fmla="*/ 51961 h 110081"/>
              <a:gd name="connsiteX61" fmla="*/ 138753 w 596656"/>
              <a:gd name="connsiteY61" fmla="*/ 49160 h 110081"/>
              <a:gd name="connsiteX62" fmla="*/ 122170 w 596656"/>
              <a:gd name="connsiteY62" fmla="*/ 55570 h 110081"/>
              <a:gd name="connsiteX63" fmla="*/ 115596 w 596656"/>
              <a:gd name="connsiteY63" fmla="*/ 74114 h 110081"/>
              <a:gd name="connsiteX64" fmla="*/ 121423 w 596656"/>
              <a:gd name="connsiteY64" fmla="*/ 91538 h 110081"/>
              <a:gd name="connsiteX65" fmla="*/ 137259 w 596656"/>
              <a:gd name="connsiteY65" fmla="*/ 98134 h 110081"/>
              <a:gd name="connsiteX66" fmla="*/ 182346 w 596656"/>
              <a:gd name="connsiteY66" fmla="*/ 35844 h 110081"/>
              <a:gd name="connsiteX67" fmla="*/ 186977 w 596656"/>
              <a:gd name="connsiteY67" fmla="*/ 17051 h 110081"/>
              <a:gd name="connsiteX68" fmla="*/ 199825 w 596656"/>
              <a:gd name="connsiteY68" fmla="*/ 4480 h 110081"/>
              <a:gd name="connsiteX69" fmla="*/ 217902 w 596656"/>
              <a:gd name="connsiteY69" fmla="*/ 0 h 110081"/>
              <a:gd name="connsiteX70" fmla="*/ 239565 w 596656"/>
              <a:gd name="connsiteY70" fmla="*/ 5849 h 110081"/>
              <a:gd name="connsiteX71" fmla="*/ 251666 w 596656"/>
              <a:gd name="connsiteY71" fmla="*/ 21842 h 110081"/>
              <a:gd name="connsiteX72" fmla="*/ 255401 w 596656"/>
              <a:gd name="connsiteY72" fmla="*/ 45426 h 110081"/>
              <a:gd name="connsiteX73" fmla="*/ 250770 w 596656"/>
              <a:gd name="connsiteY73" fmla="*/ 80088 h 110081"/>
              <a:gd name="connsiteX74" fmla="*/ 236428 w 596656"/>
              <a:gd name="connsiteY74" fmla="*/ 102303 h 110081"/>
              <a:gd name="connsiteX75" fmla="*/ 211927 w 596656"/>
              <a:gd name="connsiteY75" fmla="*/ 110082 h 110081"/>
              <a:gd name="connsiteX76" fmla="*/ 188919 w 596656"/>
              <a:gd name="connsiteY76" fmla="*/ 104543 h 110081"/>
              <a:gd name="connsiteX77" fmla="*/ 188919 w 596656"/>
              <a:gd name="connsiteY77" fmla="*/ 91413 h 110081"/>
              <a:gd name="connsiteX78" fmla="*/ 211927 w 596656"/>
              <a:gd name="connsiteY78" fmla="*/ 98010 h 110081"/>
              <a:gd name="connsiteX79" fmla="*/ 227464 w 596656"/>
              <a:gd name="connsiteY79" fmla="*/ 92907 h 110081"/>
              <a:gd name="connsiteX80" fmla="*/ 237175 w 596656"/>
              <a:gd name="connsiteY80" fmla="*/ 79154 h 110081"/>
              <a:gd name="connsiteX81" fmla="*/ 241507 w 596656"/>
              <a:gd name="connsiteY81" fmla="*/ 59739 h 110081"/>
              <a:gd name="connsiteX82" fmla="*/ 230452 w 596656"/>
              <a:gd name="connsiteY82" fmla="*/ 68389 h 110081"/>
              <a:gd name="connsiteX83" fmla="*/ 216558 w 596656"/>
              <a:gd name="connsiteY83" fmla="*/ 71127 h 110081"/>
              <a:gd name="connsiteX84" fmla="*/ 199228 w 596656"/>
              <a:gd name="connsiteY84" fmla="*/ 67082 h 110081"/>
              <a:gd name="connsiteX85" fmla="*/ 186828 w 596656"/>
              <a:gd name="connsiteY85" fmla="*/ 55134 h 110081"/>
              <a:gd name="connsiteX86" fmla="*/ 182346 w 596656"/>
              <a:gd name="connsiteY86" fmla="*/ 35844 h 110081"/>
              <a:gd name="connsiteX87" fmla="*/ 218351 w 596656"/>
              <a:gd name="connsiteY87" fmla="*/ 12134 h 110081"/>
              <a:gd name="connsiteX88" fmla="*/ 207594 w 596656"/>
              <a:gd name="connsiteY88" fmla="*/ 14810 h 110081"/>
              <a:gd name="connsiteX89" fmla="*/ 199527 w 596656"/>
              <a:gd name="connsiteY89" fmla="*/ 22589 h 110081"/>
              <a:gd name="connsiteX90" fmla="*/ 196539 w 596656"/>
              <a:gd name="connsiteY90" fmla="*/ 35532 h 110081"/>
              <a:gd name="connsiteX91" fmla="*/ 199527 w 596656"/>
              <a:gd name="connsiteY91" fmla="*/ 48725 h 110081"/>
              <a:gd name="connsiteX92" fmla="*/ 207146 w 596656"/>
              <a:gd name="connsiteY92" fmla="*/ 56752 h 110081"/>
              <a:gd name="connsiteX93" fmla="*/ 216857 w 596656"/>
              <a:gd name="connsiteY93" fmla="*/ 59428 h 110081"/>
              <a:gd name="connsiteX94" fmla="*/ 233290 w 596656"/>
              <a:gd name="connsiteY94" fmla="*/ 53329 h 110081"/>
              <a:gd name="connsiteX95" fmla="*/ 240013 w 596656"/>
              <a:gd name="connsiteY95" fmla="*/ 35283 h 110081"/>
              <a:gd name="connsiteX96" fmla="*/ 234187 w 596656"/>
              <a:gd name="connsiteY96" fmla="*/ 18544 h 110081"/>
              <a:gd name="connsiteX97" fmla="*/ 218351 w 596656"/>
              <a:gd name="connsiteY97" fmla="*/ 12134 h 110081"/>
              <a:gd name="connsiteX98" fmla="*/ 272109 w 596656"/>
              <a:gd name="connsiteY98" fmla="*/ 1493 h 110081"/>
              <a:gd name="connsiteX99" fmla="*/ 337545 w 596656"/>
              <a:gd name="connsiteY99" fmla="*/ 1493 h 110081"/>
              <a:gd name="connsiteX100" fmla="*/ 337545 w 596656"/>
              <a:gd name="connsiteY100" fmla="*/ 14374 h 110081"/>
              <a:gd name="connsiteX101" fmla="*/ 286152 w 596656"/>
              <a:gd name="connsiteY101" fmla="*/ 14374 h 110081"/>
              <a:gd name="connsiteX102" fmla="*/ 286152 w 596656"/>
              <a:gd name="connsiteY102" fmla="*/ 49907 h 110081"/>
              <a:gd name="connsiteX103" fmla="*/ 329776 w 596656"/>
              <a:gd name="connsiteY103" fmla="*/ 49907 h 110081"/>
              <a:gd name="connsiteX104" fmla="*/ 329776 w 596656"/>
              <a:gd name="connsiteY104" fmla="*/ 62601 h 110081"/>
              <a:gd name="connsiteX105" fmla="*/ 286152 w 596656"/>
              <a:gd name="connsiteY105" fmla="*/ 62601 h 110081"/>
              <a:gd name="connsiteX106" fmla="*/ 286152 w 596656"/>
              <a:gd name="connsiteY106" fmla="*/ 108588 h 110081"/>
              <a:gd name="connsiteX107" fmla="*/ 272109 w 596656"/>
              <a:gd name="connsiteY107" fmla="*/ 108588 h 110081"/>
              <a:gd name="connsiteX108" fmla="*/ 272109 w 596656"/>
              <a:gd name="connsiteY108" fmla="*/ 1493 h 110081"/>
              <a:gd name="connsiteX109" fmla="*/ 357016 w 596656"/>
              <a:gd name="connsiteY109" fmla="*/ 1493 h 110081"/>
              <a:gd name="connsiteX110" fmla="*/ 422452 w 596656"/>
              <a:gd name="connsiteY110" fmla="*/ 1493 h 110081"/>
              <a:gd name="connsiteX111" fmla="*/ 422452 w 596656"/>
              <a:gd name="connsiteY111" fmla="*/ 14374 h 110081"/>
              <a:gd name="connsiteX112" fmla="*/ 371060 w 596656"/>
              <a:gd name="connsiteY112" fmla="*/ 14374 h 110081"/>
              <a:gd name="connsiteX113" fmla="*/ 371060 w 596656"/>
              <a:gd name="connsiteY113" fmla="*/ 49907 h 110081"/>
              <a:gd name="connsiteX114" fmla="*/ 414684 w 596656"/>
              <a:gd name="connsiteY114" fmla="*/ 49907 h 110081"/>
              <a:gd name="connsiteX115" fmla="*/ 414684 w 596656"/>
              <a:gd name="connsiteY115" fmla="*/ 62601 h 110081"/>
              <a:gd name="connsiteX116" fmla="*/ 371060 w 596656"/>
              <a:gd name="connsiteY116" fmla="*/ 62601 h 110081"/>
              <a:gd name="connsiteX117" fmla="*/ 371060 w 596656"/>
              <a:gd name="connsiteY117" fmla="*/ 108588 h 110081"/>
              <a:gd name="connsiteX118" fmla="*/ 357016 w 596656"/>
              <a:gd name="connsiteY118" fmla="*/ 108588 h 110081"/>
              <a:gd name="connsiteX119" fmla="*/ 357016 w 596656"/>
              <a:gd name="connsiteY119" fmla="*/ 1493 h 110081"/>
              <a:gd name="connsiteX120" fmla="*/ 441930 w 596656"/>
              <a:gd name="connsiteY120" fmla="*/ 1493 h 110081"/>
              <a:gd name="connsiteX121" fmla="*/ 508263 w 596656"/>
              <a:gd name="connsiteY121" fmla="*/ 1493 h 110081"/>
              <a:gd name="connsiteX122" fmla="*/ 508263 w 596656"/>
              <a:gd name="connsiteY122" fmla="*/ 14374 h 110081"/>
              <a:gd name="connsiteX123" fmla="*/ 455974 w 596656"/>
              <a:gd name="connsiteY123" fmla="*/ 14374 h 110081"/>
              <a:gd name="connsiteX124" fmla="*/ 455974 w 596656"/>
              <a:gd name="connsiteY124" fmla="*/ 46734 h 110081"/>
              <a:gd name="connsiteX125" fmla="*/ 500345 w 596656"/>
              <a:gd name="connsiteY125" fmla="*/ 46734 h 110081"/>
              <a:gd name="connsiteX126" fmla="*/ 500345 w 596656"/>
              <a:gd name="connsiteY126" fmla="*/ 59428 h 110081"/>
              <a:gd name="connsiteX127" fmla="*/ 455974 w 596656"/>
              <a:gd name="connsiteY127" fmla="*/ 59428 h 110081"/>
              <a:gd name="connsiteX128" fmla="*/ 455974 w 596656"/>
              <a:gd name="connsiteY128" fmla="*/ 95893 h 110081"/>
              <a:gd name="connsiteX129" fmla="*/ 509010 w 596656"/>
              <a:gd name="connsiteY129" fmla="*/ 95893 h 110081"/>
              <a:gd name="connsiteX130" fmla="*/ 509010 w 596656"/>
              <a:gd name="connsiteY130" fmla="*/ 108588 h 110081"/>
              <a:gd name="connsiteX131" fmla="*/ 441930 w 596656"/>
              <a:gd name="connsiteY131" fmla="*/ 108588 h 110081"/>
              <a:gd name="connsiteX132" fmla="*/ 441930 w 596656"/>
              <a:gd name="connsiteY132" fmla="*/ 1493 h 110081"/>
              <a:gd name="connsiteX133" fmla="*/ 596656 w 596656"/>
              <a:gd name="connsiteY133" fmla="*/ 73491 h 110081"/>
              <a:gd name="connsiteX134" fmla="*/ 591875 w 596656"/>
              <a:gd name="connsiteY134" fmla="*/ 92782 h 110081"/>
              <a:gd name="connsiteX135" fmla="*/ 579177 w 596656"/>
              <a:gd name="connsiteY135" fmla="*/ 105601 h 110081"/>
              <a:gd name="connsiteX136" fmla="*/ 561100 w 596656"/>
              <a:gd name="connsiteY136" fmla="*/ 110082 h 110081"/>
              <a:gd name="connsiteX137" fmla="*/ 539437 w 596656"/>
              <a:gd name="connsiteY137" fmla="*/ 104108 h 110081"/>
              <a:gd name="connsiteX138" fmla="*/ 527336 w 596656"/>
              <a:gd name="connsiteY138" fmla="*/ 87555 h 110081"/>
              <a:gd name="connsiteX139" fmla="*/ 523601 w 596656"/>
              <a:gd name="connsiteY139" fmla="*/ 63161 h 110081"/>
              <a:gd name="connsiteX140" fmla="*/ 528083 w 596656"/>
              <a:gd name="connsiteY140" fmla="*/ 30181 h 110081"/>
              <a:gd name="connsiteX141" fmla="*/ 542126 w 596656"/>
              <a:gd name="connsiteY141" fmla="*/ 8089 h 110081"/>
              <a:gd name="connsiteX142" fmla="*/ 566627 w 596656"/>
              <a:gd name="connsiteY142" fmla="*/ 0 h 110081"/>
              <a:gd name="connsiteX143" fmla="*/ 589186 w 596656"/>
              <a:gd name="connsiteY143" fmla="*/ 5538 h 110081"/>
              <a:gd name="connsiteX144" fmla="*/ 589186 w 596656"/>
              <a:gd name="connsiteY144" fmla="*/ 18855 h 110081"/>
              <a:gd name="connsiteX145" fmla="*/ 566627 w 596656"/>
              <a:gd name="connsiteY145" fmla="*/ 12259 h 110081"/>
              <a:gd name="connsiteX146" fmla="*/ 551090 w 596656"/>
              <a:gd name="connsiteY146" fmla="*/ 17361 h 110081"/>
              <a:gd name="connsiteX147" fmla="*/ 541230 w 596656"/>
              <a:gd name="connsiteY147" fmla="*/ 31238 h 110081"/>
              <a:gd name="connsiteX148" fmla="*/ 537047 w 596656"/>
              <a:gd name="connsiteY148" fmla="*/ 50778 h 110081"/>
              <a:gd name="connsiteX149" fmla="*/ 548401 w 596656"/>
              <a:gd name="connsiteY149" fmla="*/ 40759 h 110081"/>
              <a:gd name="connsiteX150" fmla="*/ 562444 w 596656"/>
              <a:gd name="connsiteY150" fmla="*/ 37523 h 110081"/>
              <a:gd name="connsiteX151" fmla="*/ 579774 w 596656"/>
              <a:gd name="connsiteY151" fmla="*/ 41693 h 110081"/>
              <a:gd name="connsiteX152" fmla="*/ 592025 w 596656"/>
              <a:gd name="connsiteY152" fmla="*/ 53952 h 110081"/>
              <a:gd name="connsiteX153" fmla="*/ 596656 w 596656"/>
              <a:gd name="connsiteY153" fmla="*/ 73491 h 110081"/>
              <a:gd name="connsiteX154" fmla="*/ 560651 w 596656"/>
              <a:gd name="connsiteY154" fmla="*/ 98134 h 110081"/>
              <a:gd name="connsiteX155" fmla="*/ 571408 w 596656"/>
              <a:gd name="connsiteY155" fmla="*/ 95458 h 110081"/>
              <a:gd name="connsiteX156" fmla="*/ 579326 w 596656"/>
              <a:gd name="connsiteY156" fmla="*/ 87244 h 110081"/>
              <a:gd name="connsiteX157" fmla="*/ 582463 w 596656"/>
              <a:gd name="connsiteY157" fmla="*/ 73803 h 110081"/>
              <a:gd name="connsiteX158" fmla="*/ 579475 w 596656"/>
              <a:gd name="connsiteY158" fmla="*/ 60174 h 110081"/>
              <a:gd name="connsiteX159" fmla="*/ 571856 w 596656"/>
              <a:gd name="connsiteY159" fmla="*/ 51961 h 110081"/>
              <a:gd name="connsiteX160" fmla="*/ 562145 w 596656"/>
              <a:gd name="connsiteY160" fmla="*/ 49160 h 110081"/>
              <a:gd name="connsiteX161" fmla="*/ 545562 w 596656"/>
              <a:gd name="connsiteY161" fmla="*/ 55570 h 110081"/>
              <a:gd name="connsiteX162" fmla="*/ 538989 w 596656"/>
              <a:gd name="connsiteY162" fmla="*/ 74114 h 110081"/>
              <a:gd name="connsiteX163" fmla="*/ 544815 w 596656"/>
              <a:gd name="connsiteY163" fmla="*/ 91538 h 110081"/>
              <a:gd name="connsiteX164" fmla="*/ 560651 w 596656"/>
              <a:gd name="connsiteY164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59665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3264" y="73491"/>
                </a:moveTo>
                <a:cubicBezTo>
                  <a:pt x="173264" y="80772"/>
                  <a:pt x="171670" y="87182"/>
                  <a:pt x="168483" y="92782"/>
                </a:cubicBezTo>
                <a:cubicBezTo>
                  <a:pt x="165396" y="98258"/>
                  <a:pt x="161163" y="102490"/>
                  <a:pt x="155784" y="105601"/>
                </a:cubicBezTo>
                <a:cubicBezTo>
                  <a:pt x="150406" y="108588"/>
                  <a:pt x="144380" y="110082"/>
                  <a:pt x="137707" y="110082"/>
                </a:cubicBezTo>
                <a:cubicBezTo>
                  <a:pt x="128743" y="110082"/>
                  <a:pt x="121522" y="108091"/>
                  <a:pt x="116044" y="104108"/>
                </a:cubicBezTo>
                <a:cubicBezTo>
                  <a:pt x="110567" y="100125"/>
                  <a:pt x="106533" y="94587"/>
                  <a:pt x="103943" y="87555"/>
                </a:cubicBezTo>
                <a:cubicBezTo>
                  <a:pt x="101453" y="80461"/>
                  <a:pt x="100208" y="72372"/>
                  <a:pt x="100208" y="63161"/>
                </a:cubicBezTo>
                <a:cubicBezTo>
                  <a:pt x="100208" y="50653"/>
                  <a:pt x="101702" y="39639"/>
                  <a:pt x="104690" y="30181"/>
                </a:cubicBezTo>
                <a:cubicBezTo>
                  <a:pt x="107778" y="20722"/>
                  <a:pt x="112459" y="13379"/>
                  <a:pt x="118734" y="8089"/>
                </a:cubicBezTo>
                <a:cubicBezTo>
                  <a:pt x="125108" y="2675"/>
                  <a:pt x="133275" y="0"/>
                  <a:pt x="143235" y="0"/>
                </a:cubicBezTo>
                <a:cubicBezTo>
                  <a:pt x="151800" y="0"/>
                  <a:pt x="159320" y="1866"/>
                  <a:pt x="165794" y="5538"/>
                </a:cubicBezTo>
                <a:lnTo>
                  <a:pt x="165794" y="18855"/>
                </a:lnTo>
                <a:cubicBezTo>
                  <a:pt x="159320" y="14437"/>
                  <a:pt x="151800" y="12259"/>
                  <a:pt x="143235" y="12259"/>
                </a:cubicBezTo>
                <a:cubicBezTo>
                  <a:pt x="137060" y="12259"/>
                  <a:pt x="131881" y="13939"/>
                  <a:pt x="127698" y="17361"/>
                </a:cubicBezTo>
                <a:cubicBezTo>
                  <a:pt x="123514" y="20722"/>
                  <a:pt x="120228" y="25327"/>
                  <a:pt x="117837" y="31238"/>
                </a:cubicBezTo>
                <a:cubicBezTo>
                  <a:pt x="115546" y="37026"/>
                  <a:pt x="114152" y="43498"/>
                  <a:pt x="113654" y="50778"/>
                </a:cubicBezTo>
                <a:cubicBezTo>
                  <a:pt x="116941" y="46298"/>
                  <a:pt x="120726" y="42999"/>
                  <a:pt x="125008" y="40759"/>
                </a:cubicBezTo>
                <a:cubicBezTo>
                  <a:pt x="129291" y="38581"/>
                  <a:pt x="133972" y="37523"/>
                  <a:pt x="139052" y="37523"/>
                </a:cubicBezTo>
                <a:cubicBezTo>
                  <a:pt x="145526" y="37523"/>
                  <a:pt x="151302" y="38893"/>
                  <a:pt x="156382" y="41693"/>
                </a:cubicBezTo>
                <a:cubicBezTo>
                  <a:pt x="161561" y="44493"/>
                  <a:pt x="165645" y="48538"/>
                  <a:pt x="168632" y="53952"/>
                </a:cubicBezTo>
                <a:cubicBezTo>
                  <a:pt x="171720" y="59179"/>
                  <a:pt x="173264" y="65713"/>
                  <a:pt x="173264" y="73491"/>
                </a:cubicBezTo>
                <a:close/>
                <a:moveTo>
                  <a:pt x="137259" y="98134"/>
                </a:moveTo>
                <a:cubicBezTo>
                  <a:pt x="141143" y="98134"/>
                  <a:pt x="144729" y="97263"/>
                  <a:pt x="148016" y="95458"/>
                </a:cubicBezTo>
                <a:cubicBezTo>
                  <a:pt x="151302" y="93529"/>
                  <a:pt x="153942" y="90791"/>
                  <a:pt x="155934" y="87244"/>
                </a:cubicBezTo>
                <a:cubicBezTo>
                  <a:pt x="158025" y="83635"/>
                  <a:pt x="159071" y="79154"/>
                  <a:pt x="159071" y="73803"/>
                </a:cubicBezTo>
                <a:cubicBezTo>
                  <a:pt x="159071" y="68389"/>
                  <a:pt x="158075" y="63908"/>
                  <a:pt x="156083" y="60174"/>
                </a:cubicBezTo>
                <a:cubicBezTo>
                  <a:pt x="154091" y="56503"/>
                  <a:pt x="151551" y="53765"/>
                  <a:pt x="148464" y="51961"/>
                </a:cubicBezTo>
                <a:cubicBezTo>
                  <a:pt x="145376" y="50093"/>
                  <a:pt x="142139" y="49160"/>
                  <a:pt x="138753" y="49160"/>
                </a:cubicBezTo>
                <a:cubicBezTo>
                  <a:pt x="132179" y="49160"/>
                  <a:pt x="126652" y="51276"/>
                  <a:pt x="122170" y="55570"/>
                </a:cubicBezTo>
                <a:cubicBezTo>
                  <a:pt x="117787" y="59739"/>
                  <a:pt x="115596" y="65900"/>
                  <a:pt x="115596" y="74114"/>
                </a:cubicBezTo>
                <a:cubicBezTo>
                  <a:pt x="115596" y="81270"/>
                  <a:pt x="117538" y="87058"/>
                  <a:pt x="121423" y="91538"/>
                </a:cubicBezTo>
                <a:cubicBezTo>
                  <a:pt x="125307" y="95956"/>
                  <a:pt x="130586" y="98134"/>
                  <a:pt x="137259" y="98134"/>
                </a:cubicBezTo>
                <a:close/>
                <a:moveTo>
                  <a:pt x="182346" y="35844"/>
                </a:moveTo>
                <a:cubicBezTo>
                  <a:pt x="182346" y="28687"/>
                  <a:pt x="183890" y="22402"/>
                  <a:pt x="186977" y="17051"/>
                </a:cubicBezTo>
                <a:cubicBezTo>
                  <a:pt x="190164" y="11637"/>
                  <a:pt x="194447" y="7467"/>
                  <a:pt x="199825" y="4480"/>
                </a:cubicBezTo>
                <a:cubicBezTo>
                  <a:pt x="205204" y="1493"/>
                  <a:pt x="211229" y="0"/>
                  <a:pt x="217902" y="0"/>
                </a:cubicBezTo>
                <a:cubicBezTo>
                  <a:pt x="226866" y="0"/>
                  <a:pt x="234087" y="1929"/>
                  <a:pt x="239565" y="5849"/>
                </a:cubicBezTo>
                <a:cubicBezTo>
                  <a:pt x="245143" y="9645"/>
                  <a:pt x="249176" y="14934"/>
                  <a:pt x="251666" y="21842"/>
                </a:cubicBezTo>
                <a:cubicBezTo>
                  <a:pt x="254156" y="28563"/>
                  <a:pt x="255401" y="36466"/>
                  <a:pt x="255401" y="45426"/>
                </a:cubicBezTo>
                <a:cubicBezTo>
                  <a:pt x="255401" y="58868"/>
                  <a:pt x="253857" y="70380"/>
                  <a:pt x="250770" y="80088"/>
                </a:cubicBezTo>
                <a:cubicBezTo>
                  <a:pt x="247682" y="89733"/>
                  <a:pt x="242902" y="97138"/>
                  <a:pt x="236428" y="102303"/>
                </a:cubicBezTo>
                <a:cubicBezTo>
                  <a:pt x="230053" y="107468"/>
                  <a:pt x="221886" y="110082"/>
                  <a:pt x="211927" y="110082"/>
                </a:cubicBezTo>
                <a:cubicBezTo>
                  <a:pt x="202963" y="110082"/>
                  <a:pt x="195294" y="108215"/>
                  <a:pt x="188919" y="104543"/>
                </a:cubicBezTo>
                <a:lnTo>
                  <a:pt x="188919" y="91413"/>
                </a:lnTo>
                <a:cubicBezTo>
                  <a:pt x="195692" y="95769"/>
                  <a:pt x="203361" y="98010"/>
                  <a:pt x="211927" y="98010"/>
                </a:cubicBezTo>
                <a:cubicBezTo>
                  <a:pt x="218102" y="98010"/>
                  <a:pt x="223281" y="96267"/>
                  <a:pt x="227464" y="92907"/>
                </a:cubicBezTo>
                <a:cubicBezTo>
                  <a:pt x="231647" y="89546"/>
                  <a:pt x="234884" y="84941"/>
                  <a:pt x="237175" y="79154"/>
                </a:cubicBezTo>
                <a:cubicBezTo>
                  <a:pt x="239565" y="73367"/>
                  <a:pt x="241009" y="66896"/>
                  <a:pt x="241507" y="59739"/>
                </a:cubicBezTo>
                <a:cubicBezTo>
                  <a:pt x="238420" y="63660"/>
                  <a:pt x="234735" y="66522"/>
                  <a:pt x="230452" y="68389"/>
                </a:cubicBezTo>
                <a:cubicBezTo>
                  <a:pt x="226169" y="70193"/>
                  <a:pt x="221538" y="71127"/>
                  <a:pt x="216558" y="71127"/>
                </a:cubicBezTo>
                <a:cubicBezTo>
                  <a:pt x="210184" y="71127"/>
                  <a:pt x="204407" y="69758"/>
                  <a:pt x="199228" y="67082"/>
                </a:cubicBezTo>
                <a:cubicBezTo>
                  <a:pt x="194049" y="64406"/>
                  <a:pt x="189915" y="60424"/>
                  <a:pt x="186828" y="55134"/>
                </a:cubicBezTo>
                <a:cubicBezTo>
                  <a:pt x="183840" y="49845"/>
                  <a:pt x="182346" y="43435"/>
                  <a:pt x="182346" y="35844"/>
                </a:cubicBezTo>
                <a:close/>
                <a:moveTo>
                  <a:pt x="218351" y="12134"/>
                </a:moveTo>
                <a:cubicBezTo>
                  <a:pt x="214566" y="12134"/>
                  <a:pt x="210980" y="13006"/>
                  <a:pt x="207594" y="14810"/>
                </a:cubicBezTo>
                <a:cubicBezTo>
                  <a:pt x="204307" y="16490"/>
                  <a:pt x="201618" y="19104"/>
                  <a:pt x="199527" y="22589"/>
                </a:cubicBezTo>
                <a:cubicBezTo>
                  <a:pt x="197535" y="25949"/>
                  <a:pt x="196539" y="30305"/>
                  <a:pt x="196539" y="35532"/>
                </a:cubicBezTo>
                <a:cubicBezTo>
                  <a:pt x="196539" y="40759"/>
                  <a:pt x="197535" y="45116"/>
                  <a:pt x="199527" y="48725"/>
                </a:cubicBezTo>
                <a:cubicBezTo>
                  <a:pt x="201519" y="52271"/>
                  <a:pt x="204058" y="54947"/>
                  <a:pt x="207146" y="56752"/>
                </a:cubicBezTo>
                <a:cubicBezTo>
                  <a:pt x="210233" y="58556"/>
                  <a:pt x="213470" y="59428"/>
                  <a:pt x="216857" y="59428"/>
                </a:cubicBezTo>
                <a:cubicBezTo>
                  <a:pt x="223430" y="59428"/>
                  <a:pt x="228908" y="57437"/>
                  <a:pt x="233290" y="53329"/>
                </a:cubicBezTo>
                <a:cubicBezTo>
                  <a:pt x="237772" y="49160"/>
                  <a:pt x="240013" y="43124"/>
                  <a:pt x="240013" y="35283"/>
                </a:cubicBezTo>
                <a:cubicBezTo>
                  <a:pt x="240013" y="28313"/>
                  <a:pt x="238071" y="22713"/>
                  <a:pt x="234187" y="18544"/>
                </a:cubicBezTo>
                <a:cubicBezTo>
                  <a:pt x="230302" y="14250"/>
                  <a:pt x="225024" y="12134"/>
                  <a:pt x="218351" y="12134"/>
                </a:cubicBez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508263" y="1493"/>
                </a:lnTo>
                <a:lnTo>
                  <a:pt x="508263" y="14374"/>
                </a:lnTo>
                <a:lnTo>
                  <a:pt x="455974" y="14374"/>
                </a:lnTo>
                <a:lnTo>
                  <a:pt x="455974" y="46734"/>
                </a:lnTo>
                <a:lnTo>
                  <a:pt x="500345" y="46734"/>
                </a:lnTo>
                <a:lnTo>
                  <a:pt x="500345" y="59428"/>
                </a:lnTo>
                <a:lnTo>
                  <a:pt x="455974" y="59428"/>
                </a:lnTo>
                <a:lnTo>
                  <a:pt x="455974" y="95893"/>
                </a:lnTo>
                <a:lnTo>
                  <a:pt x="509010" y="95893"/>
                </a:lnTo>
                <a:lnTo>
                  <a:pt x="509010" y="108588"/>
                </a:ln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596656" y="73491"/>
                </a:moveTo>
                <a:cubicBezTo>
                  <a:pt x="596656" y="80772"/>
                  <a:pt x="595063" y="87182"/>
                  <a:pt x="591875" y="92782"/>
                </a:cubicBezTo>
                <a:cubicBezTo>
                  <a:pt x="588788" y="98258"/>
                  <a:pt x="584555" y="102490"/>
                  <a:pt x="579177" y="105601"/>
                </a:cubicBezTo>
                <a:cubicBezTo>
                  <a:pt x="573798" y="108588"/>
                  <a:pt x="567773" y="110082"/>
                  <a:pt x="561100" y="110082"/>
                </a:cubicBezTo>
                <a:cubicBezTo>
                  <a:pt x="552136" y="110082"/>
                  <a:pt x="544915" y="108091"/>
                  <a:pt x="539437" y="104108"/>
                </a:cubicBezTo>
                <a:cubicBezTo>
                  <a:pt x="533959" y="100125"/>
                  <a:pt x="529925" y="94587"/>
                  <a:pt x="527336" y="87555"/>
                </a:cubicBezTo>
                <a:cubicBezTo>
                  <a:pt x="524846" y="80461"/>
                  <a:pt x="523601" y="72372"/>
                  <a:pt x="523601" y="63161"/>
                </a:cubicBezTo>
                <a:cubicBezTo>
                  <a:pt x="523601" y="50653"/>
                  <a:pt x="525095" y="39639"/>
                  <a:pt x="528083" y="30181"/>
                </a:cubicBezTo>
                <a:cubicBezTo>
                  <a:pt x="531170" y="20722"/>
                  <a:pt x="535851" y="13379"/>
                  <a:pt x="542126" y="8089"/>
                </a:cubicBezTo>
                <a:cubicBezTo>
                  <a:pt x="548500" y="2675"/>
                  <a:pt x="556667" y="0"/>
                  <a:pt x="566627" y="0"/>
                </a:cubicBezTo>
                <a:cubicBezTo>
                  <a:pt x="575193" y="0"/>
                  <a:pt x="582713" y="1866"/>
                  <a:pt x="589186" y="5538"/>
                </a:cubicBezTo>
                <a:lnTo>
                  <a:pt x="589186" y="18855"/>
                </a:lnTo>
                <a:cubicBezTo>
                  <a:pt x="582713" y="14437"/>
                  <a:pt x="575193" y="12259"/>
                  <a:pt x="566627" y="12259"/>
                </a:cubicBezTo>
                <a:cubicBezTo>
                  <a:pt x="560452" y="12259"/>
                  <a:pt x="555273" y="13939"/>
                  <a:pt x="551090" y="17361"/>
                </a:cubicBezTo>
                <a:cubicBezTo>
                  <a:pt x="546907" y="20722"/>
                  <a:pt x="543620" y="25327"/>
                  <a:pt x="541230" y="31238"/>
                </a:cubicBezTo>
                <a:cubicBezTo>
                  <a:pt x="538939" y="37026"/>
                  <a:pt x="537545" y="43498"/>
                  <a:pt x="537047" y="50778"/>
                </a:cubicBezTo>
                <a:cubicBezTo>
                  <a:pt x="540333" y="46298"/>
                  <a:pt x="544118" y="42999"/>
                  <a:pt x="548401" y="40759"/>
                </a:cubicBezTo>
                <a:cubicBezTo>
                  <a:pt x="552684" y="38581"/>
                  <a:pt x="557365" y="37523"/>
                  <a:pt x="562444" y="37523"/>
                </a:cubicBezTo>
                <a:cubicBezTo>
                  <a:pt x="568918" y="37523"/>
                  <a:pt x="574695" y="38893"/>
                  <a:pt x="579774" y="41693"/>
                </a:cubicBezTo>
                <a:cubicBezTo>
                  <a:pt x="584953" y="44493"/>
                  <a:pt x="589037" y="48538"/>
                  <a:pt x="592025" y="53952"/>
                </a:cubicBezTo>
                <a:cubicBezTo>
                  <a:pt x="595112" y="59179"/>
                  <a:pt x="596656" y="65713"/>
                  <a:pt x="596656" y="73491"/>
                </a:cubicBezTo>
                <a:close/>
                <a:moveTo>
                  <a:pt x="560651" y="98134"/>
                </a:moveTo>
                <a:cubicBezTo>
                  <a:pt x="564536" y="98134"/>
                  <a:pt x="568121" y="97263"/>
                  <a:pt x="571408" y="95458"/>
                </a:cubicBezTo>
                <a:cubicBezTo>
                  <a:pt x="574695" y="93529"/>
                  <a:pt x="577334" y="90791"/>
                  <a:pt x="579326" y="87244"/>
                </a:cubicBezTo>
                <a:cubicBezTo>
                  <a:pt x="581418" y="83635"/>
                  <a:pt x="582463" y="79154"/>
                  <a:pt x="582463" y="73803"/>
                </a:cubicBezTo>
                <a:cubicBezTo>
                  <a:pt x="582463" y="68389"/>
                  <a:pt x="581467" y="63908"/>
                  <a:pt x="579475" y="60174"/>
                </a:cubicBezTo>
                <a:cubicBezTo>
                  <a:pt x="577483" y="56503"/>
                  <a:pt x="574944" y="53765"/>
                  <a:pt x="571856" y="51961"/>
                </a:cubicBezTo>
                <a:cubicBezTo>
                  <a:pt x="568769" y="50093"/>
                  <a:pt x="565532" y="49160"/>
                  <a:pt x="562145" y="49160"/>
                </a:cubicBezTo>
                <a:cubicBezTo>
                  <a:pt x="555572" y="49160"/>
                  <a:pt x="550044" y="51276"/>
                  <a:pt x="545562" y="55570"/>
                </a:cubicBezTo>
                <a:cubicBezTo>
                  <a:pt x="541180" y="59739"/>
                  <a:pt x="538989" y="65900"/>
                  <a:pt x="538989" y="74114"/>
                </a:cubicBezTo>
                <a:cubicBezTo>
                  <a:pt x="538989" y="81270"/>
                  <a:pt x="540931" y="87058"/>
                  <a:pt x="544815" y="91538"/>
                </a:cubicBezTo>
                <a:cubicBezTo>
                  <a:pt x="548700" y="95956"/>
                  <a:pt x="553978" y="98134"/>
                  <a:pt x="560651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5" name="Полилиния 994">
            <a:extLst>
              <a:ext uri="{FF2B5EF4-FFF2-40B4-BE49-F238E27FC236}">
                <a16:creationId xmlns:a16="http://schemas.microsoft.com/office/drawing/2014/main" id="{79CE05F2-3605-DD58-E938-E3790A091646}"/>
              </a:ext>
            </a:extLst>
          </p:cNvPr>
          <p:cNvSpPr/>
          <p:nvPr userDrawn="1"/>
        </p:nvSpPr>
        <p:spPr>
          <a:xfrm>
            <a:off x="13814863" y="8871205"/>
            <a:ext cx="1398954" cy="726227"/>
          </a:xfrm>
          <a:custGeom>
            <a:avLst/>
            <a:gdLst>
              <a:gd name="connsiteX0" fmla="*/ 213 w 1198727"/>
              <a:gd name="connsiteY0" fmla="*/ 1722 h 622284"/>
              <a:gd name="connsiteX1" fmla="*/ 1198941 w 1198727"/>
              <a:gd name="connsiteY1" fmla="*/ 1722 h 622284"/>
              <a:gd name="connsiteX2" fmla="*/ 1198941 w 1198727"/>
              <a:gd name="connsiteY2" fmla="*/ 624006 h 622284"/>
              <a:gd name="connsiteX3" fmla="*/ 213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722"/>
                </a:moveTo>
                <a:lnTo>
                  <a:pt x="1198941" y="1722"/>
                </a:lnTo>
                <a:lnTo>
                  <a:pt x="1198941" y="624006"/>
                </a:lnTo>
                <a:lnTo>
                  <a:pt x="213" y="624006"/>
                </a:lnTo>
                <a:close/>
              </a:path>
            </a:pathLst>
          </a:custGeom>
          <a:solidFill>
            <a:srgbClr val="96FFE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6" name="Полилиния 995">
            <a:extLst>
              <a:ext uri="{FF2B5EF4-FFF2-40B4-BE49-F238E27FC236}">
                <a16:creationId xmlns:a16="http://schemas.microsoft.com/office/drawing/2014/main" id="{231D771B-3ECD-D987-676E-7DCEFC45CFDD}"/>
              </a:ext>
            </a:extLst>
          </p:cNvPr>
          <p:cNvSpPr/>
          <p:nvPr userDrawn="1"/>
        </p:nvSpPr>
        <p:spPr>
          <a:xfrm>
            <a:off x="13938073" y="9172951"/>
            <a:ext cx="708870" cy="128468"/>
          </a:xfrm>
          <a:custGeom>
            <a:avLst/>
            <a:gdLst>
              <a:gd name="connsiteX0" fmla="*/ 22111 w 607412"/>
              <a:gd name="connsiteY0" fmla="*/ 108588 h 110081"/>
              <a:gd name="connsiteX1" fmla="*/ 10159 w 607412"/>
              <a:gd name="connsiteY1" fmla="*/ 108588 h 110081"/>
              <a:gd name="connsiteX2" fmla="*/ 16434 w 607412"/>
              <a:gd name="connsiteY2" fmla="*/ 77661 h 110081"/>
              <a:gd name="connsiteX3" fmla="*/ 0 w 607412"/>
              <a:gd name="connsiteY3" fmla="*/ 77661 h 110081"/>
              <a:gd name="connsiteX4" fmla="*/ 0 w 607412"/>
              <a:gd name="connsiteY4" fmla="*/ 67206 h 110081"/>
              <a:gd name="connsiteX5" fmla="*/ 18675 w 607412"/>
              <a:gd name="connsiteY5" fmla="*/ 67206 h 110081"/>
              <a:gd name="connsiteX6" fmla="*/ 24202 w 607412"/>
              <a:gd name="connsiteY6" fmla="*/ 40012 h 110081"/>
              <a:gd name="connsiteX7" fmla="*/ 4034 w 607412"/>
              <a:gd name="connsiteY7" fmla="*/ 40012 h 110081"/>
              <a:gd name="connsiteX8" fmla="*/ 4034 w 607412"/>
              <a:gd name="connsiteY8" fmla="*/ 29559 h 110081"/>
              <a:gd name="connsiteX9" fmla="*/ 26294 w 607412"/>
              <a:gd name="connsiteY9" fmla="*/ 29559 h 110081"/>
              <a:gd name="connsiteX10" fmla="*/ 32120 w 607412"/>
              <a:gd name="connsiteY10" fmla="*/ 1493 h 110081"/>
              <a:gd name="connsiteX11" fmla="*/ 44072 w 607412"/>
              <a:gd name="connsiteY11" fmla="*/ 1493 h 110081"/>
              <a:gd name="connsiteX12" fmla="*/ 38246 w 607412"/>
              <a:gd name="connsiteY12" fmla="*/ 29559 h 110081"/>
              <a:gd name="connsiteX13" fmla="*/ 60655 w 607412"/>
              <a:gd name="connsiteY13" fmla="*/ 29559 h 110081"/>
              <a:gd name="connsiteX14" fmla="*/ 66482 w 607412"/>
              <a:gd name="connsiteY14" fmla="*/ 1493 h 110081"/>
              <a:gd name="connsiteX15" fmla="*/ 78434 w 607412"/>
              <a:gd name="connsiteY15" fmla="*/ 1493 h 110081"/>
              <a:gd name="connsiteX16" fmla="*/ 72607 w 607412"/>
              <a:gd name="connsiteY16" fmla="*/ 29559 h 110081"/>
              <a:gd name="connsiteX17" fmla="*/ 89340 w 607412"/>
              <a:gd name="connsiteY17" fmla="*/ 29559 h 110081"/>
              <a:gd name="connsiteX18" fmla="*/ 89340 w 607412"/>
              <a:gd name="connsiteY18" fmla="*/ 40012 h 110081"/>
              <a:gd name="connsiteX19" fmla="*/ 70516 w 607412"/>
              <a:gd name="connsiteY19" fmla="*/ 40012 h 110081"/>
              <a:gd name="connsiteX20" fmla="*/ 64988 w 607412"/>
              <a:gd name="connsiteY20" fmla="*/ 67206 h 110081"/>
              <a:gd name="connsiteX21" fmla="*/ 85306 w 607412"/>
              <a:gd name="connsiteY21" fmla="*/ 67206 h 110081"/>
              <a:gd name="connsiteX22" fmla="*/ 85306 w 607412"/>
              <a:gd name="connsiteY22" fmla="*/ 77661 h 110081"/>
              <a:gd name="connsiteX23" fmla="*/ 62747 w 607412"/>
              <a:gd name="connsiteY23" fmla="*/ 77661 h 110081"/>
              <a:gd name="connsiteX24" fmla="*/ 56472 w 607412"/>
              <a:gd name="connsiteY24" fmla="*/ 108588 h 110081"/>
              <a:gd name="connsiteX25" fmla="*/ 44520 w 607412"/>
              <a:gd name="connsiteY25" fmla="*/ 108588 h 110081"/>
              <a:gd name="connsiteX26" fmla="*/ 50795 w 607412"/>
              <a:gd name="connsiteY26" fmla="*/ 77661 h 110081"/>
              <a:gd name="connsiteX27" fmla="*/ 28386 w 607412"/>
              <a:gd name="connsiteY27" fmla="*/ 77661 h 110081"/>
              <a:gd name="connsiteX28" fmla="*/ 22111 w 607412"/>
              <a:gd name="connsiteY28" fmla="*/ 108588 h 110081"/>
              <a:gd name="connsiteX29" fmla="*/ 30626 w 607412"/>
              <a:gd name="connsiteY29" fmla="*/ 67206 h 110081"/>
              <a:gd name="connsiteX30" fmla="*/ 53036 w 607412"/>
              <a:gd name="connsiteY30" fmla="*/ 67206 h 110081"/>
              <a:gd name="connsiteX31" fmla="*/ 58564 w 607412"/>
              <a:gd name="connsiteY31" fmla="*/ 40012 h 110081"/>
              <a:gd name="connsiteX32" fmla="*/ 36154 w 607412"/>
              <a:gd name="connsiteY32" fmla="*/ 40012 h 110081"/>
              <a:gd name="connsiteX33" fmla="*/ 30626 w 607412"/>
              <a:gd name="connsiteY33" fmla="*/ 67206 h 110081"/>
              <a:gd name="connsiteX34" fmla="*/ 100208 w 607412"/>
              <a:gd name="connsiteY34" fmla="*/ 35844 h 110081"/>
              <a:gd name="connsiteX35" fmla="*/ 104840 w 607412"/>
              <a:gd name="connsiteY35" fmla="*/ 17051 h 110081"/>
              <a:gd name="connsiteX36" fmla="*/ 117688 w 607412"/>
              <a:gd name="connsiteY36" fmla="*/ 4480 h 110081"/>
              <a:gd name="connsiteX37" fmla="*/ 135765 w 607412"/>
              <a:gd name="connsiteY37" fmla="*/ 0 h 110081"/>
              <a:gd name="connsiteX38" fmla="*/ 157428 w 607412"/>
              <a:gd name="connsiteY38" fmla="*/ 5849 h 110081"/>
              <a:gd name="connsiteX39" fmla="*/ 169529 w 607412"/>
              <a:gd name="connsiteY39" fmla="*/ 21842 h 110081"/>
              <a:gd name="connsiteX40" fmla="*/ 173264 w 607412"/>
              <a:gd name="connsiteY40" fmla="*/ 45426 h 110081"/>
              <a:gd name="connsiteX41" fmla="*/ 168632 w 607412"/>
              <a:gd name="connsiteY41" fmla="*/ 80088 h 110081"/>
              <a:gd name="connsiteX42" fmla="*/ 154290 w 607412"/>
              <a:gd name="connsiteY42" fmla="*/ 102303 h 110081"/>
              <a:gd name="connsiteX43" fmla="*/ 129789 w 607412"/>
              <a:gd name="connsiteY43" fmla="*/ 110082 h 110081"/>
              <a:gd name="connsiteX44" fmla="*/ 106782 w 607412"/>
              <a:gd name="connsiteY44" fmla="*/ 104543 h 110081"/>
              <a:gd name="connsiteX45" fmla="*/ 106782 w 607412"/>
              <a:gd name="connsiteY45" fmla="*/ 91413 h 110081"/>
              <a:gd name="connsiteX46" fmla="*/ 129789 w 607412"/>
              <a:gd name="connsiteY46" fmla="*/ 98010 h 110081"/>
              <a:gd name="connsiteX47" fmla="*/ 145326 w 607412"/>
              <a:gd name="connsiteY47" fmla="*/ 92907 h 110081"/>
              <a:gd name="connsiteX48" fmla="*/ 155037 w 607412"/>
              <a:gd name="connsiteY48" fmla="*/ 79154 h 110081"/>
              <a:gd name="connsiteX49" fmla="*/ 159370 w 607412"/>
              <a:gd name="connsiteY49" fmla="*/ 59739 h 110081"/>
              <a:gd name="connsiteX50" fmla="*/ 148314 w 607412"/>
              <a:gd name="connsiteY50" fmla="*/ 68389 h 110081"/>
              <a:gd name="connsiteX51" fmla="*/ 134420 w 607412"/>
              <a:gd name="connsiteY51" fmla="*/ 71127 h 110081"/>
              <a:gd name="connsiteX52" fmla="*/ 117090 w 607412"/>
              <a:gd name="connsiteY52" fmla="*/ 67082 h 110081"/>
              <a:gd name="connsiteX53" fmla="*/ 104690 w 607412"/>
              <a:gd name="connsiteY53" fmla="*/ 55134 h 110081"/>
              <a:gd name="connsiteX54" fmla="*/ 100208 w 607412"/>
              <a:gd name="connsiteY54" fmla="*/ 35844 h 110081"/>
              <a:gd name="connsiteX55" fmla="*/ 136213 w 607412"/>
              <a:gd name="connsiteY55" fmla="*/ 12134 h 110081"/>
              <a:gd name="connsiteX56" fmla="*/ 125457 w 607412"/>
              <a:gd name="connsiteY56" fmla="*/ 14810 h 110081"/>
              <a:gd name="connsiteX57" fmla="*/ 117389 w 607412"/>
              <a:gd name="connsiteY57" fmla="*/ 22589 h 110081"/>
              <a:gd name="connsiteX58" fmla="*/ 114401 w 607412"/>
              <a:gd name="connsiteY58" fmla="*/ 35532 h 110081"/>
              <a:gd name="connsiteX59" fmla="*/ 117389 w 607412"/>
              <a:gd name="connsiteY59" fmla="*/ 48725 h 110081"/>
              <a:gd name="connsiteX60" fmla="*/ 125008 w 607412"/>
              <a:gd name="connsiteY60" fmla="*/ 56752 h 110081"/>
              <a:gd name="connsiteX61" fmla="*/ 134719 w 607412"/>
              <a:gd name="connsiteY61" fmla="*/ 59428 h 110081"/>
              <a:gd name="connsiteX62" fmla="*/ 151153 w 607412"/>
              <a:gd name="connsiteY62" fmla="*/ 53329 h 110081"/>
              <a:gd name="connsiteX63" fmla="*/ 157876 w 607412"/>
              <a:gd name="connsiteY63" fmla="*/ 35283 h 110081"/>
              <a:gd name="connsiteX64" fmla="*/ 152049 w 607412"/>
              <a:gd name="connsiteY64" fmla="*/ 18544 h 110081"/>
              <a:gd name="connsiteX65" fmla="*/ 136213 w 607412"/>
              <a:gd name="connsiteY65" fmla="*/ 12134 h 110081"/>
              <a:gd name="connsiteX66" fmla="*/ 255401 w 607412"/>
              <a:gd name="connsiteY66" fmla="*/ 73491 h 110081"/>
              <a:gd name="connsiteX67" fmla="*/ 250620 w 607412"/>
              <a:gd name="connsiteY67" fmla="*/ 92782 h 110081"/>
              <a:gd name="connsiteX68" fmla="*/ 237922 w 607412"/>
              <a:gd name="connsiteY68" fmla="*/ 105601 h 110081"/>
              <a:gd name="connsiteX69" fmla="*/ 219845 w 607412"/>
              <a:gd name="connsiteY69" fmla="*/ 110082 h 110081"/>
              <a:gd name="connsiteX70" fmla="*/ 198182 w 607412"/>
              <a:gd name="connsiteY70" fmla="*/ 104108 h 110081"/>
              <a:gd name="connsiteX71" fmla="*/ 186081 w 607412"/>
              <a:gd name="connsiteY71" fmla="*/ 87555 h 110081"/>
              <a:gd name="connsiteX72" fmla="*/ 182346 w 607412"/>
              <a:gd name="connsiteY72" fmla="*/ 63161 h 110081"/>
              <a:gd name="connsiteX73" fmla="*/ 186828 w 607412"/>
              <a:gd name="connsiteY73" fmla="*/ 30181 h 110081"/>
              <a:gd name="connsiteX74" fmla="*/ 200871 w 607412"/>
              <a:gd name="connsiteY74" fmla="*/ 8089 h 110081"/>
              <a:gd name="connsiteX75" fmla="*/ 225372 w 607412"/>
              <a:gd name="connsiteY75" fmla="*/ 0 h 110081"/>
              <a:gd name="connsiteX76" fmla="*/ 247931 w 607412"/>
              <a:gd name="connsiteY76" fmla="*/ 5538 h 110081"/>
              <a:gd name="connsiteX77" fmla="*/ 247931 w 607412"/>
              <a:gd name="connsiteY77" fmla="*/ 18855 h 110081"/>
              <a:gd name="connsiteX78" fmla="*/ 225372 w 607412"/>
              <a:gd name="connsiteY78" fmla="*/ 12259 h 110081"/>
              <a:gd name="connsiteX79" fmla="*/ 209835 w 607412"/>
              <a:gd name="connsiteY79" fmla="*/ 17361 h 110081"/>
              <a:gd name="connsiteX80" fmla="*/ 199975 w 607412"/>
              <a:gd name="connsiteY80" fmla="*/ 31238 h 110081"/>
              <a:gd name="connsiteX81" fmla="*/ 195792 w 607412"/>
              <a:gd name="connsiteY81" fmla="*/ 50778 h 110081"/>
              <a:gd name="connsiteX82" fmla="*/ 207146 w 607412"/>
              <a:gd name="connsiteY82" fmla="*/ 40759 h 110081"/>
              <a:gd name="connsiteX83" fmla="*/ 221189 w 607412"/>
              <a:gd name="connsiteY83" fmla="*/ 37523 h 110081"/>
              <a:gd name="connsiteX84" fmla="*/ 238519 w 607412"/>
              <a:gd name="connsiteY84" fmla="*/ 41693 h 110081"/>
              <a:gd name="connsiteX85" fmla="*/ 250770 w 607412"/>
              <a:gd name="connsiteY85" fmla="*/ 53952 h 110081"/>
              <a:gd name="connsiteX86" fmla="*/ 255401 w 607412"/>
              <a:gd name="connsiteY86" fmla="*/ 73491 h 110081"/>
              <a:gd name="connsiteX87" fmla="*/ 219396 w 607412"/>
              <a:gd name="connsiteY87" fmla="*/ 98134 h 110081"/>
              <a:gd name="connsiteX88" fmla="*/ 230153 w 607412"/>
              <a:gd name="connsiteY88" fmla="*/ 95458 h 110081"/>
              <a:gd name="connsiteX89" fmla="*/ 238071 w 607412"/>
              <a:gd name="connsiteY89" fmla="*/ 87244 h 110081"/>
              <a:gd name="connsiteX90" fmla="*/ 241208 w 607412"/>
              <a:gd name="connsiteY90" fmla="*/ 73803 h 110081"/>
              <a:gd name="connsiteX91" fmla="*/ 238221 w 607412"/>
              <a:gd name="connsiteY91" fmla="*/ 60174 h 110081"/>
              <a:gd name="connsiteX92" fmla="*/ 230601 w 607412"/>
              <a:gd name="connsiteY92" fmla="*/ 51961 h 110081"/>
              <a:gd name="connsiteX93" fmla="*/ 220890 w 607412"/>
              <a:gd name="connsiteY93" fmla="*/ 49160 h 110081"/>
              <a:gd name="connsiteX94" fmla="*/ 204307 w 607412"/>
              <a:gd name="connsiteY94" fmla="*/ 55570 h 110081"/>
              <a:gd name="connsiteX95" fmla="*/ 197734 w 607412"/>
              <a:gd name="connsiteY95" fmla="*/ 74114 h 110081"/>
              <a:gd name="connsiteX96" fmla="*/ 203560 w 607412"/>
              <a:gd name="connsiteY96" fmla="*/ 91538 h 110081"/>
              <a:gd name="connsiteX97" fmla="*/ 219396 w 607412"/>
              <a:gd name="connsiteY97" fmla="*/ 98134 h 110081"/>
              <a:gd name="connsiteX98" fmla="*/ 272109 w 607412"/>
              <a:gd name="connsiteY98" fmla="*/ 1493 h 110081"/>
              <a:gd name="connsiteX99" fmla="*/ 337545 w 607412"/>
              <a:gd name="connsiteY99" fmla="*/ 1493 h 110081"/>
              <a:gd name="connsiteX100" fmla="*/ 337545 w 607412"/>
              <a:gd name="connsiteY100" fmla="*/ 14374 h 110081"/>
              <a:gd name="connsiteX101" fmla="*/ 286152 w 607412"/>
              <a:gd name="connsiteY101" fmla="*/ 14374 h 110081"/>
              <a:gd name="connsiteX102" fmla="*/ 286152 w 607412"/>
              <a:gd name="connsiteY102" fmla="*/ 49907 h 110081"/>
              <a:gd name="connsiteX103" fmla="*/ 329776 w 607412"/>
              <a:gd name="connsiteY103" fmla="*/ 49907 h 110081"/>
              <a:gd name="connsiteX104" fmla="*/ 329776 w 607412"/>
              <a:gd name="connsiteY104" fmla="*/ 62601 h 110081"/>
              <a:gd name="connsiteX105" fmla="*/ 286152 w 607412"/>
              <a:gd name="connsiteY105" fmla="*/ 62601 h 110081"/>
              <a:gd name="connsiteX106" fmla="*/ 286152 w 607412"/>
              <a:gd name="connsiteY106" fmla="*/ 108588 h 110081"/>
              <a:gd name="connsiteX107" fmla="*/ 272109 w 607412"/>
              <a:gd name="connsiteY107" fmla="*/ 108588 h 110081"/>
              <a:gd name="connsiteX108" fmla="*/ 272109 w 607412"/>
              <a:gd name="connsiteY108" fmla="*/ 1493 h 110081"/>
              <a:gd name="connsiteX109" fmla="*/ 357016 w 607412"/>
              <a:gd name="connsiteY109" fmla="*/ 1493 h 110081"/>
              <a:gd name="connsiteX110" fmla="*/ 422452 w 607412"/>
              <a:gd name="connsiteY110" fmla="*/ 1493 h 110081"/>
              <a:gd name="connsiteX111" fmla="*/ 422452 w 607412"/>
              <a:gd name="connsiteY111" fmla="*/ 14374 h 110081"/>
              <a:gd name="connsiteX112" fmla="*/ 371060 w 607412"/>
              <a:gd name="connsiteY112" fmla="*/ 14374 h 110081"/>
              <a:gd name="connsiteX113" fmla="*/ 371060 w 607412"/>
              <a:gd name="connsiteY113" fmla="*/ 49907 h 110081"/>
              <a:gd name="connsiteX114" fmla="*/ 414684 w 607412"/>
              <a:gd name="connsiteY114" fmla="*/ 49907 h 110081"/>
              <a:gd name="connsiteX115" fmla="*/ 414684 w 607412"/>
              <a:gd name="connsiteY115" fmla="*/ 62601 h 110081"/>
              <a:gd name="connsiteX116" fmla="*/ 371060 w 607412"/>
              <a:gd name="connsiteY116" fmla="*/ 62601 h 110081"/>
              <a:gd name="connsiteX117" fmla="*/ 371060 w 607412"/>
              <a:gd name="connsiteY117" fmla="*/ 108588 h 110081"/>
              <a:gd name="connsiteX118" fmla="*/ 357016 w 607412"/>
              <a:gd name="connsiteY118" fmla="*/ 108588 h 110081"/>
              <a:gd name="connsiteX119" fmla="*/ 357016 w 607412"/>
              <a:gd name="connsiteY119" fmla="*/ 1493 h 110081"/>
              <a:gd name="connsiteX120" fmla="*/ 441930 w 607412"/>
              <a:gd name="connsiteY120" fmla="*/ 1493 h 110081"/>
              <a:gd name="connsiteX121" fmla="*/ 508263 w 607412"/>
              <a:gd name="connsiteY121" fmla="*/ 1493 h 110081"/>
              <a:gd name="connsiteX122" fmla="*/ 508263 w 607412"/>
              <a:gd name="connsiteY122" fmla="*/ 14374 h 110081"/>
              <a:gd name="connsiteX123" fmla="*/ 455974 w 607412"/>
              <a:gd name="connsiteY123" fmla="*/ 14374 h 110081"/>
              <a:gd name="connsiteX124" fmla="*/ 455974 w 607412"/>
              <a:gd name="connsiteY124" fmla="*/ 46734 h 110081"/>
              <a:gd name="connsiteX125" fmla="*/ 500345 w 607412"/>
              <a:gd name="connsiteY125" fmla="*/ 46734 h 110081"/>
              <a:gd name="connsiteX126" fmla="*/ 500345 w 607412"/>
              <a:gd name="connsiteY126" fmla="*/ 59428 h 110081"/>
              <a:gd name="connsiteX127" fmla="*/ 455974 w 607412"/>
              <a:gd name="connsiteY127" fmla="*/ 59428 h 110081"/>
              <a:gd name="connsiteX128" fmla="*/ 455974 w 607412"/>
              <a:gd name="connsiteY128" fmla="*/ 95893 h 110081"/>
              <a:gd name="connsiteX129" fmla="*/ 509010 w 607412"/>
              <a:gd name="connsiteY129" fmla="*/ 95893 h 110081"/>
              <a:gd name="connsiteX130" fmla="*/ 509010 w 607412"/>
              <a:gd name="connsiteY130" fmla="*/ 108588 h 110081"/>
              <a:gd name="connsiteX131" fmla="*/ 441930 w 607412"/>
              <a:gd name="connsiteY131" fmla="*/ 108588 h 110081"/>
              <a:gd name="connsiteX132" fmla="*/ 441930 w 607412"/>
              <a:gd name="connsiteY132" fmla="*/ 1493 h 110081"/>
              <a:gd name="connsiteX133" fmla="*/ 531220 w 607412"/>
              <a:gd name="connsiteY133" fmla="*/ 1493 h 110081"/>
              <a:gd name="connsiteX134" fmla="*/ 567524 w 607412"/>
              <a:gd name="connsiteY134" fmla="*/ 1493 h 110081"/>
              <a:gd name="connsiteX135" fmla="*/ 594266 w 607412"/>
              <a:gd name="connsiteY135" fmla="*/ 7467 h 110081"/>
              <a:gd name="connsiteX136" fmla="*/ 603529 w 607412"/>
              <a:gd name="connsiteY136" fmla="*/ 27629 h 110081"/>
              <a:gd name="connsiteX137" fmla="*/ 597702 w 607412"/>
              <a:gd name="connsiteY137" fmla="*/ 45116 h 110081"/>
              <a:gd name="connsiteX138" fmla="*/ 582165 w 607412"/>
              <a:gd name="connsiteY138" fmla="*/ 53018 h 110081"/>
              <a:gd name="connsiteX139" fmla="*/ 600989 w 607412"/>
              <a:gd name="connsiteY139" fmla="*/ 60361 h 110081"/>
              <a:gd name="connsiteX140" fmla="*/ 607413 w 607412"/>
              <a:gd name="connsiteY140" fmla="*/ 77661 h 110081"/>
              <a:gd name="connsiteX141" fmla="*/ 602184 w 607412"/>
              <a:gd name="connsiteY141" fmla="*/ 95583 h 110081"/>
              <a:gd name="connsiteX142" fmla="*/ 587842 w 607412"/>
              <a:gd name="connsiteY142" fmla="*/ 105601 h 110081"/>
              <a:gd name="connsiteX143" fmla="*/ 567225 w 607412"/>
              <a:gd name="connsiteY143" fmla="*/ 108588 h 110081"/>
              <a:gd name="connsiteX144" fmla="*/ 531220 w 607412"/>
              <a:gd name="connsiteY144" fmla="*/ 108588 h 110081"/>
              <a:gd name="connsiteX145" fmla="*/ 531220 w 607412"/>
              <a:gd name="connsiteY145" fmla="*/ 1493 h 110081"/>
              <a:gd name="connsiteX146" fmla="*/ 566478 w 607412"/>
              <a:gd name="connsiteY146" fmla="*/ 47231 h 110081"/>
              <a:gd name="connsiteX147" fmla="*/ 582912 w 607412"/>
              <a:gd name="connsiteY147" fmla="*/ 42751 h 110081"/>
              <a:gd name="connsiteX148" fmla="*/ 589336 w 607412"/>
              <a:gd name="connsiteY148" fmla="*/ 28376 h 110081"/>
              <a:gd name="connsiteX149" fmla="*/ 583659 w 607412"/>
              <a:gd name="connsiteY149" fmla="*/ 17361 h 110081"/>
              <a:gd name="connsiteX150" fmla="*/ 567524 w 607412"/>
              <a:gd name="connsiteY150" fmla="*/ 14374 h 110081"/>
              <a:gd name="connsiteX151" fmla="*/ 545263 w 607412"/>
              <a:gd name="connsiteY151" fmla="*/ 14374 h 110081"/>
              <a:gd name="connsiteX152" fmla="*/ 545263 w 607412"/>
              <a:gd name="connsiteY152" fmla="*/ 47231 h 110081"/>
              <a:gd name="connsiteX153" fmla="*/ 566478 w 607412"/>
              <a:gd name="connsiteY153" fmla="*/ 47231 h 110081"/>
              <a:gd name="connsiteX154" fmla="*/ 567225 w 607412"/>
              <a:gd name="connsiteY154" fmla="*/ 95893 h 110081"/>
              <a:gd name="connsiteX155" fmla="*/ 585601 w 607412"/>
              <a:gd name="connsiteY155" fmla="*/ 92035 h 110081"/>
              <a:gd name="connsiteX156" fmla="*/ 592622 w 607412"/>
              <a:gd name="connsiteY156" fmla="*/ 77972 h 110081"/>
              <a:gd name="connsiteX157" fmla="*/ 586049 w 607412"/>
              <a:gd name="connsiteY157" fmla="*/ 63908 h 110081"/>
              <a:gd name="connsiteX158" fmla="*/ 565582 w 607412"/>
              <a:gd name="connsiteY158" fmla="*/ 59926 h 110081"/>
              <a:gd name="connsiteX159" fmla="*/ 545263 w 607412"/>
              <a:gd name="connsiteY159" fmla="*/ 59926 h 110081"/>
              <a:gd name="connsiteX160" fmla="*/ 545263 w 607412"/>
              <a:gd name="connsiteY160" fmla="*/ 95893 h 110081"/>
              <a:gd name="connsiteX161" fmla="*/ 567225 w 607412"/>
              <a:gd name="connsiteY161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7412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0208" y="35844"/>
                </a:moveTo>
                <a:cubicBezTo>
                  <a:pt x="100208" y="28687"/>
                  <a:pt x="101752" y="22402"/>
                  <a:pt x="104840" y="17051"/>
                </a:cubicBezTo>
                <a:cubicBezTo>
                  <a:pt x="108027" y="11637"/>
                  <a:pt x="112310" y="7467"/>
                  <a:pt x="117688" y="4480"/>
                </a:cubicBezTo>
                <a:cubicBezTo>
                  <a:pt x="123066" y="1493"/>
                  <a:pt x="129092" y="0"/>
                  <a:pt x="135765" y="0"/>
                </a:cubicBezTo>
                <a:cubicBezTo>
                  <a:pt x="144729" y="0"/>
                  <a:pt x="151950" y="1929"/>
                  <a:pt x="157428" y="5849"/>
                </a:cubicBezTo>
                <a:cubicBezTo>
                  <a:pt x="163005" y="9645"/>
                  <a:pt x="167039" y="14934"/>
                  <a:pt x="169529" y="21842"/>
                </a:cubicBezTo>
                <a:cubicBezTo>
                  <a:pt x="172019" y="28563"/>
                  <a:pt x="173264" y="36466"/>
                  <a:pt x="173264" y="45426"/>
                </a:cubicBezTo>
                <a:cubicBezTo>
                  <a:pt x="173264" y="58868"/>
                  <a:pt x="171720" y="70380"/>
                  <a:pt x="168632" y="80088"/>
                </a:cubicBezTo>
                <a:cubicBezTo>
                  <a:pt x="165545" y="89733"/>
                  <a:pt x="160764" y="97138"/>
                  <a:pt x="154290" y="102303"/>
                </a:cubicBezTo>
                <a:cubicBezTo>
                  <a:pt x="147916" y="107468"/>
                  <a:pt x="139749" y="110082"/>
                  <a:pt x="129789" y="110082"/>
                </a:cubicBezTo>
                <a:cubicBezTo>
                  <a:pt x="120825" y="110082"/>
                  <a:pt x="113156" y="108215"/>
                  <a:pt x="106782" y="104543"/>
                </a:cubicBezTo>
                <a:lnTo>
                  <a:pt x="106782" y="91413"/>
                </a:lnTo>
                <a:cubicBezTo>
                  <a:pt x="113555" y="95769"/>
                  <a:pt x="121224" y="98010"/>
                  <a:pt x="129789" y="98010"/>
                </a:cubicBezTo>
                <a:cubicBezTo>
                  <a:pt x="135964" y="98010"/>
                  <a:pt x="141143" y="96267"/>
                  <a:pt x="145326" y="92907"/>
                </a:cubicBezTo>
                <a:cubicBezTo>
                  <a:pt x="149510" y="89546"/>
                  <a:pt x="152746" y="84941"/>
                  <a:pt x="155037" y="79154"/>
                </a:cubicBezTo>
                <a:cubicBezTo>
                  <a:pt x="157428" y="73367"/>
                  <a:pt x="158872" y="66896"/>
                  <a:pt x="159370" y="59739"/>
                </a:cubicBezTo>
                <a:cubicBezTo>
                  <a:pt x="156282" y="63660"/>
                  <a:pt x="152597" y="66522"/>
                  <a:pt x="148314" y="68389"/>
                </a:cubicBezTo>
                <a:cubicBezTo>
                  <a:pt x="144032" y="70193"/>
                  <a:pt x="139400" y="71127"/>
                  <a:pt x="134420" y="71127"/>
                </a:cubicBezTo>
                <a:cubicBezTo>
                  <a:pt x="128046" y="71127"/>
                  <a:pt x="122269" y="69758"/>
                  <a:pt x="117090" y="67082"/>
                </a:cubicBezTo>
                <a:cubicBezTo>
                  <a:pt x="111911" y="64406"/>
                  <a:pt x="107778" y="60424"/>
                  <a:pt x="104690" y="55134"/>
                </a:cubicBezTo>
                <a:cubicBezTo>
                  <a:pt x="101702" y="49845"/>
                  <a:pt x="100208" y="43435"/>
                  <a:pt x="100208" y="35844"/>
                </a:cubicBezTo>
                <a:close/>
                <a:moveTo>
                  <a:pt x="136213" y="12134"/>
                </a:moveTo>
                <a:cubicBezTo>
                  <a:pt x="132428" y="12134"/>
                  <a:pt x="128843" y="13006"/>
                  <a:pt x="125457" y="14810"/>
                </a:cubicBezTo>
                <a:cubicBezTo>
                  <a:pt x="122170" y="16490"/>
                  <a:pt x="119481" y="19104"/>
                  <a:pt x="117389" y="22589"/>
                </a:cubicBezTo>
                <a:cubicBezTo>
                  <a:pt x="115397" y="25949"/>
                  <a:pt x="114401" y="30305"/>
                  <a:pt x="114401" y="35532"/>
                </a:cubicBezTo>
                <a:cubicBezTo>
                  <a:pt x="114401" y="40759"/>
                  <a:pt x="115397" y="45116"/>
                  <a:pt x="117389" y="48725"/>
                </a:cubicBezTo>
                <a:cubicBezTo>
                  <a:pt x="119381" y="52271"/>
                  <a:pt x="121921" y="54947"/>
                  <a:pt x="125008" y="56752"/>
                </a:cubicBezTo>
                <a:cubicBezTo>
                  <a:pt x="128096" y="58556"/>
                  <a:pt x="131333" y="59428"/>
                  <a:pt x="134719" y="59428"/>
                </a:cubicBezTo>
                <a:cubicBezTo>
                  <a:pt x="141293" y="59428"/>
                  <a:pt x="146771" y="57437"/>
                  <a:pt x="151153" y="53329"/>
                </a:cubicBezTo>
                <a:cubicBezTo>
                  <a:pt x="155635" y="49160"/>
                  <a:pt x="157876" y="43124"/>
                  <a:pt x="157876" y="35283"/>
                </a:cubicBezTo>
                <a:cubicBezTo>
                  <a:pt x="157876" y="28313"/>
                  <a:pt x="155934" y="22713"/>
                  <a:pt x="152049" y="18544"/>
                </a:cubicBezTo>
                <a:cubicBezTo>
                  <a:pt x="148165" y="14250"/>
                  <a:pt x="142886" y="12134"/>
                  <a:pt x="136213" y="12134"/>
                </a:cubicBezTo>
                <a:close/>
                <a:moveTo>
                  <a:pt x="255401" y="73491"/>
                </a:moveTo>
                <a:cubicBezTo>
                  <a:pt x="255401" y="80772"/>
                  <a:pt x="253808" y="87182"/>
                  <a:pt x="250620" y="92782"/>
                </a:cubicBezTo>
                <a:cubicBezTo>
                  <a:pt x="247533" y="98258"/>
                  <a:pt x="243300" y="102490"/>
                  <a:pt x="237922" y="105601"/>
                </a:cubicBezTo>
                <a:cubicBezTo>
                  <a:pt x="232543" y="108588"/>
                  <a:pt x="226518" y="110082"/>
                  <a:pt x="219845" y="110082"/>
                </a:cubicBezTo>
                <a:cubicBezTo>
                  <a:pt x="210881" y="110082"/>
                  <a:pt x="203660" y="108091"/>
                  <a:pt x="198182" y="104108"/>
                </a:cubicBezTo>
                <a:cubicBezTo>
                  <a:pt x="192704" y="100125"/>
                  <a:pt x="188670" y="94587"/>
                  <a:pt x="186081" y="87555"/>
                </a:cubicBezTo>
                <a:cubicBezTo>
                  <a:pt x="183591" y="80461"/>
                  <a:pt x="182346" y="72372"/>
                  <a:pt x="182346" y="63161"/>
                </a:cubicBezTo>
                <a:cubicBezTo>
                  <a:pt x="182346" y="50653"/>
                  <a:pt x="183840" y="39639"/>
                  <a:pt x="186828" y="30181"/>
                </a:cubicBezTo>
                <a:cubicBezTo>
                  <a:pt x="189915" y="20722"/>
                  <a:pt x="194596" y="13379"/>
                  <a:pt x="200871" y="8089"/>
                </a:cubicBezTo>
                <a:cubicBezTo>
                  <a:pt x="207245" y="2675"/>
                  <a:pt x="215413" y="0"/>
                  <a:pt x="225372" y="0"/>
                </a:cubicBezTo>
                <a:cubicBezTo>
                  <a:pt x="233938" y="0"/>
                  <a:pt x="241457" y="1866"/>
                  <a:pt x="247931" y="5538"/>
                </a:cubicBezTo>
                <a:lnTo>
                  <a:pt x="247931" y="18855"/>
                </a:lnTo>
                <a:cubicBezTo>
                  <a:pt x="241457" y="14437"/>
                  <a:pt x="233938" y="12259"/>
                  <a:pt x="225372" y="12259"/>
                </a:cubicBezTo>
                <a:cubicBezTo>
                  <a:pt x="219197" y="12259"/>
                  <a:pt x="214018" y="13939"/>
                  <a:pt x="209835" y="17361"/>
                </a:cubicBezTo>
                <a:cubicBezTo>
                  <a:pt x="205652" y="20722"/>
                  <a:pt x="202365" y="25327"/>
                  <a:pt x="199975" y="31238"/>
                </a:cubicBezTo>
                <a:cubicBezTo>
                  <a:pt x="197684" y="37026"/>
                  <a:pt x="196290" y="43498"/>
                  <a:pt x="195792" y="50778"/>
                </a:cubicBezTo>
                <a:cubicBezTo>
                  <a:pt x="199078" y="46298"/>
                  <a:pt x="202863" y="42999"/>
                  <a:pt x="207146" y="40759"/>
                </a:cubicBezTo>
                <a:cubicBezTo>
                  <a:pt x="211429" y="38581"/>
                  <a:pt x="216110" y="37523"/>
                  <a:pt x="221189" y="37523"/>
                </a:cubicBezTo>
                <a:cubicBezTo>
                  <a:pt x="227663" y="37523"/>
                  <a:pt x="233440" y="38893"/>
                  <a:pt x="238519" y="41693"/>
                </a:cubicBezTo>
                <a:cubicBezTo>
                  <a:pt x="243698" y="44493"/>
                  <a:pt x="247782" y="48538"/>
                  <a:pt x="250770" y="53952"/>
                </a:cubicBezTo>
                <a:cubicBezTo>
                  <a:pt x="253857" y="59179"/>
                  <a:pt x="255401" y="65713"/>
                  <a:pt x="255401" y="73491"/>
                </a:cubicBezTo>
                <a:close/>
                <a:moveTo>
                  <a:pt x="219396" y="98134"/>
                </a:moveTo>
                <a:cubicBezTo>
                  <a:pt x="223281" y="98134"/>
                  <a:pt x="226866" y="97263"/>
                  <a:pt x="230153" y="95458"/>
                </a:cubicBezTo>
                <a:cubicBezTo>
                  <a:pt x="233440" y="93529"/>
                  <a:pt x="236079" y="90791"/>
                  <a:pt x="238071" y="87244"/>
                </a:cubicBezTo>
                <a:cubicBezTo>
                  <a:pt x="240163" y="83635"/>
                  <a:pt x="241208" y="79154"/>
                  <a:pt x="241208" y="73803"/>
                </a:cubicBezTo>
                <a:cubicBezTo>
                  <a:pt x="241208" y="68389"/>
                  <a:pt x="240212" y="63908"/>
                  <a:pt x="238221" y="60174"/>
                </a:cubicBezTo>
                <a:cubicBezTo>
                  <a:pt x="236229" y="56503"/>
                  <a:pt x="233689" y="53765"/>
                  <a:pt x="230601" y="51961"/>
                </a:cubicBezTo>
                <a:cubicBezTo>
                  <a:pt x="227514" y="50093"/>
                  <a:pt x="224277" y="49160"/>
                  <a:pt x="220890" y="49160"/>
                </a:cubicBezTo>
                <a:cubicBezTo>
                  <a:pt x="214317" y="49160"/>
                  <a:pt x="208789" y="51276"/>
                  <a:pt x="204307" y="55570"/>
                </a:cubicBezTo>
                <a:cubicBezTo>
                  <a:pt x="199925" y="59739"/>
                  <a:pt x="197734" y="65900"/>
                  <a:pt x="197734" y="74114"/>
                </a:cubicBezTo>
                <a:cubicBezTo>
                  <a:pt x="197734" y="81270"/>
                  <a:pt x="199676" y="87058"/>
                  <a:pt x="203560" y="91538"/>
                </a:cubicBezTo>
                <a:cubicBezTo>
                  <a:pt x="207445" y="95956"/>
                  <a:pt x="212723" y="98134"/>
                  <a:pt x="219396" y="98134"/>
                </a:cubicBez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508263" y="1493"/>
                </a:lnTo>
                <a:lnTo>
                  <a:pt x="508263" y="14374"/>
                </a:lnTo>
                <a:lnTo>
                  <a:pt x="455974" y="14374"/>
                </a:lnTo>
                <a:lnTo>
                  <a:pt x="455974" y="46734"/>
                </a:lnTo>
                <a:lnTo>
                  <a:pt x="500345" y="46734"/>
                </a:lnTo>
                <a:lnTo>
                  <a:pt x="500345" y="59428"/>
                </a:lnTo>
                <a:lnTo>
                  <a:pt x="455974" y="59428"/>
                </a:lnTo>
                <a:lnTo>
                  <a:pt x="455974" y="95893"/>
                </a:lnTo>
                <a:lnTo>
                  <a:pt x="509010" y="95893"/>
                </a:lnTo>
                <a:lnTo>
                  <a:pt x="509010" y="108588"/>
                </a:ln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531220" y="1493"/>
                </a:moveTo>
                <a:lnTo>
                  <a:pt x="567524" y="1493"/>
                </a:lnTo>
                <a:cubicBezTo>
                  <a:pt x="579276" y="1493"/>
                  <a:pt x="588190" y="3484"/>
                  <a:pt x="594266" y="7467"/>
                </a:cubicBezTo>
                <a:cubicBezTo>
                  <a:pt x="600441" y="11450"/>
                  <a:pt x="603529" y="18170"/>
                  <a:pt x="603529" y="27629"/>
                </a:cubicBezTo>
                <a:cubicBezTo>
                  <a:pt x="603529" y="35283"/>
                  <a:pt x="601586" y="41133"/>
                  <a:pt x="597702" y="45116"/>
                </a:cubicBezTo>
                <a:cubicBezTo>
                  <a:pt x="593818" y="48974"/>
                  <a:pt x="588639" y="51649"/>
                  <a:pt x="582165" y="53018"/>
                </a:cubicBezTo>
                <a:cubicBezTo>
                  <a:pt x="590431" y="54014"/>
                  <a:pt x="596706" y="56441"/>
                  <a:pt x="600989" y="60361"/>
                </a:cubicBezTo>
                <a:cubicBezTo>
                  <a:pt x="605272" y="64157"/>
                  <a:pt x="607413" y="69882"/>
                  <a:pt x="607413" y="77661"/>
                </a:cubicBezTo>
                <a:cubicBezTo>
                  <a:pt x="607413" y="85066"/>
                  <a:pt x="605670" y="91040"/>
                  <a:pt x="602184" y="95583"/>
                </a:cubicBezTo>
                <a:cubicBezTo>
                  <a:pt x="598698" y="100188"/>
                  <a:pt x="593917" y="103486"/>
                  <a:pt x="587842" y="105601"/>
                </a:cubicBezTo>
                <a:cubicBezTo>
                  <a:pt x="581766" y="107592"/>
                  <a:pt x="574894" y="108588"/>
                  <a:pt x="567225" y="108588"/>
                </a:cubicBezTo>
                <a:lnTo>
                  <a:pt x="531220" y="108588"/>
                </a:lnTo>
                <a:lnTo>
                  <a:pt x="531220" y="1493"/>
                </a:lnTo>
                <a:close/>
                <a:moveTo>
                  <a:pt x="566478" y="47231"/>
                </a:moveTo>
                <a:cubicBezTo>
                  <a:pt x="573251" y="47231"/>
                  <a:pt x="578729" y="45738"/>
                  <a:pt x="582912" y="42751"/>
                </a:cubicBezTo>
                <a:cubicBezTo>
                  <a:pt x="587194" y="39639"/>
                  <a:pt x="589336" y="34848"/>
                  <a:pt x="589336" y="28376"/>
                </a:cubicBezTo>
                <a:cubicBezTo>
                  <a:pt x="589336" y="22900"/>
                  <a:pt x="587443" y="19228"/>
                  <a:pt x="583659" y="17361"/>
                </a:cubicBezTo>
                <a:cubicBezTo>
                  <a:pt x="579874" y="15370"/>
                  <a:pt x="574496" y="14374"/>
                  <a:pt x="567524" y="14374"/>
                </a:cubicBezTo>
                <a:lnTo>
                  <a:pt x="545263" y="14374"/>
                </a:lnTo>
                <a:lnTo>
                  <a:pt x="545263" y="47231"/>
                </a:lnTo>
                <a:lnTo>
                  <a:pt x="566478" y="47231"/>
                </a:lnTo>
                <a:close/>
                <a:moveTo>
                  <a:pt x="567225" y="95893"/>
                </a:moveTo>
                <a:cubicBezTo>
                  <a:pt x="574794" y="95893"/>
                  <a:pt x="580920" y="94587"/>
                  <a:pt x="585601" y="92035"/>
                </a:cubicBezTo>
                <a:cubicBezTo>
                  <a:pt x="590282" y="89422"/>
                  <a:pt x="592622" y="84755"/>
                  <a:pt x="592622" y="77972"/>
                </a:cubicBezTo>
                <a:cubicBezTo>
                  <a:pt x="592622" y="71189"/>
                  <a:pt x="590431" y="66522"/>
                  <a:pt x="586049" y="63908"/>
                </a:cubicBezTo>
                <a:cubicBezTo>
                  <a:pt x="581766" y="61233"/>
                  <a:pt x="574944" y="59926"/>
                  <a:pt x="565582" y="59926"/>
                </a:cubicBezTo>
                <a:lnTo>
                  <a:pt x="545263" y="59926"/>
                </a:lnTo>
                <a:lnTo>
                  <a:pt x="545263" y="95893"/>
                </a:lnTo>
                <a:lnTo>
                  <a:pt x="567225" y="958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7" name="Полилиния 996">
            <a:extLst>
              <a:ext uri="{FF2B5EF4-FFF2-40B4-BE49-F238E27FC236}">
                <a16:creationId xmlns:a16="http://schemas.microsoft.com/office/drawing/2014/main" id="{B257ED82-5644-6219-F848-95ADFEDF5CC8}"/>
              </a:ext>
            </a:extLst>
          </p:cNvPr>
          <p:cNvSpPr/>
          <p:nvPr userDrawn="1"/>
        </p:nvSpPr>
        <p:spPr>
          <a:xfrm>
            <a:off x="13814863" y="9597431"/>
            <a:ext cx="1398954" cy="726227"/>
          </a:xfrm>
          <a:custGeom>
            <a:avLst/>
            <a:gdLst>
              <a:gd name="connsiteX0" fmla="*/ 213 w 1198727"/>
              <a:gd name="connsiteY0" fmla="*/ 1822 h 622284"/>
              <a:gd name="connsiteX1" fmla="*/ 1198941 w 1198727"/>
              <a:gd name="connsiteY1" fmla="*/ 1822 h 622284"/>
              <a:gd name="connsiteX2" fmla="*/ 1198941 w 1198727"/>
              <a:gd name="connsiteY2" fmla="*/ 624106 h 622284"/>
              <a:gd name="connsiteX3" fmla="*/ 213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822"/>
                </a:moveTo>
                <a:lnTo>
                  <a:pt x="1198941" y="1822"/>
                </a:lnTo>
                <a:lnTo>
                  <a:pt x="1198941" y="624106"/>
                </a:lnTo>
                <a:lnTo>
                  <a:pt x="213" y="624106"/>
                </a:lnTo>
                <a:close/>
              </a:path>
            </a:pathLst>
          </a:custGeom>
          <a:solidFill>
            <a:srgbClr val="BEFF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8" name="Полилиния 997">
            <a:extLst>
              <a:ext uri="{FF2B5EF4-FFF2-40B4-BE49-F238E27FC236}">
                <a16:creationId xmlns:a16="http://schemas.microsoft.com/office/drawing/2014/main" id="{FD64E25C-3B21-468E-8E94-56F01EF14D13}"/>
              </a:ext>
            </a:extLst>
          </p:cNvPr>
          <p:cNvSpPr/>
          <p:nvPr userDrawn="1"/>
        </p:nvSpPr>
        <p:spPr>
          <a:xfrm>
            <a:off x="13938073" y="9899395"/>
            <a:ext cx="714145" cy="128252"/>
          </a:xfrm>
          <a:custGeom>
            <a:avLst/>
            <a:gdLst>
              <a:gd name="connsiteX0" fmla="*/ 22111 w 611932"/>
              <a:gd name="connsiteY0" fmla="*/ 108402 h 109895"/>
              <a:gd name="connsiteX1" fmla="*/ 10159 w 611932"/>
              <a:gd name="connsiteY1" fmla="*/ 108402 h 109895"/>
              <a:gd name="connsiteX2" fmla="*/ 16434 w 611932"/>
              <a:gd name="connsiteY2" fmla="*/ 77475 h 109895"/>
              <a:gd name="connsiteX3" fmla="*/ 0 w 611932"/>
              <a:gd name="connsiteY3" fmla="*/ 77475 h 109895"/>
              <a:gd name="connsiteX4" fmla="*/ 0 w 611932"/>
              <a:gd name="connsiteY4" fmla="*/ 67020 h 109895"/>
              <a:gd name="connsiteX5" fmla="*/ 18675 w 611932"/>
              <a:gd name="connsiteY5" fmla="*/ 67020 h 109895"/>
              <a:gd name="connsiteX6" fmla="*/ 24202 w 611932"/>
              <a:gd name="connsiteY6" fmla="*/ 39826 h 109895"/>
              <a:gd name="connsiteX7" fmla="*/ 4034 w 611932"/>
              <a:gd name="connsiteY7" fmla="*/ 39826 h 109895"/>
              <a:gd name="connsiteX8" fmla="*/ 4034 w 611932"/>
              <a:gd name="connsiteY8" fmla="*/ 29372 h 109895"/>
              <a:gd name="connsiteX9" fmla="*/ 26294 w 611932"/>
              <a:gd name="connsiteY9" fmla="*/ 29372 h 109895"/>
              <a:gd name="connsiteX10" fmla="*/ 32120 w 611932"/>
              <a:gd name="connsiteY10" fmla="*/ 1307 h 109895"/>
              <a:gd name="connsiteX11" fmla="*/ 44072 w 611932"/>
              <a:gd name="connsiteY11" fmla="*/ 1307 h 109895"/>
              <a:gd name="connsiteX12" fmla="*/ 38246 w 611932"/>
              <a:gd name="connsiteY12" fmla="*/ 29372 h 109895"/>
              <a:gd name="connsiteX13" fmla="*/ 60655 w 611932"/>
              <a:gd name="connsiteY13" fmla="*/ 29372 h 109895"/>
              <a:gd name="connsiteX14" fmla="*/ 66482 w 611932"/>
              <a:gd name="connsiteY14" fmla="*/ 1307 h 109895"/>
              <a:gd name="connsiteX15" fmla="*/ 78434 w 611932"/>
              <a:gd name="connsiteY15" fmla="*/ 1307 h 109895"/>
              <a:gd name="connsiteX16" fmla="*/ 72607 w 611932"/>
              <a:gd name="connsiteY16" fmla="*/ 29372 h 109895"/>
              <a:gd name="connsiteX17" fmla="*/ 89340 w 611932"/>
              <a:gd name="connsiteY17" fmla="*/ 29372 h 109895"/>
              <a:gd name="connsiteX18" fmla="*/ 89340 w 611932"/>
              <a:gd name="connsiteY18" fmla="*/ 39826 h 109895"/>
              <a:gd name="connsiteX19" fmla="*/ 70516 w 611932"/>
              <a:gd name="connsiteY19" fmla="*/ 39826 h 109895"/>
              <a:gd name="connsiteX20" fmla="*/ 64988 w 611932"/>
              <a:gd name="connsiteY20" fmla="*/ 67020 h 109895"/>
              <a:gd name="connsiteX21" fmla="*/ 85306 w 611932"/>
              <a:gd name="connsiteY21" fmla="*/ 67020 h 109895"/>
              <a:gd name="connsiteX22" fmla="*/ 85306 w 611932"/>
              <a:gd name="connsiteY22" fmla="*/ 77475 h 109895"/>
              <a:gd name="connsiteX23" fmla="*/ 62747 w 611932"/>
              <a:gd name="connsiteY23" fmla="*/ 77475 h 109895"/>
              <a:gd name="connsiteX24" fmla="*/ 56472 w 611932"/>
              <a:gd name="connsiteY24" fmla="*/ 108402 h 109895"/>
              <a:gd name="connsiteX25" fmla="*/ 44520 w 611932"/>
              <a:gd name="connsiteY25" fmla="*/ 108402 h 109895"/>
              <a:gd name="connsiteX26" fmla="*/ 50795 w 611932"/>
              <a:gd name="connsiteY26" fmla="*/ 77475 h 109895"/>
              <a:gd name="connsiteX27" fmla="*/ 28386 w 611932"/>
              <a:gd name="connsiteY27" fmla="*/ 77475 h 109895"/>
              <a:gd name="connsiteX28" fmla="*/ 22111 w 611932"/>
              <a:gd name="connsiteY28" fmla="*/ 108402 h 109895"/>
              <a:gd name="connsiteX29" fmla="*/ 30626 w 611932"/>
              <a:gd name="connsiteY29" fmla="*/ 67020 h 109895"/>
              <a:gd name="connsiteX30" fmla="*/ 53036 w 611932"/>
              <a:gd name="connsiteY30" fmla="*/ 67020 h 109895"/>
              <a:gd name="connsiteX31" fmla="*/ 58564 w 611932"/>
              <a:gd name="connsiteY31" fmla="*/ 39826 h 109895"/>
              <a:gd name="connsiteX32" fmla="*/ 36154 w 611932"/>
              <a:gd name="connsiteY32" fmla="*/ 39826 h 109895"/>
              <a:gd name="connsiteX33" fmla="*/ 30626 w 611932"/>
              <a:gd name="connsiteY33" fmla="*/ 67020 h 109895"/>
              <a:gd name="connsiteX34" fmla="*/ 107828 w 611932"/>
              <a:gd name="connsiteY34" fmla="*/ 1307 h 109895"/>
              <a:gd name="connsiteX35" fmla="*/ 144131 w 611932"/>
              <a:gd name="connsiteY35" fmla="*/ 1307 h 109895"/>
              <a:gd name="connsiteX36" fmla="*/ 170873 w 611932"/>
              <a:gd name="connsiteY36" fmla="*/ 7281 h 109895"/>
              <a:gd name="connsiteX37" fmla="*/ 180136 w 611932"/>
              <a:gd name="connsiteY37" fmla="*/ 27443 h 109895"/>
              <a:gd name="connsiteX38" fmla="*/ 174310 w 611932"/>
              <a:gd name="connsiteY38" fmla="*/ 44930 h 109895"/>
              <a:gd name="connsiteX39" fmla="*/ 158772 w 611932"/>
              <a:gd name="connsiteY39" fmla="*/ 52832 h 109895"/>
              <a:gd name="connsiteX40" fmla="*/ 177596 w 611932"/>
              <a:gd name="connsiteY40" fmla="*/ 60175 h 109895"/>
              <a:gd name="connsiteX41" fmla="*/ 184020 w 611932"/>
              <a:gd name="connsiteY41" fmla="*/ 77475 h 109895"/>
              <a:gd name="connsiteX42" fmla="*/ 178792 w 611932"/>
              <a:gd name="connsiteY42" fmla="*/ 95397 h 109895"/>
              <a:gd name="connsiteX43" fmla="*/ 164449 w 611932"/>
              <a:gd name="connsiteY43" fmla="*/ 105415 h 109895"/>
              <a:gd name="connsiteX44" fmla="*/ 143832 w 611932"/>
              <a:gd name="connsiteY44" fmla="*/ 108402 h 109895"/>
              <a:gd name="connsiteX45" fmla="*/ 107828 w 611932"/>
              <a:gd name="connsiteY45" fmla="*/ 108402 h 109895"/>
              <a:gd name="connsiteX46" fmla="*/ 107828 w 611932"/>
              <a:gd name="connsiteY46" fmla="*/ 1307 h 109895"/>
              <a:gd name="connsiteX47" fmla="*/ 143085 w 611932"/>
              <a:gd name="connsiteY47" fmla="*/ 47045 h 109895"/>
              <a:gd name="connsiteX48" fmla="*/ 159519 w 611932"/>
              <a:gd name="connsiteY48" fmla="*/ 42565 h 109895"/>
              <a:gd name="connsiteX49" fmla="*/ 165943 w 611932"/>
              <a:gd name="connsiteY49" fmla="*/ 28190 h 109895"/>
              <a:gd name="connsiteX50" fmla="*/ 160266 w 611932"/>
              <a:gd name="connsiteY50" fmla="*/ 17175 h 109895"/>
              <a:gd name="connsiteX51" fmla="*/ 144131 w 611932"/>
              <a:gd name="connsiteY51" fmla="*/ 14188 h 109895"/>
              <a:gd name="connsiteX52" fmla="*/ 121871 w 611932"/>
              <a:gd name="connsiteY52" fmla="*/ 14188 h 109895"/>
              <a:gd name="connsiteX53" fmla="*/ 121871 w 611932"/>
              <a:gd name="connsiteY53" fmla="*/ 47045 h 109895"/>
              <a:gd name="connsiteX54" fmla="*/ 143085 w 611932"/>
              <a:gd name="connsiteY54" fmla="*/ 47045 h 109895"/>
              <a:gd name="connsiteX55" fmla="*/ 143832 w 611932"/>
              <a:gd name="connsiteY55" fmla="*/ 95707 h 109895"/>
              <a:gd name="connsiteX56" fmla="*/ 162208 w 611932"/>
              <a:gd name="connsiteY56" fmla="*/ 91849 h 109895"/>
              <a:gd name="connsiteX57" fmla="*/ 169230 w 611932"/>
              <a:gd name="connsiteY57" fmla="*/ 77786 h 109895"/>
              <a:gd name="connsiteX58" fmla="*/ 162657 w 611932"/>
              <a:gd name="connsiteY58" fmla="*/ 63722 h 109895"/>
              <a:gd name="connsiteX59" fmla="*/ 142189 w 611932"/>
              <a:gd name="connsiteY59" fmla="*/ 59740 h 109895"/>
              <a:gd name="connsiteX60" fmla="*/ 121871 w 611932"/>
              <a:gd name="connsiteY60" fmla="*/ 59740 h 109895"/>
              <a:gd name="connsiteX61" fmla="*/ 121871 w 611932"/>
              <a:gd name="connsiteY61" fmla="*/ 95707 h 109895"/>
              <a:gd name="connsiteX62" fmla="*/ 143832 w 611932"/>
              <a:gd name="connsiteY62" fmla="*/ 95707 h 109895"/>
              <a:gd name="connsiteX63" fmla="*/ 204121 w 611932"/>
              <a:gd name="connsiteY63" fmla="*/ 1307 h 109895"/>
              <a:gd name="connsiteX64" fmla="*/ 270453 w 611932"/>
              <a:gd name="connsiteY64" fmla="*/ 1307 h 109895"/>
              <a:gd name="connsiteX65" fmla="*/ 270453 w 611932"/>
              <a:gd name="connsiteY65" fmla="*/ 14188 h 109895"/>
              <a:gd name="connsiteX66" fmla="*/ 218164 w 611932"/>
              <a:gd name="connsiteY66" fmla="*/ 14188 h 109895"/>
              <a:gd name="connsiteX67" fmla="*/ 218164 w 611932"/>
              <a:gd name="connsiteY67" fmla="*/ 46547 h 109895"/>
              <a:gd name="connsiteX68" fmla="*/ 262535 w 611932"/>
              <a:gd name="connsiteY68" fmla="*/ 46547 h 109895"/>
              <a:gd name="connsiteX69" fmla="*/ 262535 w 611932"/>
              <a:gd name="connsiteY69" fmla="*/ 59242 h 109895"/>
              <a:gd name="connsiteX70" fmla="*/ 218164 w 611932"/>
              <a:gd name="connsiteY70" fmla="*/ 59242 h 109895"/>
              <a:gd name="connsiteX71" fmla="*/ 218164 w 611932"/>
              <a:gd name="connsiteY71" fmla="*/ 95707 h 109895"/>
              <a:gd name="connsiteX72" fmla="*/ 271200 w 611932"/>
              <a:gd name="connsiteY72" fmla="*/ 95707 h 109895"/>
              <a:gd name="connsiteX73" fmla="*/ 271200 w 611932"/>
              <a:gd name="connsiteY73" fmla="*/ 108402 h 109895"/>
              <a:gd name="connsiteX74" fmla="*/ 204121 w 611932"/>
              <a:gd name="connsiteY74" fmla="*/ 108402 h 109895"/>
              <a:gd name="connsiteX75" fmla="*/ 204121 w 611932"/>
              <a:gd name="connsiteY75" fmla="*/ 1307 h 109895"/>
              <a:gd name="connsiteX76" fmla="*/ 293404 w 611932"/>
              <a:gd name="connsiteY76" fmla="*/ 1307 h 109895"/>
              <a:gd name="connsiteX77" fmla="*/ 358840 w 611932"/>
              <a:gd name="connsiteY77" fmla="*/ 1307 h 109895"/>
              <a:gd name="connsiteX78" fmla="*/ 358840 w 611932"/>
              <a:gd name="connsiteY78" fmla="*/ 14188 h 109895"/>
              <a:gd name="connsiteX79" fmla="*/ 307448 w 611932"/>
              <a:gd name="connsiteY79" fmla="*/ 14188 h 109895"/>
              <a:gd name="connsiteX80" fmla="*/ 307448 w 611932"/>
              <a:gd name="connsiteY80" fmla="*/ 49720 h 109895"/>
              <a:gd name="connsiteX81" fmla="*/ 351072 w 611932"/>
              <a:gd name="connsiteY81" fmla="*/ 49720 h 109895"/>
              <a:gd name="connsiteX82" fmla="*/ 351072 w 611932"/>
              <a:gd name="connsiteY82" fmla="*/ 62415 h 109895"/>
              <a:gd name="connsiteX83" fmla="*/ 307448 w 611932"/>
              <a:gd name="connsiteY83" fmla="*/ 62415 h 109895"/>
              <a:gd name="connsiteX84" fmla="*/ 307448 w 611932"/>
              <a:gd name="connsiteY84" fmla="*/ 108402 h 109895"/>
              <a:gd name="connsiteX85" fmla="*/ 293404 w 611932"/>
              <a:gd name="connsiteY85" fmla="*/ 108402 h 109895"/>
              <a:gd name="connsiteX86" fmla="*/ 293404 w 611932"/>
              <a:gd name="connsiteY86" fmla="*/ 1307 h 109895"/>
              <a:gd name="connsiteX87" fmla="*/ 378318 w 611932"/>
              <a:gd name="connsiteY87" fmla="*/ 1307 h 109895"/>
              <a:gd name="connsiteX88" fmla="*/ 443754 w 611932"/>
              <a:gd name="connsiteY88" fmla="*/ 1307 h 109895"/>
              <a:gd name="connsiteX89" fmla="*/ 443754 w 611932"/>
              <a:gd name="connsiteY89" fmla="*/ 14188 h 109895"/>
              <a:gd name="connsiteX90" fmla="*/ 392361 w 611932"/>
              <a:gd name="connsiteY90" fmla="*/ 14188 h 109895"/>
              <a:gd name="connsiteX91" fmla="*/ 392361 w 611932"/>
              <a:gd name="connsiteY91" fmla="*/ 49720 h 109895"/>
              <a:gd name="connsiteX92" fmla="*/ 435985 w 611932"/>
              <a:gd name="connsiteY92" fmla="*/ 49720 h 109895"/>
              <a:gd name="connsiteX93" fmla="*/ 435985 w 611932"/>
              <a:gd name="connsiteY93" fmla="*/ 62415 h 109895"/>
              <a:gd name="connsiteX94" fmla="*/ 392361 w 611932"/>
              <a:gd name="connsiteY94" fmla="*/ 62415 h 109895"/>
              <a:gd name="connsiteX95" fmla="*/ 392361 w 611932"/>
              <a:gd name="connsiteY95" fmla="*/ 108402 h 109895"/>
              <a:gd name="connsiteX96" fmla="*/ 378318 w 611932"/>
              <a:gd name="connsiteY96" fmla="*/ 108402 h 109895"/>
              <a:gd name="connsiteX97" fmla="*/ 378318 w 611932"/>
              <a:gd name="connsiteY97" fmla="*/ 1307 h 109895"/>
              <a:gd name="connsiteX98" fmla="*/ 463232 w 611932"/>
              <a:gd name="connsiteY98" fmla="*/ 1307 h 109895"/>
              <a:gd name="connsiteX99" fmla="*/ 528668 w 611932"/>
              <a:gd name="connsiteY99" fmla="*/ 1307 h 109895"/>
              <a:gd name="connsiteX100" fmla="*/ 528668 w 611932"/>
              <a:gd name="connsiteY100" fmla="*/ 14188 h 109895"/>
              <a:gd name="connsiteX101" fmla="*/ 477275 w 611932"/>
              <a:gd name="connsiteY101" fmla="*/ 14188 h 109895"/>
              <a:gd name="connsiteX102" fmla="*/ 477275 w 611932"/>
              <a:gd name="connsiteY102" fmla="*/ 49720 h 109895"/>
              <a:gd name="connsiteX103" fmla="*/ 520899 w 611932"/>
              <a:gd name="connsiteY103" fmla="*/ 49720 h 109895"/>
              <a:gd name="connsiteX104" fmla="*/ 520899 w 611932"/>
              <a:gd name="connsiteY104" fmla="*/ 62415 h 109895"/>
              <a:gd name="connsiteX105" fmla="*/ 477275 w 611932"/>
              <a:gd name="connsiteY105" fmla="*/ 62415 h 109895"/>
              <a:gd name="connsiteX106" fmla="*/ 477275 w 611932"/>
              <a:gd name="connsiteY106" fmla="*/ 108402 h 109895"/>
              <a:gd name="connsiteX107" fmla="*/ 463232 w 611932"/>
              <a:gd name="connsiteY107" fmla="*/ 108402 h 109895"/>
              <a:gd name="connsiteX108" fmla="*/ 463232 w 611932"/>
              <a:gd name="connsiteY108" fmla="*/ 1307 h 109895"/>
              <a:gd name="connsiteX109" fmla="*/ 576973 w 611932"/>
              <a:gd name="connsiteY109" fmla="*/ 109896 h 109895"/>
              <a:gd name="connsiteX110" fmla="*/ 558747 w 611932"/>
              <a:gd name="connsiteY110" fmla="*/ 104047 h 109895"/>
              <a:gd name="connsiteX111" fmla="*/ 546048 w 611932"/>
              <a:gd name="connsiteY111" fmla="*/ 86125 h 109895"/>
              <a:gd name="connsiteX112" fmla="*/ 541566 w 611932"/>
              <a:gd name="connsiteY112" fmla="*/ 54761 h 109895"/>
              <a:gd name="connsiteX113" fmla="*/ 546048 w 611932"/>
              <a:gd name="connsiteY113" fmla="*/ 23398 h 109895"/>
              <a:gd name="connsiteX114" fmla="*/ 558747 w 611932"/>
              <a:gd name="connsiteY114" fmla="*/ 5663 h 109895"/>
              <a:gd name="connsiteX115" fmla="*/ 576973 w 611932"/>
              <a:gd name="connsiteY115" fmla="*/ 0 h 109895"/>
              <a:gd name="connsiteX116" fmla="*/ 595050 w 611932"/>
              <a:gd name="connsiteY116" fmla="*/ 5663 h 109895"/>
              <a:gd name="connsiteX117" fmla="*/ 607450 w 611932"/>
              <a:gd name="connsiteY117" fmla="*/ 23398 h 109895"/>
              <a:gd name="connsiteX118" fmla="*/ 611932 w 611932"/>
              <a:gd name="connsiteY118" fmla="*/ 54512 h 109895"/>
              <a:gd name="connsiteX119" fmla="*/ 607450 w 611932"/>
              <a:gd name="connsiteY119" fmla="*/ 85876 h 109895"/>
              <a:gd name="connsiteX120" fmla="*/ 595050 w 611932"/>
              <a:gd name="connsiteY120" fmla="*/ 104047 h 109895"/>
              <a:gd name="connsiteX121" fmla="*/ 576973 w 611932"/>
              <a:gd name="connsiteY121" fmla="*/ 109896 h 109895"/>
              <a:gd name="connsiteX122" fmla="*/ 576824 w 611932"/>
              <a:gd name="connsiteY122" fmla="*/ 98072 h 109895"/>
              <a:gd name="connsiteX123" fmla="*/ 588178 w 611932"/>
              <a:gd name="connsiteY123" fmla="*/ 94089 h 109895"/>
              <a:gd name="connsiteX124" fmla="*/ 595349 w 611932"/>
              <a:gd name="connsiteY124" fmla="*/ 80462 h 109895"/>
              <a:gd name="connsiteX125" fmla="*/ 597889 w 611932"/>
              <a:gd name="connsiteY125" fmla="*/ 54948 h 109895"/>
              <a:gd name="connsiteX126" fmla="*/ 595498 w 611932"/>
              <a:gd name="connsiteY126" fmla="*/ 29559 h 109895"/>
              <a:gd name="connsiteX127" fmla="*/ 588327 w 611932"/>
              <a:gd name="connsiteY127" fmla="*/ 15931 h 109895"/>
              <a:gd name="connsiteX128" fmla="*/ 576973 w 611932"/>
              <a:gd name="connsiteY128" fmla="*/ 11761 h 109895"/>
              <a:gd name="connsiteX129" fmla="*/ 565469 w 611932"/>
              <a:gd name="connsiteY129" fmla="*/ 15931 h 109895"/>
              <a:gd name="connsiteX130" fmla="*/ 558149 w 611932"/>
              <a:gd name="connsiteY130" fmla="*/ 29559 h 109895"/>
              <a:gd name="connsiteX131" fmla="*/ 555609 w 611932"/>
              <a:gd name="connsiteY131" fmla="*/ 54948 h 109895"/>
              <a:gd name="connsiteX132" fmla="*/ 558000 w 611932"/>
              <a:gd name="connsiteY132" fmla="*/ 80462 h 109895"/>
              <a:gd name="connsiteX133" fmla="*/ 565320 w 611932"/>
              <a:gd name="connsiteY133" fmla="*/ 94089 h 109895"/>
              <a:gd name="connsiteX134" fmla="*/ 576824 w 611932"/>
              <a:gd name="connsiteY13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1932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8" y="1307"/>
                </a:moveTo>
                <a:lnTo>
                  <a:pt x="144131" y="1307"/>
                </a:lnTo>
                <a:cubicBezTo>
                  <a:pt x="155884" y="1307"/>
                  <a:pt x="164798" y="3298"/>
                  <a:pt x="170873" y="7281"/>
                </a:cubicBezTo>
                <a:cubicBezTo>
                  <a:pt x="177048" y="11264"/>
                  <a:pt x="180136" y="17984"/>
                  <a:pt x="180136" y="27443"/>
                </a:cubicBezTo>
                <a:cubicBezTo>
                  <a:pt x="180136" y="35097"/>
                  <a:pt x="178194" y="40947"/>
                  <a:pt x="174310" y="44930"/>
                </a:cubicBezTo>
                <a:cubicBezTo>
                  <a:pt x="170425" y="48788"/>
                  <a:pt x="165246" y="51463"/>
                  <a:pt x="158772" y="52832"/>
                </a:cubicBezTo>
                <a:cubicBezTo>
                  <a:pt x="167039" y="53828"/>
                  <a:pt x="173314" y="56255"/>
                  <a:pt x="177596" y="60175"/>
                </a:cubicBezTo>
                <a:cubicBezTo>
                  <a:pt x="181879" y="63971"/>
                  <a:pt x="184020" y="69696"/>
                  <a:pt x="184020" y="77475"/>
                </a:cubicBezTo>
                <a:cubicBezTo>
                  <a:pt x="184020" y="84880"/>
                  <a:pt x="182277" y="90854"/>
                  <a:pt x="178792" y="95397"/>
                </a:cubicBezTo>
                <a:cubicBezTo>
                  <a:pt x="175305" y="100002"/>
                  <a:pt x="170525" y="103300"/>
                  <a:pt x="164449" y="105415"/>
                </a:cubicBezTo>
                <a:cubicBezTo>
                  <a:pt x="158374" y="107406"/>
                  <a:pt x="151501" y="108402"/>
                  <a:pt x="143832" y="108402"/>
                </a:cubicBezTo>
                <a:lnTo>
                  <a:pt x="107828" y="108402"/>
                </a:lnTo>
                <a:lnTo>
                  <a:pt x="107828" y="1307"/>
                </a:lnTo>
                <a:close/>
                <a:moveTo>
                  <a:pt x="143085" y="47045"/>
                </a:moveTo>
                <a:cubicBezTo>
                  <a:pt x="149858" y="47045"/>
                  <a:pt x="155336" y="45552"/>
                  <a:pt x="159519" y="42565"/>
                </a:cubicBezTo>
                <a:cubicBezTo>
                  <a:pt x="163802" y="39453"/>
                  <a:pt x="165943" y="34662"/>
                  <a:pt x="165943" y="28190"/>
                </a:cubicBezTo>
                <a:cubicBezTo>
                  <a:pt x="165943" y="22714"/>
                  <a:pt x="164051" y="19042"/>
                  <a:pt x="160266" y="17175"/>
                </a:cubicBezTo>
                <a:cubicBezTo>
                  <a:pt x="156481" y="15184"/>
                  <a:pt x="151103" y="14188"/>
                  <a:pt x="144131" y="14188"/>
                </a:cubicBezTo>
                <a:lnTo>
                  <a:pt x="121871" y="14188"/>
                </a:lnTo>
                <a:lnTo>
                  <a:pt x="121871" y="47045"/>
                </a:lnTo>
                <a:lnTo>
                  <a:pt x="143085" y="47045"/>
                </a:lnTo>
                <a:close/>
                <a:moveTo>
                  <a:pt x="143832" y="95707"/>
                </a:moveTo>
                <a:cubicBezTo>
                  <a:pt x="151402" y="95707"/>
                  <a:pt x="157527" y="94401"/>
                  <a:pt x="162208" y="91849"/>
                </a:cubicBezTo>
                <a:cubicBezTo>
                  <a:pt x="166889" y="89236"/>
                  <a:pt x="169230" y="84569"/>
                  <a:pt x="169230" y="77786"/>
                </a:cubicBezTo>
                <a:cubicBezTo>
                  <a:pt x="169230" y="71003"/>
                  <a:pt x="167039" y="66336"/>
                  <a:pt x="162657" y="63722"/>
                </a:cubicBezTo>
                <a:cubicBezTo>
                  <a:pt x="158374" y="61046"/>
                  <a:pt x="151551" y="59740"/>
                  <a:pt x="142189" y="59740"/>
                </a:cubicBezTo>
                <a:lnTo>
                  <a:pt x="121871" y="59740"/>
                </a:lnTo>
                <a:lnTo>
                  <a:pt x="121871" y="95707"/>
                </a:lnTo>
                <a:lnTo>
                  <a:pt x="143832" y="95707"/>
                </a:lnTo>
                <a:close/>
                <a:moveTo>
                  <a:pt x="204121" y="1307"/>
                </a:moveTo>
                <a:lnTo>
                  <a:pt x="270453" y="1307"/>
                </a:lnTo>
                <a:lnTo>
                  <a:pt x="270453" y="14188"/>
                </a:lnTo>
                <a:lnTo>
                  <a:pt x="218164" y="14188"/>
                </a:lnTo>
                <a:lnTo>
                  <a:pt x="218164" y="46547"/>
                </a:lnTo>
                <a:lnTo>
                  <a:pt x="262535" y="46547"/>
                </a:lnTo>
                <a:lnTo>
                  <a:pt x="262535" y="59242"/>
                </a:lnTo>
                <a:lnTo>
                  <a:pt x="218164" y="59242"/>
                </a:lnTo>
                <a:lnTo>
                  <a:pt x="218164" y="95707"/>
                </a:lnTo>
                <a:lnTo>
                  <a:pt x="271200" y="95707"/>
                </a:lnTo>
                <a:lnTo>
                  <a:pt x="271200" y="108402"/>
                </a:lnTo>
                <a:lnTo>
                  <a:pt x="204121" y="108402"/>
                </a:lnTo>
                <a:lnTo>
                  <a:pt x="204121" y="1307"/>
                </a:lnTo>
                <a:close/>
                <a:moveTo>
                  <a:pt x="293404" y="1307"/>
                </a:moveTo>
                <a:lnTo>
                  <a:pt x="358840" y="1307"/>
                </a:lnTo>
                <a:lnTo>
                  <a:pt x="358840" y="14188"/>
                </a:lnTo>
                <a:lnTo>
                  <a:pt x="307448" y="14188"/>
                </a:lnTo>
                <a:lnTo>
                  <a:pt x="307448" y="49720"/>
                </a:lnTo>
                <a:lnTo>
                  <a:pt x="351072" y="49720"/>
                </a:lnTo>
                <a:lnTo>
                  <a:pt x="351072" y="62415"/>
                </a:lnTo>
                <a:lnTo>
                  <a:pt x="307448" y="62415"/>
                </a:lnTo>
                <a:lnTo>
                  <a:pt x="307448" y="108402"/>
                </a:lnTo>
                <a:lnTo>
                  <a:pt x="293404" y="108402"/>
                </a:lnTo>
                <a:lnTo>
                  <a:pt x="293404" y="1307"/>
                </a:lnTo>
                <a:close/>
                <a:moveTo>
                  <a:pt x="378318" y="1307"/>
                </a:moveTo>
                <a:lnTo>
                  <a:pt x="443754" y="1307"/>
                </a:lnTo>
                <a:lnTo>
                  <a:pt x="443754" y="14188"/>
                </a:lnTo>
                <a:lnTo>
                  <a:pt x="392361" y="14188"/>
                </a:lnTo>
                <a:lnTo>
                  <a:pt x="392361" y="49720"/>
                </a:lnTo>
                <a:lnTo>
                  <a:pt x="435985" y="49720"/>
                </a:lnTo>
                <a:lnTo>
                  <a:pt x="435985" y="62415"/>
                </a:lnTo>
                <a:lnTo>
                  <a:pt x="392361" y="62415"/>
                </a:lnTo>
                <a:lnTo>
                  <a:pt x="392361" y="108402"/>
                </a:lnTo>
                <a:lnTo>
                  <a:pt x="378318" y="108402"/>
                </a:lnTo>
                <a:lnTo>
                  <a:pt x="378318" y="1307"/>
                </a:lnTo>
                <a:close/>
                <a:moveTo>
                  <a:pt x="463232" y="1307"/>
                </a:moveTo>
                <a:lnTo>
                  <a:pt x="528668" y="1307"/>
                </a:lnTo>
                <a:lnTo>
                  <a:pt x="528668" y="14188"/>
                </a:lnTo>
                <a:lnTo>
                  <a:pt x="477275" y="14188"/>
                </a:lnTo>
                <a:lnTo>
                  <a:pt x="477275" y="49720"/>
                </a:lnTo>
                <a:lnTo>
                  <a:pt x="520899" y="49720"/>
                </a:lnTo>
                <a:lnTo>
                  <a:pt x="520899" y="62415"/>
                </a:lnTo>
                <a:lnTo>
                  <a:pt x="477275" y="62415"/>
                </a:lnTo>
                <a:lnTo>
                  <a:pt x="477275" y="108402"/>
                </a:lnTo>
                <a:lnTo>
                  <a:pt x="463232" y="108402"/>
                </a:lnTo>
                <a:lnTo>
                  <a:pt x="463232" y="1307"/>
                </a:lnTo>
                <a:close/>
                <a:moveTo>
                  <a:pt x="576973" y="109896"/>
                </a:moveTo>
                <a:cubicBezTo>
                  <a:pt x="570200" y="109896"/>
                  <a:pt x="564125" y="107967"/>
                  <a:pt x="558747" y="104047"/>
                </a:cubicBezTo>
                <a:cubicBezTo>
                  <a:pt x="553368" y="100188"/>
                  <a:pt x="549135" y="94214"/>
                  <a:pt x="546048" y="86125"/>
                </a:cubicBezTo>
                <a:cubicBezTo>
                  <a:pt x="543060" y="77972"/>
                  <a:pt x="541566" y="67518"/>
                  <a:pt x="541566" y="54761"/>
                </a:cubicBezTo>
                <a:cubicBezTo>
                  <a:pt x="541566" y="41942"/>
                  <a:pt x="543060" y="31488"/>
                  <a:pt x="546048" y="23398"/>
                </a:cubicBezTo>
                <a:cubicBezTo>
                  <a:pt x="549135" y="15371"/>
                  <a:pt x="553368" y="9459"/>
                  <a:pt x="558747" y="5663"/>
                </a:cubicBezTo>
                <a:cubicBezTo>
                  <a:pt x="564125" y="1867"/>
                  <a:pt x="570200" y="0"/>
                  <a:pt x="576973" y="0"/>
                </a:cubicBezTo>
                <a:cubicBezTo>
                  <a:pt x="583746" y="0"/>
                  <a:pt x="589771" y="1867"/>
                  <a:pt x="595050" y="5663"/>
                </a:cubicBezTo>
                <a:cubicBezTo>
                  <a:pt x="600329" y="9459"/>
                  <a:pt x="604462" y="15371"/>
                  <a:pt x="607450" y="23398"/>
                </a:cubicBezTo>
                <a:cubicBezTo>
                  <a:pt x="610438" y="31363"/>
                  <a:pt x="611932" y="41756"/>
                  <a:pt x="611932" y="54512"/>
                </a:cubicBezTo>
                <a:cubicBezTo>
                  <a:pt x="611932" y="67145"/>
                  <a:pt x="610438" y="77599"/>
                  <a:pt x="607450" y="85876"/>
                </a:cubicBezTo>
                <a:cubicBezTo>
                  <a:pt x="604462" y="94027"/>
                  <a:pt x="600329" y="100064"/>
                  <a:pt x="595050" y="104047"/>
                </a:cubicBezTo>
                <a:cubicBezTo>
                  <a:pt x="589771" y="107967"/>
                  <a:pt x="583746" y="109896"/>
                  <a:pt x="576973" y="109896"/>
                </a:cubicBezTo>
                <a:close/>
                <a:moveTo>
                  <a:pt x="576824" y="98072"/>
                </a:moveTo>
                <a:cubicBezTo>
                  <a:pt x="581306" y="98072"/>
                  <a:pt x="585090" y="96766"/>
                  <a:pt x="588178" y="94089"/>
                </a:cubicBezTo>
                <a:cubicBezTo>
                  <a:pt x="591365" y="91289"/>
                  <a:pt x="593755" y="86747"/>
                  <a:pt x="595349" y="80462"/>
                </a:cubicBezTo>
                <a:cubicBezTo>
                  <a:pt x="597042" y="74114"/>
                  <a:pt x="597889" y="65589"/>
                  <a:pt x="597889" y="54948"/>
                </a:cubicBezTo>
                <a:cubicBezTo>
                  <a:pt x="597889" y="44307"/>
                  <a:pt x="597092" y="35844"/>
                  <a:pt x="595498" y="29559"/>
                </a:cubicBezTo>
                <a:cubicBezTo>
                  <a:pt x="593905" y="23150"/>
                  <a:pt x="591514" y="18669"/>
                  <a:pt x="588327" y="15931"/>
                </a:cubicBezTo>
                <a:cubicBezTo>
                  <a:pt x="585240" y="13192"/>
                  <a:pt x="581455" y="11761"/>
                  <a:pt x="576973" y="11761"/>
                </a:cubicBezTo>
                <a:cubicBezTo>
                  <a:pt x="572491" y="11761"/>
                  <a:pt x="568657" y="13192"/>
                  <a:pt x="565469" y="15931"/>
                </a:cubicBezTo>
                <a:cubicBezTo>
                  <a:pt x="562282" y="18669"/>
                  <a:pt x="559842" y="23150"/>
                  <a:pt x="558149" y="29559"/>
                </a:cubicBezTo>
                <a:cubicBezTo>
                  <a:pt x="556456" y="35844"/>
                  <a:pt x="555609" y="44307"/>
                  <a:pt x="555609" y="54948"/>
                </a:cubicBezTo>
                <a:cubicBezTo>
                  <a:pt x="555609" y="65589"/>
                  <a:pt x="556406" y="74114"/>
                  <a:pt x="558000" y="80462"/>
                </a:cubicBezTo>
                <a:cubicBezTo>
                  <a:pt x="559693" y="86747"/>
                  <a:pt x="562133" y="91289"/>
                  <a:pt x="565320" y="94089"/>
                </a:cubicBezTo>
                <a:cubicBezTo>
                  <a:pt x="568507" y="96766"/>
                  <a:pt x="572342" y="98072"/>
                  <a:pt x="576824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9" name="Полилиния 998">
            <a:extLst>
              <a:ext uri="{FF2B5EF4-FFF2-40B4-BE49-F238E27FC236}">
                <a16:creationId xmlns:a16="http://schemas.microsoft.com/office/drawing/2014/main" id="{44AFF09D-F746-C2A3-0059-83B1271F6BD4}"/>
              </a:ext>
            </a:extLst>
          </p:cNvPr>
          <p:cNvSpPr/>
          <p:nvPr userDrawn="1"/>
        </p:nvSpPr>
        <p:spPr>
          <a:xfrm>
            <a:off x="13814863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1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1FF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0" name="Полилиния 999">
            <a:extLst>
              <a:ext uri="{FF2B5EF4-FFF2-40B4-BE49-F238E27FC236}">
                <a16:creationId xmlns:a16="http://schemas.microsoft.com/office/drawing/2014/main" id="{82C4D50C-9299-E9C5-6CBB-CDE500B42CAE}"/>
              </a:ext>
            </a:extLst>
          </p:cNvPr>
          <p:cNvSpPr/>
          <p:nvPr userDrawn="1"/>
        </p:nvSpPr>
        <p:spPr>
          <a:xfrm>
            <a:off x="13938073" y="10627147"/>
            <a:ext cx="694669" cy="126725"/>
          </a:xfrm>
          <a:custGeom>
            <a:avLst/>
            <a:gdLst>
              <a:gd name="connsiteX0" fmla="*/ 22111 w 595243"/>
              <a:gd name="connsiteY0" fmla="*/ 107095 h 108588"/>
              <a:gd name="connsiteX1" fmla="*/ 10159 w 595243"/>
              <a:gd name="connsiteY1" fmla="*/ 107095 h 108588"/>
              <a:gd name="connsiteX2" fmla="*/ 16434 w 595243"/>
              <a:gd name="connsiteY2" fmla="*/ 76168 h 108588"/>
              <a:gd name="connsiteX3" fmla="*/ 0 w 595243"/>
              <a:gd name="connsiteY3" fmla="*/ 76168 h 108588"/>
              <a:gd name="connsiteX4" fmla="*/ 0 w 595243"/>
              <a:gd name="connsiteY4" fmla="*/ 65713 h 108588"/>
              <a:gd name="connsiteX5" fmla="*/ 18675 w 595243"/>
              <a:gd name="connsiteY5" fmla="*/ 65713 h 108588"/>
              <a:gd name="connsiteX6" fmla="*/ 24202 w 595243"/>
              <a:gd name="connsiteY6" fmla="*/ 38519 h 108588"/>
              <a:gd name="connsiteX7" fmla="*/ 4034 w 595243"/>
              <a:gd name="connsiteY7" fmla="*/ 38519 h 108588"/>
              <a:gd name="connsiteX8" fmla="*/ 4034 w 595243"/>
              <a:gd name="connsiteY8" fmla="*/ 28065 h 108588"/>
              <a:gd name="connsiteX9" fmla="*/ 26294 w 595243"/>
              <a:gd name="connsiteY9" fmla="*/ 28065 h 108588"/>
              <a:gd name="connsiteX10" fmla="*/ 32120 w 595243"/>
              <a:gd name="connsiteY10" fmla="*/ 0 h 108588"/>
              <a:gd name="connsiteX11" fmla="*/ 44072 w 595243"/>
              <a:gd name="connsiteY11" fmla="*/ 0 h 108588"/>
              <a:gd name="connsiteX12" fmla="*/ 38246 w 595243"/>
              <a:gd name="connsiteY12" fmla="*/ 28065 h 108588"/>
              <a:gd name="connsiteX13" fmla="*/ 60655 w 595243"/>
              <a:gd name="connsiteY13" fmla="*/ 28065 h 108588"/>
              <a:gd name="connsiteX14" fmla="*/ 66482 w 595243"/>
              <a:gd name="connsiteY14" fmla="*/ 0 h 108588"/>
              <a:gd name="connsiteX15" fmla="*/ 78434 w 595243"/>
              <a:gd name="connsiteY15" fmla="*/ 0 h 108588"/>
              <a:gd name="connsiteX16" fmla="*/ 72607 w 595243"/>
              <a:gd name="connsiteY16" fmla="*/ 28065 h 108588"/>
              <a:gd name="connsiteX17" fmla="*/ 89340 w 595243"/>
              <a:gd name="connsiteY17" fmla="*/ 28065 h 108588"/>
              <a:gd name="connsiteX18" fmla="*/ 89340 w 595243"/>
              <a:gd name="connsiteY18" fmla="*/ 38519 h 108588"/>
              <a:gd name="connsiteX19" fmla="*/ 70516 w 595243"/>
              <a:gd name="connsiteY19" fmla="*/ 38519 h 108588"/>
              <a:gd name="connsiteX20" fmla="*/ 64988 w 595243"/>
              <a:gd name="connsiteY20" fmla="*/ 65713 h 108588"/>
              <a:gd name="connsiteX21" fmla="*/ 85306 w 595243"/>
              <a:gd name="connsiteY21" fmla="*/ 65713 h 108588"/>
              <a:gd name="connsiteX22" fmla="*/ 85306 w 595243"/>
              <a:gd name="connsiteY22" fmla="*/ 76168 h 108588"/>
              <a:gd name="connsiteX23" fmla="*/ 62747 w 595243"/>
              <a:gd name="connsiteY23" fmla="*/ 76168 h 108588"/>
              <a:gd name="connsiteX24" fmla="*/ 56472 w 595243"/>
              <a:gd name="connsiteY24" fmla="*/ 107095 h 108588"/>
              <a:gd name="connsiteX25" fmla="*/ 44520 w 595243"/>
              <a:gd name="connsiteY25" fmla="*/ 107095 h 108588"/>
              <a:gd name="connsiteX26" fmla="*/ 50795 w 595243"/>
              <a:gd name="connsiteY26" fmla="*/ 76168 h 108588"/>
              <a:gd name="connsiteX27" fmla="*/ 28386 w 595243"/>
              <a:gd name="connsiteY27" fmla="*/ 76168 h 108588"/>
              <a:gd name="connsiteX28" fmla="*/ 22111 w 595243"/>
              <a:gd name="connsiteY28" fmla="*/ 107095 h 108588"/>
              <a:gd name="connsiteX29" fmla="*/ 30626 w 595243"/>
              <a:gd name="connsiteY29" fmla="*/ 65713 h 108588"/>
              <a:gd name="connsiteX30" fmla="*/ 53036 w 595243"/>
              <a:gd name="connsiteY30" fmla="*/ 65713 h 108588"/>
              <a:gd name="connsiteX31" fmla="*/ 58564 w 595243"/>
              <a:gd name="connsiteY31" fmla="*/ 38519 h 108588"/>
              <a:gd name="connsiteX32" fmla="*/ 36154 w 595243"/>
              <a:gd name="connsiteY32" fmla="*/ 38519 h 108588"/>
              <a:gd name="connsiteX33" fmla="*/ 30626 w 595243"/>
              <a:gd name="connsiteY33" fmla="*/ 65713 h 108588"/>
              <a:gd name="connsiteX34" fmla="*/ 107828 w 595243"/>
              <a:gd name="connsiteY34" fmla="*/ 0 h 108588"/>
              <a:gd name="connsiteX35" fmla="*/ 174160 w 595243"/>
              <a:gd name="connsiteY35" fmla="*/ 0 h 108588"/>
              <a:gd name="connsiteX36" fmla="*/ 174160 w 595243"/>
              <a:gd name="connsiteY36" fmla="*/ 12881 h 108588"/>
              <a:gd name="connsiteX37" fmla="*/ 121871 w 595243"/>
              <a:gd name="connsiteY37" fmla="*/ 12881 h 108588"/>
              <a:gd name="connsiteX38" fmla="*/ 121871 w 595243"/>
              <a:gd name="connsiteY38" fmla="*/ 45240 h 108588"/>
              <a:gd name="connsiteX39" fmla="*/ 166242 w 595243"/>
              <a:gd name="connsiteY39" fmla="*/ 45240 h 108588"/>
              <a:gd name="connsiteX40" fmla="*/ 166242 w 595243"/>
              <a:gd name="connsiteY40" fmla="*/ 57934 h 108588"/>
              <a:gd name="connsiteX41" fmla="*/ 121871 w 595243"/>
              <a:gd name="connsiteY41" fmla="*/ 57934 h 108588"/>
              <a:gd name="connsiteX42" fmla="*/ 121871 w 595243"/>
              <a:gd name="connsiteY42" fmla="*/ 94400 h 108588"/>
              <a:gd name="connsiteX43" fmla="*/ 174907 w 595243"/>
              <a:gd name="connsiteY43" fmla="*/ 94400 h 108588"/>
              <a:gd name="connsiteX44" fmla="*/ 174907 w 595243"/>
              <a:gd name="connsiteY44" fmla="*/ 107095 h 108588"/>
              <a:gd name="connsiteX45" fmla="*/ 107828 w 595243"/>
              <a:gd name="connsiteY45" fmla="*/ 107095 h 108588"/>
              <a:gd name="connsiteX46" fmla="*/ 107828 w 595243"/>
              <a:gd name="connsiteY46" fmla="*/ 0 h 108588"/>
              <a:gd name="connsiteX47" fmla="*/ 240144 w 595243"/>
              <a:gd name="connsiteY47" fmla="*/ 107095 h 108588"/>
              <a:gd name="connsiteX48" fmla="*/ 226549 w 595243"/>
              <a:gd name="connsiteY48" fmla="*/ 107095 h 108588"/>
              <a:gd name="connsiteX49" fmla="*/ 226549 w 595243"/>
              <a:gd name="connsiteY49" fmla="*/ 16864 h 108588"/>
              <a:gd name="connsiteX50" fmla="*/ 196968 w 595243"/>
              <a:gd name="connsiteY50" fmla="*/ 39577 h 108588"/>
              <a:gd name="connsiteX51" fmla="*/ 196968 w 595243"/>
              <a:gd name="connsiteY51" fmla="*/ 24518 h 108588"/>
              <a:gd name="connsiteX52" fmla="*/ 228790 w 595243"/>
              <a:gd name="connsiteY52" fmla="*/ 0 h 108588"/>
              <a:gd name="connsiteX53" fmla="*/ 240144 w 595243"/>
              <a:gd name="connsiteY53" fmla="*/ 0 h 108588"/>
              <a:gd name="connsiteX54" fmla="*/ 240144 w 595243"/>
              <a:gd name="connsiteY54" fmla="*/ 107095 h 108588"/>
              <a:gd name="connsiteX55" fmla="*/ 279255 w 595243"/>
              <a:gd name="connsiteY55" fmla="*/ 0 h 108588"/>
              <a:gd name="connsiteX56" fmla="*/ 344691 w 595243"/>
              <a:gd name="connsiteY56" fmla="*/ 0 h 108588"/>
              <a:gd name="connsiteX57" fmla="*/ 344691 w 595243"/>
              <a:gd name="connsiteY57" fmla="*/ 12881 h 108588"/>
              <a:gd name="connsiteX58" fmla="*/ 293298 w 595243"/>
              <a:gd name="connsiteY58" fmla="*/ 12881 h 108588"/>
              <a:gd name="connsiteX59" fmla="*/ 293298 w 595243"/>
              <a:gd name="connsiteY59" fmla="*/ 48413 h 108588"/>
              <a:gd name="connsiteX60" fmla="*/ 336922 w 595243"/>
              <a:gd name="connsiteY60" fmla="*/ 48413 h 108588"/>
              <a:gd name="connsiteX61" fmla="*/ 336922 w 595243"/>
              <a:gd name="connsiteY61" fmla="*/ 61108 h 108588"/>
              <a:gd name="connsiteX62" fmla="*/ 293298 w 595243"/>
              <a:gd name="connsiteY62" fmla="*/ 61108 h 108588"/>
              <a:gd name="connsiteX63" fmla="*/ 293298 w 595243"/>
              <a:gd name="connsiteY63" fmla="*/ 107095 h 108588"/>
              <a:gd name="connsiteX64" fmla="*/ 279255 w 595243"/>
              <a:gd name="connsiteY64" fmla="*/ 107095 h 108588"/>
              <a:gd name="connsiteX65" fmla="*/ 279255 w 595243"/>
              <a:gd name="connsiteY65" fmla="*/ 0 h 108588"/>
              <a:gd name="connsiteX66" fmla="*/ 364169 w 595243"/>
              <a:gd name="connsiteY66" fmla="*/ 0 h 108588"/>
              <a:gd name="connsiteX67" fmla="*/ 429605 w 595243"/>
              <a:gd name="connsiteY67" fmla="*/ 0 h 108588"/>
              <a:gd name="connsiteX68" fmla="*/ 429605 w 595243"/>
              <a:gd name="connsiteY68" fmla="*/ 12881 h 108588"/>
              <a:gd name="connsiteX69" fmla="*/ 378212 w 595243"/>
              <a:gd name="connsiteY69" fmla="*/ 12881 h 108588"/>
              <a:gd name="connsiteX70" fmla="*/ 378212 w 595243"/>
              <a:gd name="connsiteY70" fmla="*/ 48413 h 108588"/>
              <a:gd name="connsiteX71" fmla="*/ 421836 w 595243"/>
              <a:gd name="connsiteY71" fmla="*/ 48413 h 108588"/>
              <a:gd name="connsiteX72" fmla="*/ 421836 w 595243"/>
              <a:gd name="connsiteY72" fmla="*/ 61108 h 108588"/>
              <a:gd name="connsiteX73" fmla="*/ 378212 w 595243"/>
              <a:gd name="connsiteY73" fmla="*/ 61108 h 108588"/>
              <a:gd name="connsiteX74" fmla="*/ 378212 w 595243"/>
              <a:gd name="connsiteY74" fmla="*/ 107095 h 108588"/>
              <a:gd name="connsiteX75" fmla="*/ 364169 w 595243"/>
              <a:gd name="connsiteY75" fmla="*/ 107095 h 108588"/>
              <a:gd name="connsiteX76" fmla="*/ 364169 w 595243"/>
              <a:gd name="connsiteY76" fmla="*/ 0 h 108588"/>
              <a:gd name="connsiteX77" fmla="*/ 449076 w 595243"/>
              <a:gd name="connsiteY77" fmla="*/ 0 h 108588"/>
              <a:gd name="connsiteX78" fmla="*/ 514512 w 595243"/>
              <a:gd name="connsiteY78" fmla="*/ 0 h 108588"/>
              <a:gd name="connsiteX79" fmla="*/ 514512 w 595243"/>
              <a:gd name="connsiteY79" fmla="*/ 12881 h 108588"/>
              <a:gd name="connsiteX80" fmla="*/ 463120 w 595243"/>
              <a:gd name="connsiteY80" fmla="*/ 12881 h 108588"/>
              <a:gd name="connsiteX81" fmla="*/ 463120 w 595243"/>
              <a:gd name="connsiteY81" fmla="*/ 48413 h 108588"/>
              <a:gd name="connsiteX82" fmla="*/ 506744 w 595243"/>
              <a:gd name="connsiteY82" fmla="*/ 48413 h 108588"/>
              <a:gd name="connsiteX83" fmla="*/ 506744 w 595243"/>
              <a:gd name="connsiteY83" fmla="*/ 61108 h 108588"/>
              <a:gd name="connsiteX84" fmla="*/ 463120 w 595243"/>
              <a:gd name="connsiteY84" fmla="*/ 61108 h 108588"/>
              <a:gd name="connsiteX85" fmla="*/ 463120 w 595243"/>
              <a:gd name="connsiteY85" fmla="*/ 107095 h 108588"/>
              <a:gd name="connsiteX86" fmla="*/ 449076 w 595243"/>
              <a:gd name="connsiteY86" fmla="*/ 107095 h 108588"/>
              <a:gd name="connsiteX87" fmla="*/ 449076 w 595243"/>
              <a:gd name="connsiteY87" fmla="*/ 0 h 108588"/>
              <a:gd name="connsiteX88" fmla="*/ 557894 w 595243"/>
              <a:gd name="connsiteY88" fmla="*/ 108588 h 108588"/>
              <a:gd name="connsiteX89" fmla="*/ 529359 w 595243"/>
              <a:gd name="connsiteY89" fmla="*/ 100997 h 108588"/>
              <a:gd name="connsiteX90" fmla="*/ 529359 w 595243"/>
              <a:gd name="connsiteY90" fmla="*/ 86311 h 108588"/>
              <a:gd name="connsiteX91" fmla="*/ 542506 w 595243"/>
              <a:gd name="connsiteY91" fmla="*/ 93965 h 108588"/>
              <a:gd name="connsiteX92" fmla="*/ 557894 w 595243"/>
              <a:gd name="connsiteY92" fmla="*/ 96329 h 108588"/>
              <a:gd name="connsiteX93" fmla="*/ 574925 w 595243"/>
              <a:gd name="connsiteY93" fmla="*/ 89608 h 108588"/>
              <a:gd name="connsiteX94" fmla="*/ 581050 w 595243"/>
              <a:gd name="connsiteY94" fmla="*/ 71998 h 108588"/>
              <a:gd name="connsiteX95" fmla="*/ 575074 w 595243"/>
              <a:gd name="connsiteY95" fmla="*/ 54947 h 108588"/>
              <a:gd name="connsiteX96" fmla="*/ 559985 w 595243"/>
              <a:gd name="connsiteY96" fmla="*/ 49596 h 108588"/>
              <a:gd name="connsiteX97" fmla="*/ 549378 w 595243"/>
              <a:gd name="connsiteY97" fmla="*/ 51836 h 108588"/>
              <a:gd name="connsiteX98" fmla="*/ 543253 w 595243"/>
              <a:gd name="connsiteY98" fmla="*/ 56316 h 108588"/>
              <a:gd name="connsiteX99" fmla="*/ 532347 w 595243"/>
              <a:gd name="connsiteY99" fmla="*/ 56316 h 108588"/>
              <a:gd name="connsiteX100" fmla="*/ 532347 w 595243"/>
              <a:gd name="connsiteY100" fmla="*/ 0 h 108588"/>
              <a:gd name="connsiteX101" fmla="*/ 590313 w 595243"/>
              <a:gd name="connsiteY101" fmla="*/ 0 h 108588"/>
              <a:gd name="connsiteX102" fmla="*/ 590313 w 595243"/>
              <a:gd name="connsiteY102" fmla="*/ 12881 h 108588"/>
              <a:gd name="connsiteX103" fmla="*/ 544597 w 595243"/>
              <a:gd name="connsiteY103" fmla="*/ 12881 h 108588"/>
              <a:gd name="connsiteX104" fmla="*/ 544597 w 595243"/>
              <a:gd name="connsiteY104" fmla="*/ 43498 h 108588"/>
              <a:gd name="connsiteX105" fmla="*/ 551918 w 595243"/>
              <a:gd name="connsiteY105" fmla="*/ 39577 h 108588"/>
              <a:gd name="connsiteX106" fmla="*/ 562226 w 595243"/>
              <a:gd name="connsiteY106" fmla="*/ 37772 h 108588"/>
              <a:gd name="connsiteX107" fmla="*/ 578959 w 595243"/>
              <a:gd name="connsiteY107" fmla="*/ 41693 h 108588"/>
              <a:gd name="connsiteX108" fmla="*/ 590761 w 595243"/>
              <a:gd name="connsiteY108" fmla="*/ 53019 h 108588"/>
              <a:gd name="connsiteX109" fmla="*/ 595243 w 595243"/>
              <a:gd name="connsiteY109" fmla="*/ 71687 h 108588"/>
              <a:gd name="connsiteX110" fmla="*/ 590612 w 595243"/>
              <a:gd name="connsiteY110" fmla="*/ 91103 h 108588"/>
              <a:gd name="connsiteX111" fmla="*/ 577764 w 595243"/>
              <a:gd name="connsiteY111" fmla="*/ 104108 h 108588"/>
              <a:gd name="connsiteX112" fmla="*/ 557894 w 595243"/>
              <a:gd name="connsiteY112" fmla="*/ 108588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595243" h="108588">
                <a:moveTo>
                  <a:pt x="22111" y="107095"/>
                </a:move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8" y="0"/>
                </a:moveTo>
                <a:lnTo>
                  <a:pt x="174160" y="0"/>
                </a:lnTo>
                <a:lnTo>
                  <a:pt x="174160" y="12881"/>
                </a:lnTo>
                <a:lnTo>
                  <a:pt x="121871" y="12881"/>
                </a:lnTo>
                <a:lnTo>
                  <a:pt x="121871" y="45240"/>
                </a:lnTo>
                <a:lnTo>
                  <a:pt x="166242" y="45240"/>
                </a:lnTo>
                <a:lnTo>
                  <a:pt x="166242" y="57934"/>
                </a:lnTo>
                <a:lnTo>
                  <a:pt x="121871" y="57934"/>
                </a:lnTo>
                <a:lnTo>
                  <a:pt x="121871" y="94400"/>
                </a:lnTo>
                <a:lnTo>
                  <a:pt x="174907" y="94400"/>
                </a:lnTo>
                <a:lnTo>
                  <a:pt x="174907" y="107095"/>
                </a:lnTo>
                <a:lnTo>
                  <a:pt x="107828" y="107095"/>
                </a:lnTo>
                <a:lnTo>
                  <a:pt x="107828" y="0"/>
                </a:lnTo>
                <a:close/>
                <a:moveTo>
                  <a:pt x="240144" y="107095"/>
                </a:moveTo>
                <a:lnTo>
                  <a:pt x="226549" y="107095"/>
                </a:lnTo>
                <a:lnTo>
                  <a:pt x="226549" y="16864"/>
                </a:lnTo>
                <a:lnTo>
                  <a:pt x="196968" y="39577"/>
                </a:lnTo>
                <a:lnTo>
                  <a:pt x="196968" y="24518"/>
                </a:lnTo>
                <a:lnTo>
                  <a:pt x="228790" y="0"/>
                </a:lnTo>
                <a:lnTo>
                  <a:pt x="240144" y="0"/>
                </a:lnTo>
                <a:lnTo>
                  <a:pt x="240144" y="107095"/>
                </a:lnTo>
                <a:close/>
                <a:moveTo>
                  <a:pt x="279255" y="0"/>
                </a:moveTo>
                <a:lnTo>
                  <a:pt x="344691" y="0"/>
                </a:lnTo>
                <a:lnTo>
                  <a:pt x="344691" y="12881"/>
                </a:lnTo>
                <a:lnTo>
                  <a:pt x="293298" y="12881"/>
                </a:lnTo>
                <a:lnTo>
                  <a:pt x="293298" y="48413"/>
                </a:lnTo>
                <a:lnTo>
                  <a:pt x="336922" y="48413"/>
                </a:lnTo>
                <a:lnTo>
                  <a:pt x="336922" y="61108"/>
                </a:lnTo>
                <a:lnTo>
                  <a:pt x="293298" y="61108"/>
                </a:lnTo>
                <a:lnTo>
                  <a:pt x="293298" y="107095"/>
                </a:lnTo>
                <a:lnTo>
                  <a:pt x="279255" y="107095"/>
                </a:lnTo>
                <a:lnTo>
                  <a:pt x="279255" y="0"/>
                </a:lnTo>
                <a:close/>
                <a:moveTo>
                  <a:pt x="364169" y="0"/>
                </a:moveTo>
                <a:lnTo>
                  <a:pt x="429605" y="0"/>
                </a:lnTo>
                <a:lnTo>
                  <a:pt x="429605" y="12881"/>
                </a:lnTo>
                <a:lnTo>
                  <a:pt x="378212" y="12881"/>
                </a:lnTo>
                <a:lnTo>
                  <a:pt x="378212" y="48413"/>
                </a:lnTo>
                <a:lnTo>
                  <a:pt x="421836" y="48413"/>
                </a:lnTo>
                <a:lnTo>
                  <a:pt x="421836" y="61108"/>
                </a:lnTo>
                <a:lnTo>
                  <a:pt x="378212" y="61108"/>
                </a:lnTo>
                <a:lnTo>
                  <a:pt x="378212" y="107095"/>
                </a:lnTo>
                <a:lnTo>
                  <a:pt x="364169" y="107095"/>
                </a:lnTo>
                <a:lnTo>
                  <a:pt x="364169" y="0"/>
                </a:lnTo>
                <a:close/>
                <a:moveTo>
                  <a:pt x="449076" y="0"/>
                </a:moveTo>
                <a:lnTo>
                  <a:pt x="514512" y="0"/>
                </a:lnTo>
                <a:lnTo>
                  <a:pt x="514512" y="12881"/>
                </a:lnTo>
                <a:lnTo>
                  <a:pt x="463120" y="12881"/>
                </a:lnTo>
                <a:lnTo>
                  <a:pt x="463120" y="48413"/>
                </a:lnTo>
                <a:lnTo>
                  <a:pt x="506744" y="48413"/>
                </a:lnTo>
                <a:lnTo>
                  <a:pt x="506744" y="61108"/>
                </a:lnTo>
                <a:lnTo>
                  <a:pt x="463120" y="61108"/>
                </a:lnTo>
                <a:lnTo>
                  <a:pt x="463120" y="107095"/>
                </a:lnTo>
                <a:lnTo>
                  <a:pt x="449076" y="107095"/>
                </a:lnTo>
                <a:lnTo>
                  <a:pt x="449076" y="0"/>
                </a:lnTo>
                <a:close/>
                <a:moveTo>
                  <a:pt x="557894" y="108588"/>
                </a:moveTo>
                <a:cubicBezTo>
                  <a:pt x="545942" y="108588"/>
                  <a:pt x="536430" y="106037"/>
                  <a:pt x="529359" y="100997"/>
                </a:cubicBezTo>
                <a:lnTo>
                  <a:pt x="529359" y="86311"/>
                </a:lnTo>
                <a:cubicBezTo>
                  <a:pt x="533542" y="89733"/>
                  <a:pt x="537924" y="92284"/>
                  <a:pt x="542506" y="93965"/>
                </a:cubicBezTo>
                <a:cubicBezTo>
                  <a:pt x="547087" y="95520"/>
                  <a:pt x="552217" y="96329"/>
                  <a:pt x="557894" y="96329"/>
                </a:cubicBezTo>
                <a:cubicBezTo>
                  <a:pt x="565264" y="96329"/>
                  <a:pt x="570941" y="94089"/>
                  <a:pt x="574925" y="89608"/>
                </a:cubicBezTo>
                <a:cubicBezTo>
                  <a:pt x="579009" y="85128"/>
                  <a:pt x="581050" y="79279"/>
                  <a:pt x="581050" y="71998"/>
                </a:cubicBezTo>
                <a:cubicBezTo>
                  <a:pt x="581050" y="64219"/>
                  <a:pt x="579058" y="58556"/>
                  <a:pt x="575074" y="54947"/>
                </a:cubicBezTo>
                <a:cubicBezTo>
                  <a:pt x="571091" y="51401"/>
                  <a:pt x="566061" y="49596"/>
                  <a:pt x="559985" y="49596"/>
                </a:cubicBezTo>
                <a:cubicBezTo>
                  <a:pt x="555603" y="49596"/>
                  <a:pt x="552067" y="50343"/>
                  <a:pt x="549378" y="51836"/>
                </a:cubicBezTo>
                <a:cubicBezTo>
                  <a:pt x="546689" y="53205"/>
                  <a:pt x="544647" y="54698"/>
                  <a:pt x="543253" y="56316"/>
                </a:cubicBezTo>
                <a:lnTo>
                  <a:pt x="532347" y="56316"/>
                </a:lnTo>
                <a:lnTo>
                  <a:pt x="532347" y="0"/>
                </a:lnTo>
                <a:lnTo>
                  <a:pt x="590313" y="0"/>
                </a:lnTo>
                <a:lnTo>
                  <a:pt x="590313" y="12881"/>
                </a:lnTo>
                <a:lnTo>
                  <a:pt x="544597" y="12881"/>
                </a:lnTo>
                <a:lnTo>
                  <a:pt x="544597" y="43498"/>
                </a:lnTo>
                <a:cubicBezTo>
                  <a:pt x="546589" y="42004"/>
                  <a:pt x="549030" y="40697"/>
                  <a:pt x="551918" y="39577"/>
                </a:cubicBezTo>
                <a:cubicBezTo>
                  <a:pt x="554806" y="38394"/>
                  <a:pt x="558242" y="37772"/>
                  <a:pt x="562226" y="37772"/>
                </a:cubicBezTo>
                <a:cubicBezTo>
                  <a:pt x="568401" y="37772"/>
                  <a:pt x="573979" y="39079"/>
                  <a:pt x="578959" y="41693"/>
                </a:cubicBezTo>
                <a:cubicBezTo>
                  <a:pt x="583939" y="44182"/>
                  <a:pt x="587873" y="47978"/>
                  <a:pt x="590761" y="53019"/>
                </a:cubicBezTo>
                <a:cubicBezTo>
                  <a:pt x="593749" y="57997"/>
                  <a:pt x="595243" y="64219"/>
                  <a:pt x="595243" y="71687"/>
                </a:cubicBezTo>
                <a:cubicBezTo>
                  <a:pt x="595243" y="79092"/>
                  <a:pt x="593699" y="85564"/>
                  <a:pt x="590612" y="91103"/>
                </a:cubicBezTo>
                <a:cubicBezTo>
                  <a:pt x="587624" y="96702"/>
                  <a:pt x="583341" y="100997"/>
                  <a:pt x="577764" y="104108"/>
                </a:cubicBezTo>
                <a:cubicBezTo>
                  <a:pt x="572186" y="107095"/>
                  <a:pt x="565563" y="108588"/>
                  <a:pt x="557894" y="10858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1" name="Полилиния 1000">
            <a:extLst>
              <a:ext uri="{FF2B5EF4-FFF2-40B4-BE49-F238E27FC236}">
                <a16:creationId xmlns:a16="http://schemas.microsoft.com/office/drawing/2014/main" id="{DF02BCEA-AA8D-8C40-339C-06F5D7D3CCD1}"/>
              </a:ext>
            </a:extLst>
          </p:cNvPr>
          <p:cNvSpPr/>
          <p:nvPr userDrawn="1"/>
        </p:nvSpPr>
        <p:spPr>
          <a:xfrm>
            <a:off x="18445574" y="3787620"/>
            <a:ext cx="1398954" cy="726227"/>
          </a:xfrm>
          <a:custGeom>
            <a:avLst/>
            <a:gdLst>
              <a:gd name="connsiteX0" fmla="*/ 850 w 1198727"/>
              <a:gd name="connsiteY0" fmla="*/ 1022 h 622284"/>
              <a:gd name="connsiteX1" fmla="*/ 1199578 w 1198727"/>
              <a:gd name="connsiteY1" fmla="*/ 1022 h 622284"/>
              <a:gd name="connsiteX2" fmla="*/ 1199578 w 1198727"/>
              <a:gd name="connsiteY2" fmla="*/ 623306 h 622284"/>
              <a:gd name="connsiteX3" fmla="*/ 850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022"/>
                </a:moveTo>
                <a:lnTo>
                  <a:pt x="1199578" y="1022"/>
                </a:lnTo>
                <a:lnTo>
                  <a:pt x="1199578" y="623306"/>
                </a:lnTo>
                <a:lnTo>
                  <a:pt x="850" y="623306"/>
                </a:lnTo>
                <a:close/>
              </a:path>
            </a:pathLst>
          </a:custGeom>
          <a:solidFill>
            <a:srgbClr val="55002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2" name="Полилиния 1001">
            <a:extLst>
              <a:ext uri="{FF2B5EF4-FFF2-40B4-BE49-F238E27FC236}">
                <a16:creationId xmlns:a16="http://schemas.microsoft.com/office/drawing/2014/main" id="{1591D9FC-35B0-CA2C-6963-D4C8263658E4}"/>
              </a:ext>
            </a:extLst>
          </p:cNvPr>
          <p:cNvSpPr/>
          <p:nvPr userDrawn="1"/>
        </p:nvSpPr>
        <p:spPr>
          <a:xfrm>
            <a:off x="18568782" y="4089368"/>
            <a:ext cx="679753" cy="128468"/>
          </a:xfrm>
          <a:custGeom>
            <a:avLst/>
            <a:gdLst>
              <a:gd name="connsiteX0" fmla="*/ 22111 w 582463"/>
              <a:gd name="connsiteY0" fmla="*/ 108588 h 110081"/>
              <a:gd name="connsiteX1" fmla="*/ 10159 w 582463"/>
              <a:gd name="connsiteY1" fmla="*/ 108588 h 110081"/>
              <a:gd name="connsiteX2" fmla="*/ 16433 w 582463"/>
              <a:gd name="connsiteY2" fmla="*/ 77661 h 110081"/>
              <a:gd name="connsiteX3" fmla="*/ 0 w 582463"/>
              <a:gd name="connsiteY3" fmla="*/ 77661 h 110081"/>
              <a:gd name="connsiteX4" fmla="*/ 0 w 582463"/>
              <a:gd name="connsiteY4" fmla="*/ 67206 h 110081"/>
              <a:gd name="connsiteX5" fmla="*/ 18675 w 582463"/>
              <a:gd name="connsiteY5" fmla="*/ 67206 h 110081"/>
              <a:gd name="connsiteX6" fmla="*/ 24202 w 582463"/>
              <a:gd name="connsiteY6" fmla="*/ 40012 h 110081"/>
              <a:gd name="connsiteX7" fmla="*/ 4033 w 582463"/>
              <a:gd name="connsiteY7" fmla="*/ 40012 h 110081"/>
              <a:gd name="connsiteX8" fmla="*/ 4033 w 582463"/>
              <a:gd name="connsiteY8" fmla="*/ 29559 h 110081"/>
              <a:gd name="connsiteX9" fmla="*/ 26294 w 582463"/>
              <a:gd name="connsiteY9" fmla="*/ 29559 h 110081"/>
              <a:gd name="connsiteX10" fmla="*/ 32120 w 582463"/>
              <a:gd name="connsiteY10" fmla="*/ 1493 h 110081"/>
              <a:gd name="connsiteX11" fmla="*/ 44072 w 582463"/>
              <a:gd name="connsiteY11" fmla="*/ 1493 h 110081"/>
              <a:gd name="connsiteX12" fmla="*/ 38246 w 582463"/>
              <a:gd name="connsiteY12" fmla="*/ 29559 h 110081"/>
              <a:gd name="connsiteX13" fmla="*/ 60655 w 582463"/>
              <a:gd name="connsiteY13" fmla="*/ 29559 h 110081"/>
              <a:gd name="connsiteX14" fmla="*/ 66482 w 582463"/>
              <a:gd name="connsiteY14" fmla="*/ 1493 h 110081"/>
              <a:gd name="connsiteX15" fmla="*/ 78434 w 582463"/>
              <a:gd name="connsiteY15" fmla="*/ 1493 h 110081"/>
              <a:gd name="connsiteX16" fmla="*/ 72607 w 582463"/>
              <a:gd name="connsiteY16" fmla="*/ 29559 h 110081"/>
              <a:gd name="connsiteX17" fmla="*/ 89340 w 582463"/>
              <a:gd name="connsiteY17" fmla="*/ 29559 h 110081"/>
              <a:gd name="connsiteX18" fmla="*/ 89340 w 582463"/>
              <a:gd name="connsiteY18" fmla="*/ 40012 h 110081"/>
              <a:gd name="connsiteX19" fmla="*/ 70516 w 582463"/>
              <a:gd name="connsiteY19" fmla="*/ 40012 h 110081"/>
              <a:gd name="connsiteX20" fmla="*/ 64988 w 582463"/>
              <a:gd name="connsiteY20" fmla="*/ 67206 h 110081"/>
              <a:gd name="connsiteX21" fmla="*/ 85306 w 582463"/>
              <a:gd name="connsiteY21" fmla="*/ 67206 h 110081"/>
              <a:gd name="connsiteX22" fmla="*/ 85306 w 582463"/>
              <a:gd name="connsiteY22" fmla="*/ 77661 h 110081"/>
              <a:gd name="connsiteX23" fmla="*/ 62747 w 582463"/>
              <a:gd name="connsiteY23" fmla="*/ 77661 h 110081"/>
              <a:gd name="connsiteX24" fmla="*/ 56472 w 582463"/>
              <a:gd name="connsiteY24" fmla="*/ 108588 h 110081"/>
              <a:gd name="connsiteX25" fmla="*/ 44520 w 582463"/>
              <a:gd name="connsiteY25" fmla="*/ 108588 h 110081"/>
              <a:gd name="connsiteX26" fmla="*/ 50795 w 582463"/>
              <a:gd name="connsiteY26" fmla="*/ 77661 h 110081"/>
              <a:gd name="connsiteX27" fmla="*/ 28386 w 582463"/>
              <a:gd name="connsiteY27" fmla="*/ 77661 h 110081"/>
              <a:gd name="connsiteX28" fmla="*/ 22111 w 582463"/>
              <a:gd name="connsiteY28" fmla="*/ 108588 h 110081"/>
              <a:gd name="connsiteX29" fmla="*/ 30626 w 582463"/>
              <a:gd name="connsiteY29" fmla="*/ 67206 h 110081"/>
              <a:gd name="connsiteX30" fmla="*/ 53036 w 582463"/>
              <a:gd name="connsiteY30" fmla="*/ 67206 h 110081"/>
              <a:gd name="connsiteX31" fmla="*/ 58564 w 582463"/>
              <a:gd name="connsiteY31" fmla="*/ 40012 h 110081"/>
              <a:gd name="connsiteX32" fmla="*/ 36154 w 582463"/>
              <a:gd name="connsiteY32" fmla="*/ 40012 h 110081"/>
              <a:gd name="connsiteX33" fmla="*/ 30626 w 582463"/>
              <a:gd name="connsiteY33" fmla="*/ 67206 h 110081"/>
              <a:gd name="connsiteX34" fmla="*/ 131731 w 582463"/>
              <a:gd name="connsiteY34" fmla="*/ 110082 h 110081"/>
              <a:gd name="connsiteX35" fmla="*/ 103196 w 582463"/>
              <a:gd name="connsiteY35" fmla="*/ 102490 h 110081"/>
              <a:gd name="connsiteX36" fmla="*/ 103196 w 582463"/>
              <a:gd name="connsiteY36" fmla="*/ 87804 h 110081"/>
              <a:gd name="connsiteX37" fmla="*/ 116343 w 582463"/>
              <a:gd name="connsiteY37" fmla="*/ 95458 h 110081"/>
              <a:gd name="connsiteX38" fmla="*/ 131731 w 582463"/>
              <a:gd name="connsiteY38" fmla="*/ 97823 h 110081"/>
              <a:gd name="connsiteX39" fmla="*/ 148762 w 582463"/>
              <a:gd name="connsiteY39" fmla="*/ 91102 h 110081"/>
              <a:gd name="connsiteX40" fmla="*/ 154888 w 582463"/>
              <a:gd name="connsiteY40" fmla="*/ 73491 h 110081"/>
              <a:gd name="connsiteX41" fmla="*/ 148912 w 582463"/>
              <a:gd name="connsiteY41" fmla="*/ 56441 h 110081"/>
              <a:gd name="connsiteX42" fmla="*/ 133823 w 582463"/>
              <a:gd name="connsiteY42" fmla="*/ 51089 h 110081"/>
              <a:gd name="connsiteX43" fmla="*/ 123216 w 582463"/>
              <a:gd name="connsiteY43" fmla="*/ 53329 h 110081"/>
              <a:gd name="connsiteX44" fmla="*/ 117090 w 582463"/>
              <a:gd name="connsiteY44" fmla="*/ 57810 h 110081"/>
              <a:gd name="connsiteX45" fmla="*/ 106184 w 582463"/>
              <a:gd name="connsiteY45" fmla="*/ 57810 h 110081"/>
              <a:gd name="connsiteX46" fmla="*/ 106184 w 582463"/>
              <a:gd name="connsiteY46" fmla="*/ 1493 h 110081"/>
              <a:gd name="connsiteX47" fmla="*/ 164150 w 582463"/>
              <a:gd name="connsiteY47" fmla="*/ 1493 h 110081"/>
              <a:gd name="connsiteX48" fmla="*/ 164150 w 582463"/>
              <a:gd name="connsiteY48" fmla="*/ 14374 h 110081"/>
              <a:gd name="connsiteX49" fmla="*/ 118435 w 582463"/>
              <a:gd name="connsiteY49" fmla="*/ 14374 h 110081"/>
              <a:gd name="connsiteX50" fmla="*/ 118435 w 582463"/>
              <a:gd name="connsiteY50" fmla="*/ 44991 h 110081"/>
              <a:gd name="connsiteX51" fmla="*/ 125755 w 582463"/>
              <a:gd name="connsiteY51" fmla="*/ 41071 h 110081"/>
              <a:gd name="connsiteX52" fmla="*/ 136064 w 582463"/>
              <a:gd name="connsiteY52" fmla="*/ 39266 h 110081"/>
              <a:gd name="connsiteX53" fmla="*/ 152796 w 582463"/>
              <a:gd name="connsiteY53" fmla="*/ 43186 h 110081"/>
              <a:gd name="connsiteX54" fmla="*/ 164598 w 582463"/>
              <a:gd name="connsiteY54" fmla="*/ 54512 h 110081"/>
              <a:gd name="connsiteX55" fmla="*/ 169081 w 582463"/>
              <a:gd name="connsiteY55" fmla="*/ 73181 h 110081"/>
              <a:gd name="connsiteX56" fmla="*/ 164449 w 582463"/>
              <a:gd name="connsiteY56" fmla="*/ 92596 h 110081"/>
              <a:gd name="connsiteX57" fmla="*/ 151601 w 582463"/>
              <a:gd name="connsiteY57" fmla="*/ 105601 h 110081"/>
              <a:gd name="connsiteX58" fmla="*/ 131731 w 582463"/>
              <a:gd name="connsiteY58" fmla="*/ 110082 h 110081"/>
              <a:gd name="connsiteX59" fmla="*/ 213869 w 582463"/>
              <a:gd name="connsiteY59" fmla="*/ 110082 h 110081"/>
              <a:gd name="connsiteX60" fmla="*/ 185333 w 582463"/>
              <a:gd name="connsiteY60" fmla="*/ 102490 h 110081"/>
              <a:gd name="connsiteX61" fmla="*/ 185333 w 582463"/>
              <a:gd name="connsiteY61" fmla="*/ 87804 h 110081"/>
              <a:gd name="connsiteX62" fmla="*/ 198480 w 582463"/>
              <a:gd name="connsiteY62" fmla="*/ 95458 h 110081"/>
              <a:gd name="connsiteX63" fmla="*/ 213869 w 582463"/>
              <a:gd name="connsiteY63" fmla="*/ 97823 h 110081"/>
              <a:gd name="connsiteX64" fmla="*/ 230900 w 582463"/>
              <a:gd name="connsiteY64" fmla="*/ 91102 h 110081"/>
              <a:gd name="connsiteX65" fmla="*/ 237025 w 582463"/>
              <a:gd name="connsiteY65" fmla="*/ 73491 h 110081"/>
              <a:gd name="connsiteX66" fmla="*/ 231049 w 582463"/>
              <a:gd name="connsiteY66" fmla="*/ 56441 h 110081"/>
              <a:gd name="connsiteX67" fmla="*/ 215960 w 582463"/>
              <a:gd name="connsiteY67" fmla="*/ 51089 h 110081"/>
              <a:gd name="connsiteX68" fmla="*/ 205353 w 582463"/>
              <a:gd name="connsiteY68" fmla="*/ 53329 h 110081"/>
              <a:gd name="connsiteX69" fmla="*/ 199228 w 582463"/>
              <a:gd name="connsiteY69" fmla="*/ 57810 h 110081"/>
              <a:gd name="connsiteX70" fmla="*/ 188322 w 582463"/>
              <a:gd name="connsiteY70" fmla="*/ 57810 h 110081"/>
              <a:gd name="connsiteX71" fmla="*/ 188322 w 582463"/>
              <a:gd name="connsiteY71" fmla="*/ 1493 h 110081"/>
              <a:gd name="connsiteX72" fmla="*/ 246288 w 582463"/>
              <a:gd name="connsiteY72" fmla="*/ 1493 h 110081"/>
              <a:gd name="connsiteX73" fmla="*/ 246288 w 582463"/>
              <a:gd name="connsiteY73" fmla="*/ 14374 h 110081"/>
              <a:gd name="connsiteX74" fmla="*/ 200572 w 582463"/>
              <a:gd name="connsiteY74" fmla="*/ 14374 h 110081"/>
              <a:gd name="connsiteX75" fmla="*/ 200572 w 582463"/>
              <a:gd name="connsiteY75" fmla="*/ 44991 h 110081"/>
              <a:gd name="connsiteX76" fmla="*/ 207893 w 582463"/>
              <a:gd name="connsiteY76" fmla="*/ 41071 h 110081"/>
              <a:gd name="connsiteX77" fmla="*/ 218201 w 582463"/>
              <a:gd name="connsiteY77" fmla="*/ 39266 h 110081"/>
              <a:gd name="connsiteX78" fmla="*/ 234934 w 582463"/>
              <a:gd name="connsiteY78" fmla="*/ 43186 h 110081"/>
              <a:gd name="connsiteX79" fmla="*/ 246736 w 582463"/>
              <a:gd name="connsiteY79" fmla="*/ 54512 h 110081"/>
              <a:gd name="connsiteX80" fmla="*/ 251218 w 582463"/>
              <a:gd name="connsiteY80" fmla="*/ 73181 h 110081"/>
              <a:gd name="connsiteX81" fmla="*/ 246587 w 582463"/>
              <a:gd name="connsiteY81" fmla="*/ 92596 h 110081"/>
              <a:gd name="connsiteX82" fmla="*/ 233738 w 582463"/>
              <a:gd name="connsiteY82" fmla="*/ 105601 h 110081"/>
              <a:gd name="connsiteX83" fmla="*/ 213869 w 582463"/>
              <a:gd name="connsiteY83" fmla="*/ 110082 h 110081"/>
              <a:gd name="connsiteX84" fmla="*/ 300936 w 582463"/>
              <a:gd name="connsiteY84" fmla="*/ 110082 h 110081"/>
              <a:gd name="connsiteX85" fmla="*/ 282710 w 582463"/>
              <a:gd name="connsiteY85" fmla="*/ 104233 h 110081"/>
              <a:gd name="connsiteX86" fmla="*/ 270011 w 582463"/>
              <a:gd name="connsiteY86" fmla="*/ 86311 h 110081"/>
              <a:gd name="connsiteX87" fmla="*/ 265529 w 582463"/>
              <a:gd name="connsiteY87" fmla="*/ 54947 h 110081"/>
              <a:gd name="connsiteX88" fmla="*/ 270011 w 582463"/>
              <a:gd name="connsiteY88" fmla="*/ 23584 h 110081"/>
              <a:gd name="connsiteX89" fmla="*/ 282710 w 582463"/>
              <a:gd name="connsiteY89" fmla="*/ 5849 h 110081"/>
              <a:gd name="connsiteX90" fmla="*/ 300936 w 582463"/>
              <a:gd name="connsiteY90" fmla="*/ 186 h 110081"/>
              <a:gd name="connsiteX91" fmla="*/ 319013 w 582463"/>
              <a:gd name="connsiteY91" fmla="*/ 5849 h 110081"/>
              <a:gd name="connsiteX92" fmla="*/ 331413 w 582463"/>
              <a:gd name="connsiteY92" fmla="*/ 23584 h 110081"/>
              <a:gd name="connsiteX93" fmla="*/ 335895 w 582463"/>
              <a:gd name="connsiteY93" fmla="*/ 54698 h 110081"/>
              <a:gd name="connsiteX94" fmla="*/ 331413 w 582463"/>
              <a:gd name="connsiteY94" fmla="*/ 86062 h 110081"/>
              <a:gd name="connsiteX95" fmla="*/ 319013 w 582463"/>
              <a:gd name="connsiteY95" fmla="*/ 104233 h 110081"/>
              <a:gd name="connsiteX96" fmla="*/ 300936 w 582463"/>
              <a:gd name="connsiteY96" fmla="*/ 110082 h 110081"/>
              <a:gd name="connsiteX97" fmla="*/ 300787 w 582463"/>
              <a:gd name="connsiteY97" fmla="*/ 98258 h 110081"/>
              <a:gd name="connsiteX98" fmla="*/ 312141 w 582463"/>
              <a:gd name="connsiteY98" fmla="*/ 94275 h 110081"/>
              <a:gd name="connsiteX99" fmla="*/ 319312 w 582463"/>
              <a:gd name="connsiteY99" fmla="*/ 80648 h 110081"/>
              <a:gd name="connsiteX100" fmla="*/ 321852 w 582463"/>
              <a:gd name="connsiteY100" fmla="*/ 55134 h 110081"/>
              <a:gd name="connsiteX101" fmla="*/ 319462 w 582463"/>
              <a:gd name="connsiteY101" fmla="*/ 29745 h 110081"/>
              <a:gd name="connsiteX102" fmla="*/ 312290 w 582463"/>
              <a:gd name="connsiteY102" fmla="*/ 16117 h 110081"/>
              <a:gd name="connsiteX103" fmla="*/ 300936 w 582463"/>
              <a:gd name="connsiteY103" fmla="*/ 11947 h 110081"/>
              <a:gd name="connsiteX104" fmla="*/ 289433 w 582463"/>
              <a:gd name="connsiteY104" fmla="*/ 16117 h 110081"/>
              <a:gd name="connsiteX105" fmla="*/ 282112 w 582463"/>
              <a:gd name="connsiteY105" fmla="*/ 29745 h 110081"/>
              <a:gd name="connsiteX106" fmla="*/ 279572 w 582463"/>
              <a:gd name="connsiteY106" fmla="*/ 55134 h 110081"/>
              <a:gd name="connsiteX107" fmla="*/ 281963 w 582463"/>
              <a:gd name="connsiteY107" fmla="*/ 80648 h 110081"/>
              <a:gd name="connsiteX108" fmla="*/ 289283 w 582463"/>
              <a:gd name="connsiteY108" fmla="*/ 94275 h 110081"/>
              <a:gd name="connsiteX109" fmla="*/ 300787 w 582463"/>
              <a:gd name="connsiteY109" fmla="*/ 98258 h 110081"/>
              <a:gd name="connsiteX110" fmla="*/ 383080 w 582463"/>
              <a:gd name="connsiteY110" fmla="*/ 110082 h 110081"/>
              <a:gd name="connsiteX111" fmla="*/ 364854 w 582463"/>
              <a:gd name="connsiteY111" fmla="*/ 104233 h 110081"/>
              <a:gd name="connsiteX112" fmla="*/ 352155 w 582463"/>
              <a:gd name="connsiteY112" fmla="*/ 86311 h 110081"/>
              <a:gd name="connsiteX113" fmla="*/ 347673 w 582463"/>
              <a:gd name="connsiteY113" fmla="*/ 54947 h 110081"/>
              <a:gd name="connsiteX114" fmla="*/ 352155 w 582463"/>
              <a:gd name="connsiteY114" fmla="*/ 23584 h 110081"/>
              <a:gd name="connsiteX115" fmla="*/ 364854 w 582463"/>
              <a:gd name="connsiteY115" fmla="*/ 5849 h 110081"/>
              <a:gd name="connsiteX116" fmla="*/ 383080 w 582463"/>
              <a:gd name="connsiteY116" fmla="*/ 186 h 110081"/>
              <a:gd name="connsiteX117" fmla="*/ 401157 w 582463"/>
              <a:gd name="connsiteY117" fmla="*/ 5849 h 110081"/>
              <a:gd name="connsiteX118" fmla="*/ 413557 w 582463"/>
              <a:gd name="connsiteY118" fmla="*/ 23584 h 110081"/>
              <a:gd name="connsiteX119" fmla="*/ 418039 w 582463"/>
              <a:gd name="connsiteY119" fmla="*/ 54698 h 110081"/>
              <a:gd name="connsiteX120" fmla="*/ 413557 w 582463"/>
              <a:gd name="connsiteY120" fmla="*/ 86062 h 110081"/>
              <a:gd name="connsiteX121" fmla="*/ 401157 w 582463"/>
              <a:gd name="connsiteY121" fmla="*/ 104233 h 110081"/>
              <a:gd name="connsiteX122" fmla="*/ 383080 w 582463"/>
              <a:gd name="connsiteY122" fmla="*/ 110082 h 110081"/>
              <a:gd name="connsiteX123" fmla="*/ 382931 w 582463"/>
              <a:gd name="connsiteY123" fmla="*/ 98258 h 110081"/>
              <a:gd name="connsiteX124" fmla="*/ 394285 w 582463"/>
              <a:gd name="connsiteY124" fmla="*/ 94275 h 110081"/>
              <a:gd name="connsiteX125" fmla="*/ 401456 w 582463"/>
              <a:gd name="connsiteY125" fmla="*/ 80648 h 110081"/>
              <a:gd name="connsiteX126" fmla="*/ 403995 w 582463"/>
              <a:gd name="connsiteY126" fmla="*/ 55134 h 110081"/>
              <a:gd name="connsiteX127" fmla="*/ 401605 w 582463"/>
              <a:gd name="connsiteY127" fmla="*/ 29745 h 110081"/>
              <a:gd name="connsiteX128" fmla="*/ 394434 w 582463"/>
              <a:gd name="connsiteY128" fmla="*/ 16117 h 110081"/>
              <a:gd name="connsiteX129" fmla="*/ 383080 w 582463"/>
              <a:gd name="connsiteY129" fmla="*/ 11947 h 110081"/>
              <a:gd name="connsiteX130" fmla="*/ 371576 w 582463"/>
              <a:gd name="connsiteY130" fmla="*/ 16117 h 110081"/>
              <a:gd name="connsiteX131" fmla="*/ 364256 w 582463"/>
              <a:gd name="connsiteY131" fmla="*/ 29745 h 110081"/>
              <a:gd name="connsiteX132" fmla="*/ 361716 w 582463"/>
              <a:gd name="connsiteY132" fmla="*/ 55134 h 110081"/>
              <a:gd name="connsiteX133" fmla="*/ 364107 w 582463"/>
              <a:gd name="connsiteY133" fmla="*/ 80648 h 110081"/>
              <a:gd name="connsiteX134" fmla="*/ 371427 w 582463"/>
              <a:gd name="connsiteY134" fmla="*/ 94275 h 110081"/>
              <a:gd name="connsiteX135" fmla="*/ 382931 w 582463"/>
              <a:gd name="connsiteY135" fmla="*/ 98258 h 110081"/>
              <a:gd name="connsiteX136" fmla="*/ 499429 w 582463"/>
              <a:gd name="connsiteY136" fmla="*/ 108588 h 110081"/>
              <a:gd name="connsiteX137" fmla="*/ 431155 w 582463"/>
              <a:gd name="connsiteY137" fmla="*/ 108588 h 110081"/>
              <a:gd name="connsiteX138" fmla="*/ 431155 w 582463"/>
              <a:gd name="connsiteY138" fmla="*/ 94400 h 110081"/>
              <a:gd name="connsiteX139" fmla="*/ 457299 w 582463"/>
              <a:gd name="connsiteY139" fmla="*/ 72433 h 110081"/>
              <a:gd name="connsiteX140" fmla="*/ 473285 w 582463"/>
              <a:gd name="connsiteY140" fmla="*/ 56628 h 110081"/>
              <a:gd name="connsiteX141" fmla="*/ 481352 w 582463"/>
              <a:gd name="connsiteY141" fmla="*/ 43933 h 110081"/>
              <a:gd name="connsiteX142" fmla="*/ 483743 w 582463"/>
              <a:gd name="connsiteY142" fmla="*/ 32109 h 110081"/>
              <a:gd name="connsiteX143" fmla="*/ 478215 w 582463"/>
              <a:gd name="connsiteY143" fmla="*/ 17610 h 110081"/>
              <a:gd name="connsiteX144" fmla="*/ 462977 w 582463"/>
              <a:gd name="connsiteY144" fmla="*/ 12383 h 110081"/>
              <a:gd name="connsiteX145" fmla="*/ 433993 w 582463"/>
              <a:gd name="connsiteY145" fmla="*/ 27194 h 110081"/>
              <a:gd name="connsiteX146" fmla="*/ 433993 w 582463"/>
              <a:gd name="connsiteY146" fmla="*/ 12134 h 110081"/>
              <a:gd name="connsiteX147" fmla="*/ 463425 w 582463"/>
              <a:gd name="connsiteY147" fmla="*/ 0 h 110081"/>
              <a:gd name="connsiteX148" fmla="*/ 488822 w 582463"/>
              <a:gd name="connsiteY148" fmla="*/ 8401 h 110081"/>
              <a:gd name="connsiteX149" fmla="*/ 498234 w 582463"/>
              <a:gd name="connsiteY149" fmla="*/ 30803 h 110081"/>
              <a:gd name="connsiteX150" fmla="*/ 495844 w 582463"/>
              <a:gd name="connsiteY150" fmla="*/ 44804 h 110081"/>
              <a:gd name="connsiteX151" fmla="*/ 487776 w 582463"/>
              <a:gd name="connsiteY151" fmla="*/ 58681 h 110081"/>
              <a:gd name="connsiteX152" fmla="*/ 472090 w 582463"/>
              <a:gd name="connsiteY152" fmla="*/ 74860 h 110081"/>
              <a:gd name="connsiteX153" fmla="*/ 446692 w 582463"/>
              <a:gd name="connsiteY153" fmla="*/ 95769 h 110081"/>
              <a:gd name="connsiteX154" fmla="*/ 499429 w 582463"/>
              <a:gd name="connsiteY154" fmla="*/ 95769 h 110081"/>
              <a:gd name="connsiteX155" fmla="*/ 499429 w 582463"/>
              <a:gd name="connsiteY155" fmla="*/ 108588 h 110081"/>
              <a:gd name="connsiteX156" fmla="*/ 530772 w 582463"/>
              <a:gd name="connsiteY156" fmla="*/ 58992 h 110081"/>
              <a:gd name="connsiteX157" fmla="*/ 530772 w 582463"/>
              <a:gd name="connsiteY157" fmla="*/ 46298 h 110081"/>
              <a:gd name="connsiteX158" fmla="*/ 545114 w 582463"/>
              <a:gd name="connsiteY158" fmla="*/ 46298 h 110081"/>
              <a:gd name="connsiteX159" fmla="*/ 558709 w 582463"/>
              <a:gd name="connsiteY159" fmla="*/ 41817 h 110081"/>
              <a:gd name="connsiteX160" fmla="*/ 564087 w 582463"/>
              <a:gd name="connsiteY160" fmla="*/ 28812 h 110081"/>
              <a:gd name="connsiteX161" fmla="*/ 559157 w 582463"/>
              <a:gd name="connsiteY161" fmla="*/ 16864 h 110081"/>
              <a:gd name="connsiteX162" fmla="*/ 544964 w 582463"/>
              <a:gd name="connsiteY162" fmla="*/ 12383 h 110081"/>
              <a:gd name="connsiteX163" fmla="*/ 530324 w 582463"/>
              <a:gd name="connsiteY163" fmla="*/ 15246 h 110081"/>
              <a:gd name="connsiteX164" fmla="*/ 516280 w 582463"/>
              <a:gd name="connsiteY164" fmla="*/ 24331 h 110081"/>
              <a:gd name="connsiteX165" fmla="*/ 516280 w 582463"/>
              <a:gd name="connsiteY165" fmla="*/ 9707 h 110081"/>
              <a:gd name="connsiteX166" fmla="*/ 545114 w 582463"/>
              <a:gd name="connsiteY166" fmla="*/ 0 h 110081"/>
              <a:gd name="connsiteX167" fmla="*/ 569167 w 582463"/>
              <a:gd name="connsiteY167" fmla="*/ 7779 h 110081"/>
              <a:gd name="connsiteX168" fmla="*/ 577981 w 582463"/>
              <a:gd name="connsiteY168" fmla="*/ 28065 h 110081"/>
              <a:gd name="connsiteX169" fmla="*/ 572304 w 582463"/>
              <a:gd name="connsiteY169" fmla="*/ 44244 h 110081"/>
              <a:gd name="connsiteX170" fmla="*/ 559008 w 582463"/>
              <a:gd name="connsiteY170" fmla="*/ 52147 h 110081"/>
              <a:gd name="connsiteX171" fmla="*/ 570511 w 582463"/>
              <a:gd name="connsiteY171" fmla="*/ 56441 h 110081"/>
              <a:gd name="connsiteX172" fmla="*/ 579177 w 582463"/>
              <a:gd name="connsiteY172" fmla="*/ 65153 h 110081"/>
              <a:gd name="connsiteX173" fmla="*/ 582463 w 582463"/>
              <a:gd name="connsiteY173" fmla="*/ 77661 h 110081"/>
              <a:gd name="connsiteX174" fmla="*/ 577533 w 582463"/>
              <a:gd name="connsiteY174" fmla="*/ 94836 h 110081"/>
              <a:gd name="connsiteX175" fmla="*/ 563938 w 582463"/>
              <a:gd name="connsiteY175" fmla="*/ 106224 h 110081"/>
              <a:gd name="connsiteX176" fmla="*/ 544068 w 582463"/>
              <a:gd name="connsiteY176" fmla="*/ 110082 h 110081"/>
              <a:gd name="connsiteX177" fmla="*/ 513591 w 582463"/>
              <a:gd name="connsiteY177" fmla="*/ 100997 h 110081"/>
              <a:gd name="connsiteX178" fmla="*/ 513591 w 582463"/>
              <a:gd name="connsiteY178" fmla="*/ 86062 h 110081"/>
              <a:gd name="connsiteX179" fmla="*/ 527336 w 582463"/>
              <a:gd name="connsiteY179" fmla="*/ 94711 h 110081"/>
              <a:gd name="connsiteX180" fmla="*/ 544217 w 582463"/>
              <a:gd name="connsiteY180" fmla="*/ 97823 h 110081"/>
              <a:gd name="connsiteX181" fmla="*/ 561548 w 582463"/>
              <a:gd name="connsiteY181" fmla="*/ 92596 h 110081"/>
              <a:gd name="connsiteX182" fmla="*/ 567972 w 582463"/>
              <a:gd name="connsiteY182" fmla="*/ 77972 h 110081"/>
              <a:gd name="connsiteX183" fmla="*/ 562145 w 582463"/>
              <a:gd name="connsiteY183" fmla="*/ 64095 h 110081"/>
              <a:gd name="connsiteX184" fmla="*/ 544516 w 582463"/>
              <a:gd name="connsiteY184" fmla="*/ 58992 h 110081"/>
              <a:gd name="connsiteX185" fmla="*/ 530772 w 582463"/>
              <a:gd name="connsiteY185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8246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31" y="110082"/>
                </a:moveTo>
                <a:cubicBezTo>
                  <a:pt x="119779" y="110082"/>
                  <a:pt x="110268" y="107530"/>
                  <a:pt x="103196" y="102490"/>
                </a:cubicBezTo>
                <a:lnTo>
                  <a:pt x="103196" y="87804"/>
                </a:lnTo>
                <a:cubicBezTo>
                  <a:pt x="107379" y="91226"/>
                  <a:pt x="111762" y="93778"/>
                  <a:pt x="116343" y="95458"/>
                </a:cubicBezTo>
                <a:cubicBezTo>
                  <a:pt x="120925" y="97014"/>
                  <a:pt x="126054" y="97823"/>
                  <a:pt x="131731" y="97823"/>
                </a:cubicBezTo>
                <a:cubicBezTo>
                  <a:pt x="139102" y="97823"/>
                  <a:pt x="144779" y="95583"/>
                  <a:pt x="148762" y="91102"/>
                </a:cubicBezTo>
                <a:cubicBezTo>
                  <a:pt x="152846" y="86621"/>
                  <a:pt x="154888" y="80772"/>
                  <a:pt x="154888" y="73491"/>
                </a:cubicBezTo>
                <a:cubicBezTo>
                  <a:pt x="154888" y="65713"/>
                  <a:pt x="152896" y="60050"/>
                  <a:pt x="148912" y="56441"/>
                </a:cubicBezTo>
                <a:cubicBezTo>
                  <a:pt x="144928" y="52894"/>
                  <a:pt x="139898" y="51089"/>
                  <a:pt x="133823" y="51089"/>
                </a:cubicBezTo>
                <a:cubicBezTo>
                  <a:pt x="129441" y="51089"/>
                  <a:pt x="125904" y="51836"/>
                  <a:pt x="123216" y="53329"/>
                </a:cubicBezTo>
                <a:cubicBezTo>
                  <a:pt x="120526" y="54698"/>
                  <a:pt x="118485" y="56192"/>
                  <a:pt x="117090" y="57810"/>
                </a:cubicBezTo>
                <a:lnTo>
                  <a:pt x="106184" y="57810"/>
                </a:lnTo>
                <a:lnTo>
                  <a:pt x="106184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35" y="14374"/>
                </a:lnTo>
                <a:lnTo>
                  <a:pt x="118435" y="44991"/>
                </a:lnTo>
                <a:cubicBezTo>
                  <a:pt x="120427" y="43498"/>
                  <a:pt x="122867" y="42190"/>
                  <a:pt x="125755" y="41071"/>
                </a:cubicBezTo>
                <a:cubicBezTo>
                  <a:pt x="128643" y="39888"/>
                  <a:pt x="132080" y="39266"/>
                  <a:pt x="136064" y="39266"/>
                </a:cubicBezTo>
                <a:cubicBezTo>
                  <a:pt x="142239" y="39266"/>
                  <a:pt x="147816" y="40572"/>
                  <a:pt x="152796" y="43186"/>
                </a:cubicBezTo>
                <a:cubicBezTo>
                  <a:pt x="157776" y="45675"/>
                  <a:pt x="161710" y="49471"/>
                  <a:pt x="164598" y="54512"/>
                </a:cubicBezTo>
                <a:cubicBezTo>
                  <a:pt x="167587" y="59490"/>
                  <a:pt x="169081" y="65713"/>
                  <a:pt x="169081" y="73181"/>
                </a:cubicBezTo>
                <a:cubicBezTo>
                  <a:pt x="169081" y="80586"/>
                  <a:pt x="167537" y="87058"/>
                  <a:pt x="164449" y="92596"/>
                </a:cubicBezTo>
                <a:cubicBezTo>
                  <a:pt x="161461" y="98196"/>
                  <a:pt x="157179" y="102490"/>
                  <a:pt x="151601" y="105601"/>
                </a:cubicBezTo>
                <a:cubicBezTo>
                  <a:pt x="146024" y="108588"/>
                  <a:pt x="139400" y="110082"/>
                  <a:pt x="131731" y="110082"/>
                </a:cubicBezTo>
                <a:close/>
                <a:moveTo>
                  <a:pt x="213869" y="110082"/>
                </a:moveTo>
                <a:cubicBezTo>
                  <a:pt x="201917" y="110082"/>
                  <a:pt x="192405" y="107530"/>
                  <a:pt x="185333" y="102490"/>
                </a:cubicBezTo>
                <a:lnTo>
                  <a:pt x="185333" y="87804"/>
                </a:lnTo>
                <a:cubicBezTo>
                  <a:pt x="189517" y="91226"/>
                  <a:pt x="193899" y="93778"/>
                  <a:pt x="198480" y="95458"/>
                </a:cubicBezTo>
                <a:cubicBezTo>
                  <a:pt x="203062" y="97014"/>
                  <a:pt x="208192" y="97823"/>
                  <a:pt x="213869" y="97823"/>
                </a:cubicBezTo>
                <a:cubicBezTo>
                  <a:pt x="221239" y="97823"/>
                  <a:pt x="226916" y="95583"/>
                  <a:pt x="230900" y="91102"/>
                </a:cubicBezTo>
                <a:cubicBezTo>
                  <a:pt x="234983" y="86621"/>
                  <a:pt x="237025" y="80772"/>
                  <a:pt x="237025" y="73491"/>
                </a:cubicBezTo>
                <a:cubicBezTo>
                  <a:pt x="237025" y="65713"/>
                  <a:pt x="235033" y="60050"/>
                  <a:pt x="231049" y="56441"/>
                </a:cubicBezTo>
                <a:cubicBezTo>
                  <a:pt x="227065" y="52894"/>
                  <a:pt x="222036" y="51089"/>
                  <a:pt x="215960" y="51089"/>
                </a:cubicBezTo>
                <a:cubicBezTo>
                  <a:pt x="211578" y="51089"/>
                  <a:pt x="208042" y="51836"/>
                  <a:pt x="205353" y="53329"/>
                </a:cubicBezTo>
                <a:cubicBezTo>
                  <a:pt x="202664" y="54698"/>
                  <a:pt x="200622" y="56192"/>
                  <a:pt x="199228" y="57810"/>
                </a:cubicBezTo>
                <a:lnTo>
                  <a:pt x="188322" y="57810"/>
                </a:lnTo>
                <a:lnTo>
                  <a:pt x="188322" y="1493"/>
                </a:lnTo>
                <a:lnTo>
                  <a:pt x="246288" y="1493"/>
                </a:lnTo>
                <a:lnTo>
                  <a:pt x="246288" y="14374"/>
                </a:lnTo>
                <a:lnTo>
                  <a:pt x="200572" y="14374"/>
                </a:lnTo>
                <a:lnTo>
                  <a:pt x="200572" y="44991"/>
                </a:lnTo>
                <a:cubicBezTo>
                  <a:pt x="202564" y="43498"/>
                  <a:pt x="205004" y="42190"/>
                  <a:pt x="207893" y="41071"/>
                </a:cubicBezTo>
                <a:cubicBezTo>
                  <a:pt x="210781" y="39888"/>
                  <a:pt x="214217" y="39266"/>
                  <a:pt x="218201" y="39266"/>
                </a:cubicBezTo>
                <a:cubicBezTo>
                  <a:pt x="224376" y="39266"/>
                  <a:pt x="229954" y="40572"/>
                  <a:pt x="234934" y="43186"/>
                </a:cubicBezTo>
                <a:cubicBezTo>
                  <a:pt x="239913" y="45675"/>
                  <a:pt x="243848" y="49471"/>
                  <a:pt x="246736" y="54512"/>
                </a:cubicBezTo>
                <a:cubicBezTo>
                  <a:pt x="249724" y="59490"/>
                  <a:pt x="251218" y="65713"/>
                  <a:pt x="251218" y="73181"/>
                </a:cubicBezTo>
                <a:cubicBezTo>
                  <a:pt x="251218" y="80586"/>
                  <a:pt x="249674" y="87058"/>
                  <a:pt x="246587" y="92596"/>
                </a:cubicBezTo>
                <a:cubicBezTo>
                  <a:pt x="243599" y="98196"/>
                  <a:pt x="239316" y="102490"/>
                  <a:pt x="233738" y="105601"/>
                </a:cubicBezTo>
                <a:cubicBezTo>
                  <a:pt x="228161" y="108588"/>
                  <a:pt x="221538" y="110082"/>
                  <a:pt x="213869" y="110082"/>
                </a:cubicBez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8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8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5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5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5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0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1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99429" y="108588"/>
                </a:moveTo>
                <a:lnTo>
                  <a:pt x="431155" y="108588"/>
                </a:lnTo>
                <a:lnTo>
                  <a:pt x="431155" y="94400"/>
                </a:lnTo>
                <a:cubicBezTo>
                  <a:pt x="441812" y="85812"/>
                  <a:pt x="450527" y="78532"/>
                  <a:pt x="457299" y="72433"/>
                </a:cubicBezTo>
                <a:cubicBezTo>
                  <a:pt x="464171" y="66397"/>
                  <a:pt x="469500" y="61108"/>
                  <a:pt x="473285" y="56628"/>
                </a:cubicBezTo>
                <a:cubicBezTo>
                  <a:pt x="477169" y="52023"/>
                  <a:pt x="479858" y="47791"/>
                  <a:pt x="481352" y="43933"/>
                </a:cubicBezTo>
                <a:cubicBezTo>
                  <a:pt x="482946" y="40012"/>
                  <a:pt x="483743" y="36092"/>
                  <a:pt x="483743" y="32109"/>
                </a:cubicBezTo>
                <a:cubicBezTo>
                  <a:pt x="483743" y="25949"/>
                  <a:pt x="481900" y="21095"/>
                  <a:pt x="478215" y="17610"/>
                </a:cubicBezTo>
                <a:cubicBezTo>
                  <a:pt x="474530" y="14125"/>
                  <a:pt x="469450" y="12383"/>
                  <a:pt x="462977" y="12383"/>
                </a:cubicBezTo>
                <a:cubicBezTo>
                  <a:pt x="452618" y="12383"/>
                  <a:pt x="442957" y="17361"/>
                  <a:pt x="433993" y="27194"/>
                </a:cubicBezTo>
                <a:lnTo>
                  <a:pt x="433993" y="12134"/>
                </a:lnTo>
                <a:cubicBezTo>
                  <a:pt x="442260" y="4044"/>
                  <a:pt x="452070" y="0"/>
                  <a:pt x="463425" y="0"/>
                </a:cubicBezTo>
                <a:cubicBezTo>
                  <a:pt x="474181" y="0"/>
                  <a:pt x="482647" y="2800"/>
                  <a:pt x="488822" y="8401"/>
                </a:cubicBezTo>
                <a:cubicBezTo>
                  <a:pt x="495097" y="13877"/>
                  <a:pt x="498234" y="21344"/>
                  <a:pt x="498234" y="30803"/>
                </a:cubicBezTo>
                <a:cubicBezTo>
                  <a:pt x="498234" y="35657"/>
                  <a:pt x="497437" y="40324"/>
                  <a:pt x="495844" y="44804"/>
                </a:cubicBezTo>
                <a:cubicBezTo>
                  <a:pt x="494350" y="49222"/>
                  <a:pt x="491661" y="53827"/>
                  <a:pt x="487776" y="58681"/>
                </a:cubicBezTo>
                <a:cubicBezTo>
                  <a:pt x="483992" y="63473"/>
                  <a:pt x="478763" y="68887"/>
                  <a:pt x="472090" y="74860"/>
                </a:cubicBezTo>
                <a:cubicBezTo>
                  <a:pt x="465417" y="80835"/>
                  <a:pt x="456951" y="87804"/>
                  <a:pt x="446692" y="95769"/>
                </a:cubicBezTo>
                <a:lnTo>
                  <a:pt x="499429" y="95769"/>
                </a:lnTo>
                <a:lnTo>
                  <a:pt x="499429" y="108588"/>
                </a:lnTo>
                <a:close/>
                <a:moveTo>
                  <a:pt x="530772" y="58992"/>
                </a:moveTo>
                <a:lnTo>
                  <a:pt x="530772" y="46298"/>
                </a:lnTo>
                <a:lnTo>
                  <a:pt x="545114" y="46298"/>
                </a:lnTo>
                <a:cubicBezTo>
                  <a:pt x="550692" y="46298"/>
                  <a:pt x="555223" y="44804"/>
                  <a:pt x="558709" y="41817"/>
                </a:cubicBezTo>
                <a:cubicBezTo>
                  <a:pt x="562295" y="38768"/>
                  <a:pt x="564087" y="34412"/>
                  <a:pt x="564087" y="28812"/>
                </a:cubicBezTo>
                <a:cubicBezTo>
                  <a:pt x="564087" y="23771"/>
                  <a:pt x="562444" y="19788"/>
                  <a:pt x="559157" y="16864"/>
                </a:cubicBezTo>
                <a:cubicBezTo>
                  <a:pt x="555871" y="13877"/>
                  <a:pt x="551140" y="12383"/>
                  <a:pt x="544964" y="12383"/>
                </a:cubicBezTo>
                <a:cubicBezTo>
                  <a:pt x="539785" y="12383"/>
                  <a:pt x="534905" y="13379"/>
                  <a:pt x="530324" y="15246"/>
                </a:cubicBezTo>
                <a:cubicBezTo>
                  <a:pt x="525842" y="17113"/>
                  <a:pt x="521161" y="20162"/>
                  <a:pt x="516280" y="24331"/>
                </a:cubicBezTo>
                <a:lnTo>
                  <a:pt x="516280" y="9707"/>
                </a:lnTo>
                <a:cubicBezTo>
                  <a:pt x="524248" y="3235"/>
                  <a:pt x="533859" y="0"/>
                  <a:pt x="545114" y="0"/>
                </a:cubicBezTo>
                <a:cubicBezTo>
                  <a:pt x="555372" y="0"/>
                  <a:pt x="563390" y="2613"/>
                  <a:pt x="569167" y="7779"/>
                </a:cubicBezTo>
                <a:cubicBezTo>
                  <a:pt x="575043" y="12943"/>
                  <a:pt x="577981" y="19726"/>
                  <a:pt x="577981" y="28065"/>
                </a:cubicBezTo>
                <a:cubicBezTo>
                  <a:pt x="577981" y="34848"/>
                  <a:pt x="576089" y="40262"/>
                  <a:pt x="572304" y="44244"/>
                </a:cubicBezTo>
                <a:cubicBezTo>
                  <a:pt x="568619" y="48227"/>
                  <a:pt x="564187" y="50840"/>
                  <a:pt x="559008" y="52147"/>
                </a:cubicBezTo>
                <a:cubicBezTo>
                  <a:pt x="563191" y="52707"/>
                  <a:pt x="567025" y="54201"/>
                  <a:pt x="570511" y="56441"/>
                </a:cubicBezTo>
                <a:cubicBezTo>
                  <a:pt x="574097" y="58681"/>
                  <a:pt x="576986" y="61543"/>
                  <a:pt x="579177" y="65153"/>
                </a:cubicBezTo>
                <a:cubicBezTo>
                  <a:pt x="581368" y="68700"/>
                  <a:pt x="582463" y="72869"/>
                  <a:pt x="582463" y="77661"/>
                </a:cubicBezTo>
                <a:cubicBezTo>
                  <a:pt x="582463" y="84257"/>
                  <a:pt x="580820" y="89982"/>
                  <a:pt x="577533" y="94836"/>
                </a:cubicBezTo>
                <a:cubicBezTo>
                  <a:pt x="574247" y="99752"/>
                  <a:pt x="569715" y="103486"/>
                  <a:pt x="563938" y="106224"/>
                </a:cubicBezTo>
                <a:cubicBezTo>
                  <a:pt x="558261" y="108775"/>
                  <a:pt x="551638" y="110082"/>
                  <a:pt x="544068" y="110082"/>
                </a:cubicBezTo>
                <a:cubicBezTo>
                  <a:pt x="530921" y="110082"/>
                  <a:pt x="520762" y="107033"/>
                  <a:pt x="513591" y="100997"/>
                </a:cubicBezTo>
                <a:lnTo>
                  <a:pt x="513591" y="86062"/>
                </a:lnTo>
                <a:cubicBezTo>
                  <a:pt x="517376" y="89733"/>
                  <a:pt x="521957" y="92596"/>
                  <a:pt x="527336" y="94711"/>
                </a:cubicBezTo>
                <a:cubicBezTo>
                  <a:pt x="532714" y="96765"/>
                  <a:pt x="538341" y="97823"/>
                  <a:pt x="544217" y="97823"/>
                </a:cubicBezTo>
                <a:cubicBezTo>
                  <a:pt x="551588" y="97823"/>
                  <a:pt x="557364" y="96080"/>
                  <a:pt x="561548" y="92596"/>
                </a:cubicBezTo>
                <a:cubicBezTo>
                  <a:pt x="565830" y="89048"/>
                  <a:pt x="567972" y="84132"/>
                  <a:pt x="567972" y="77972"/>
                </a:cubicBezTo>
                <a:cubicBezTo>
                  <a:pt x="567972" y="71998"/>
                  <a:pt x="566030" y="67393"/>
                  <a:pt x="562145" y="64095"/>
                </a:cubicBezTo>
                <a:cubicBezTo>
                  <a:pt x="558361" y="60673"/>
                  <a:pt x="552484" y="58992"/>
                  <a:pt x="544516" y="58992"/>
                </a:cubicBezTo>
                <a:lnTo>
                  <a:pt x="530772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3" name="Полилиния 1002">
            <a:extLst>
              <a:ext uri="{FF2B5EF4-FFF2-40B4-BE49-F238E27FC236}">
                <a16:creationId xmlns:a16="http://schemas.microsoft.com/office/drawing/2014/main" id="{E0AA3ED2-88D3-2B4F-B15D-38910F72441B}"/>
              </a:ext>
            </a:extLst>
          </p:cNvPr>
          <p:cNvSpPr/>
          <p:nvPr userDrawn="1"/>
        </p:nvSpPr>
        <p:spPr>
          <a:xfrm>
            <a:off x="18445574" y="4513847"/>
            <a:ext cx="1398954" cy="726227"/>
          </a:xfrm>
          <a:custGeom>
            <a:avLst/>
            <a:gdLst>
              <a:gd name="connsiteX0" fmla="*/ 850 w 1198727"/>
              <a:gd name="connsiteY0" fmla="*/ 1122 h 622284"/>
              <a:gd name="connsiteX1" fmla="*/ 1199578 w 1198727"/>
              <a:gd name="connsiteY1" fmla="*/ 1122 h 622284"/>
              <a:gd name="connsiteX2" fmla="*/ 1199578 w 1198727"/>
              <a:gd name="connsiteY2" fmla="*/ 623406 h 622284"/>
              <a:gd name="connsiteX3" fmla="*/ 850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122"/>
                </a:moveTo>
                <a:lnTo>
                  <a:pt x="1199578" y="1122"/>
                </a:lnTo>
                <a:lnTo>
                  <a:pt x="1199578" y="623406"/>
                </a:lnTo>
                <a:lnTo>
                  <a:pt x="850" y="623406"/>
                </a:lnTo>
                <a:close/>
              </a:path>
            </a:pathLst>
          </a:custGeom>
          <a:solidFill>
            <a:srgbClr val="82003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4" name="Полилиния 1003">
            <a:extLst>
              <a:ext uri="{FF2B5EF4-FFF2-40B4-BE49-F238E27FC236}">
                <a16:creationId xmlns:a16="http://schemas.microsoft.com/office/drawing/2014/main" id="{BDA1C494-95DA-1426-2824-491028E515A8}"/>
              </a:ext>
            </a:extLst>
          </p:cNvPr>
          <p:cNvSpPr/>
          <p:nvPr userDrawn="1"/>
        </p:nvSpPr>
        <p:spPr>
          <a:xfrm>
            <a:off x="18568782" y="4815595"/>
            <a:ext cx="678707" cy="128468"/>
          </a:xfrm>
          <a:custGeom>
            <a:avLst/>
            <a:gdLst>
              <a:gd name="connsiteX0" fmla="*/ 22111 w 581566"/>
              <a:gd name="connsiteY0" fmla="*/ 108588 h 110081"/>
              <a:gd name="connsiteX1" fmla="*/ 10159 w 581566"/>
              <a:gd name="connsiteY1" fmla="*/ 108588 h 110081"/>
              <a:gd name="connsiteX2" fmla="*/ 16433 w 581566"/>
              <a:gd name="connsiteY2" fmla="*/ 77661 h 110081"/>
              <a:gd name="connsiteX3" fmla="*/ 0 w 581566"/>
              <a:gd name="connsiteY3" fmla="*/ 77661 h 110081"/>
              <a:gd name="connsiteX4" fmla="*/ 0 w 581566"/>
              <a:gd name="connsiteY4" fmla="*/ 67206 h 110081"/>
              <a:gd name="connsiteX5" fmla="*/ 18675 w 581566"/>
              <a:gd name="connsiteY5" fmla="*/ 67206 h 110081"/>
              <a:gd name="connsiteX6" fmla="*/ 24202 w 581566"/>
              <a:gd name="connsiteY6" fmla="*/ 40012 h 110081"/>
              <a:gd name="connsiteX7" fmla="*/ 4033 w 581566"/>
              <a:gd name="connsiteY7" fmla="*/ 40012 h 110081"/>
              <a:gd name="connsiteX8" fmla="*/ 4033 w 581566"/>
              <a:gd name="connsiteY8" fmla="*/ 29559 h 110081"/>
              <a:gd name="connsiteX9" fmla="*/ 26294 w 581566"/>
              <a:gd name="connsiteY9" fmla="*/ 29559 h 110081"/>
              <a:gd name="connsiteX10" fmla="*/ 32120 w 581566"/>
              <a:gd name="connsiteY10" fmla="*/ 1493 h 110081"/>
              <a:gd name="connsiteX11" fmla="*/ 44072 w 581566"/>
              <a:gd name="connsiteY11" fmla="*/ 1493 h 110081"/>
              <a:gd name="connsiteX12" fmla="*/ 38246 w 581566"/>
              <a:gd name="connsiteY12" fmla="*/ 29559 h 110081"/>
              <a:gd name="connsiteX13" fmla="*/ 60655 w 581566"/>
              <a:gd name="connsiteY13" fmla="*/ 29559 h 110081"/>
              <a:gd name="connsiteX14" fmla="*/ 66482 w 581566"/>
              <a:gd name="connsiteY14" fmla="*/ 1493 h 110081"/>
              <a:gd name="connsiteX15" fmla="*/ 78434 w 581566"/>
              <a:gd name="connsiteY15" fmla="*/ 1493 h 110081"/>
              <a:gd name="connsiteX16" fmla="*/ 72607 w 581566"/>
              <a:gd name="connsiteY16" fmla="*/ 29559 h 110081"/>
              <a:gd name="connsiteX17" fmla="*/ 89340 w 581566"/>
              <a:gd name="connsiteY17" fmla="*/ 29559 h 110081"/>
              <a:gd name="connsiteX18" fmla="*/ 89340 w 581566"/>
              <a:gd name="connsiteY18" fmla="*/ 40012 h 110081"/>
              <a:gd name="connsiteX19" fmla="*/ 70516 w 581566"/>
              <a:gd name="connsiteY19" fmla="*/ 40012 h 110081"/>
              <a:gd name="connsiteX20" fmla="*/ 64988 w 581566"/>
              <a:gd name="connsiteY20" fmla="*/ 67206 h 110081"/>
              <a:gd name="connsiteX21" fmla="*/ 85306 w 581566"/>
              <a:gd name="connsiteY21" fmla="*/ 67206 h 110081"/>
              <a:gd name="connsiteX22" fmla="*/ 85306 w 581566"/>
              <a:gd name="connsiteY22" fmla="*/ 77661 h 110081"/>
              <a:gd name="connsiteX23" fmla="*/ 62747 w 581566"/>
              <a:gd name="connsiteY23" fmla="*/ 77661 h 110081"/>
              <a:gd name="connsiteX24" fmla="*/ 56472 w 581566"/>
              <a:gd name="connsiteY24" fmla="*/ 108588 h 110081"/>
              <a:gd name="connsiteX25" fmla="*/ 44520 w 581566"/>
              <a:gd name="connsiteY25" fmla="*/ 108588 h 110081"/>
              <a:gd name="connsiteX26" fmla="*/ 50795 w 581566"/>
              <a:gd name="connsiteY26" fmla="*/ 77661 h 110081"/>
              <a:gd name="connsiteX27" fmla="*/ 28386 w 581566"/>
              <a:gd name="connsiteY27" fmla="*/ 77661 h 110081"/>
              <a:gd name="connsiteX28" fmla="*/ 22111 w 581566"/>
              <a:gd name="connsiteY28" fmla="*/ 108588 h 110081"/>
              <a:gd name="connsiteX29" fmla="*/ 30626 w 581566"/>
              <a:gd name="connsiteY29" fmla="*/ 67206 h 110081"/>
              <a:gd name="connsiteX30" fmla="*/ 53036 w 581566"/>
              <a:gd name="connsiteY30" fmla="*/ 67206 h 110081"/>
              <a:gd name="connsiteX31" fmla="*/ 58564 w 581566"/>
              <a:gd name="connsiteY31" fmla="*/ 40012 h 110081"/>
              <a:gd name="connsiteX32" fmla="*/ 36154 w 581566"/>
              <a:gd name="connsiteY32" fmla="*/ 40012 h 110081"/>
              <a:gd name="connsiteX33" fmla="*/ 30626 w 581566"/>
              <a:gd name="connsiteY33" fmla="*/ 67206 h 110081"/>
              <a:gd name="connsiteX34" fmla="*/ 136811 w 581566"/>
              <a:gd name="connsiteY34" fmla="*/ 110082 h 110081"/>
              <a:gd name="connsiteX35" fmla="*/ 118136 w 581566"/>
              <a:gd name="connsiteY35" fmla="*/ 106473 h 110081"/>
              <a:gd name="connsiteX36" fmla="*/ 105437 w 581566"/>
              <a:gd name="connsiteY36" fmla="*/ 96205 h 110081"/>
              <a:gd name="connsiteX37" fmla="*/ 100806 w 581566"/>
              <a:gd name="connsiteY37" fmla="*/ 79777 h 110081"/>
              <a:gd name="connsiteX38" fmla="*/ 106184 w 581566"/>
              <a:gd name="connsiteY38" fmla="*/ 62291 h 110081"/>
              <a:gd name="connsiteX39" fmla="*/ 120974 w 581566"/>
              <a:gd name="connsiteY39" fmla="*/ 51711 h 110081"/>
              <a:gd name="connsiteX40" fmla="*/ 109023 w 581566"/>
              <a:gd name="connsiteY40" fmla="*/ 42564 h 110081"/>
              <a:gd name="connsiteX41" fmla="*/ 104690 w 581566"/>
              <a:gd name="connsiteY41" fmla="*/ 27504 h 110081"/>
              <a:gd name="connsiteX42" fmla="*/ 108873 w 581566"/>
              <a:gd name="connsiteY42" fmla="*/ 12570 h 110081"/>
              <a:gd name="connsiteX43" fmla="*/ 120377 w 581566"/>
              <a:gd name="connsiteY43" fmla="*/ 3298 h 110081"/>
              <a:gd name="connsiteX44" fmla="*/ 136811 w 581566"/>
              <a:gd name="connsiteY44" fmla="*/ 186 h 110081"/>
              <a:gd name="connsiteX45" fmla="*/ 152946 w 581566"/>
              <a:gd name="connsiteY45" fmla="*/ 3298 h 110081"/>
              <a:gd name="connsiteX46" fmla="*/ 164300 w 581566"/>
              <a:gd name="connsiteY46" fmla="*/ 12259 h 110081"/>
              <a:gd name="connsiteX47" fmla="*/ 168632 w 581566"/>
              <a:gd name="connsiteY47" fmla="*/ 27194 h 110081"/>
              <a:gd name="connsiteX48" fmla="*/ 164150 w 581566"/>
              <a:gd name="connsiteY48" fmla="*/ 42439 h 110081"/>
              <a:gd name="connsiteX49" fmla="*/ 152348 w 581566"/>
              <a:gd name="connsiteY49" fmla="*/ 51711 h 110081"/>
              <a:gd name="connsiteX50" fmla="*/ 166690 w 581566"/>
              <a:gd name="connsiteY50" fmla="*/ 61855 h 110081"/>
              <a:gd name="connsiteX51" fmla="*/ 172218 w 581566"/>
              <a:gd name="connsiteY51" fmla="*/ 79341 h 110081"/>
              <a:gd name="connsiteX52" fmla="*/ 167587 w 581566"/>
              <a:gd name="connsiteY52" fmla="*/ 95893 h 110081"/>
              <a:gd name="connsiteX53" fmla="*/ 154888 w 581566"/>
              <a:gd name="connsiteY53" fmla="*/ 106473 h 110081"/>
              <a:gd name="connsiteX54" fmla="*/ 136811 w 581566"/>
              <a:gd name="connsiteY54" fmla="*/ 110082 h 110081"/>
              <a:gd name="connsiteX55" fmla="*/ 136811 w 581566"/>
              <a:gd name="connsiteY55" fmla="*/ 46298 h 110081"/>
              <a:gd name="connsiteX56" fmla="*/ 149808 w 581566"/>
              <a:gd name="connsiteY56" fmla="*/ 41817 h 110081"/>
              <a:gd name="connsiteX57" fmla="*/ 155037 w 581566"/>
              <a:gd name="connsiteY57" fmla="*/ 29122 h 110081"/>
              <a:gd name="connsiteX58" fmla="*/ 149808 w 581566"/>
              <a:gd name="connsiteY58" fmla="*/ 16615 h 110081"/>
              <a:gd name="connsiteX59" fmla="*/ 136811 w 581566"/>
              <a:gd name="connsiteY59" fmla="*/ 11947 h 110081"/>
              <a:gd name="connsiteX60" fmla="*/ 123514 w 581566"/>
              <a:gd name="connsiteY60" fmla="*/ 16615 h 110081"/>
              <a:gd name="connsiteX61" fmla="*/ 118285 w 581566"/>
              <a:gd name="connsiteY61" fmla="*/ 29122 h 110081"/>
              <a:gd name="connsiteX62" fmla="*/ 123514 w 581566"/>
              <a:gd name="connsiteY62" fmla="*/ 41817 h 110081"/>
              <a:gd name="connsiteX63" fmla="*/ 136811 w 581566"/>
              <a:gd name="connsiteY63" fmla="*/ 46298 h 110081"/>
              <a:gd name="connsiteX64" fmla="*/ 136811 w 581566"/>
              <a:gd name="connsiteY64" fmla="*/ 98258 h 110081"/>
              <a:gd name="connsiteX65" fmla="*/ 152198 w 581566"/>
              <a:gd name="connsiteY65" fmla="*/ 92907 h 110081"/>
              <a:gd name="connsiteX66" fmla="*/ 158473 w 581566"/>
              <a:gd name="connsiteY66" fmla="*/ 77536 h 110081"/>
              <a:gd name="connsiteX67" fmla="*/ 152198 w 581566"/>
              <a:gd name="connsiteY67" fmla="*/ 62291 h 110081"/>
              <a:gd name="connsiteX68" fmla="*/ 136811 w 581566"/>
              <a:gd name="connsiteY68" fmla="*/ 56752 h 110081"/>
              <a:gd name="connsiteX69" fmla="*/ 120825 w 581566"/>
              <a:gd name="connsiteY69" fmla="*/ 62291 h 110081"/>
              <a:gd name="connsiteX70" fmla="*/ 114550 w 581566"/>
              <a:gd name="connsiteY70" fmla="*/ 77536 h 110081"/>
              <a:gd name="connsiteX71" fmla="*/ 120825 w 581566"/>
              <a:gd name="connsiteY71" fmla="*/ 92907 h 110081"/>
              <a:gd name="connsiteX72" fmla="*/ 136811 w 581566"/>
              <a:gd name="connsiteY72" fmla="*/ 98258 h 110081"/>
              <a:gd name="connsiteX73" fmla="*/ 253011 w 581566"/>
              <a:gd name="connsiteY73" fmla="*/ 108588 h 110081"/>
              <a:gd name="connsiteX74" fmla="*/ 184736 w 581566"/>
              <a:gd name="connsiteY74" fmla="*/ 108588 h 110081"/>
              <a:gd name="connsiteX75" fmla="*/ 184736 w 581566"/>
              <a:gd name="connsiteY75" fmla="*/ 94400 h 110081"/>
              <a:gd name="connsiteX76" fmla="*/ 210880 w 581566"/>
              <a:gd name="connsiteY76" fmla="*/ 72433 h 110081"/>
              <a:gd name="connsiteX77" fmla="*/ 226866 w 581566"/>
              <a:gd name="connsiteY77" fmla="*/ 56628 h 110081"/>
              <a:gd name="connsiteX78" fmla="*/ 234934 w 581566"/>
              <a:gd name="connsiteY78" fmla="*/ 43933 h 110081"/>
              <a:gd name="connsiteX79" fmla="*/ 237324 w 581566"/>
              <a:gd name="connsiteY79" fmla="*/ 32109 h 110081"/>
              <a:gd name="connsiteX80" fmla="*/ 231796 w 581566"/>
              <a:gd name="connsiteY80" fmla="*/ 17610 h 110081"/>
              <a:gd name="connsiteX81" fmla="*/ 216558 w 581566"/>
              <a:gd name="connsiteY81" fmla="*/ 12383 h 110081"/>
              <a:gd name="connsiteX82" fmla="*/ 187575 w 581566"/>
              <a:gd name="connsiteY82" fmla="*/ 27194 h 110081"/>
              <a:gd name="connsiteX83" fmla="*/ 187575 w 581566"/>
              <a:gd name="connsiteY83" fmla="*/ 12134 h 110081"/>
              <a:gd name="connsiteX84" fmla="*/ 217006 w 581566"/>
              <a:gd name="connsiteY84" fmla="*/ 0 h 110081"/>
              <a:gd name="connsiteX85" fmla="*/ 242404 w 581566"/>
              <a:gd name="connsiteY85" fmla="*/ 8401 h 110081"/>
              <a:gd name="connsiteX86" fmla="*/ 251816 w 581566"/>
              <a:gd name="connsiteY86" fmla="*/ 30803 h 110081"/>
              <a:gd name="connsiteX87" fmla="*/ 249425 w 581566"/>
              <a:gd name="connsiteY87" fmla="*/ 44804 h 110081"/>
              <a:gd name="connsiteX88" fmla="*/ 241358 w 581566"/>
              <a:gd name="connsiteY88" fmla="*/ 58681 h 110081"/>
              <a:gd name="connsiteX89" fmla="*/ 225671 w 581566"/>
              <a:gd name="connsiteY89" fmla="*/ 74860 h 110081"/>
              <a:gd name="connsiteX90" fmla="*/ 200273 w 581566"/>
              <a:gd name="connsiteY90" fmla="*/ 95769 h 110081"/>
              <a:gd name="connsiteX91" fmla="*/ 253011 w 581566"/>
              <a:gd name="connsiteY91" fmla="*/ 95769 h 110081"/>
              <a:gd name="connsiteX92" fmla="*/ 253011 w 581566"/>
              <a:gd name="connsiteY92" fmla="*/ 108588 h 110081"/>
              <a:gd name="connsiteX93" fmla="*/ 300936 w 581566"/>
              <a:gd name="connsiteY93" fmla="*/ 110082 h 110081"/>
              <a:gd name="connsiteX94" fmla="*/ 282710 w 581566"/>
              <a:gd name="connsiteY94" fmla="*/ 104233 h 110081"/>
              <a:gd name="connsiteX95" fmla="*/ 270011 w 581566"/>
              <a:gd name="connsiteY95" fmla="*/ 86311 h 110081"/>
              <a:gd name="connsiteX96" fmla="*/ 265529 w 581566"/>
              <a:gd name="connsiteY96" fmla="*/ 54947 h 110081"/>
              <a:gd name="connsiteX97" fmla="*/ 270011 w 581566"/>
              <a:gd name="connsiteY97" fmla="*/ 23584 h 110081"/>
              <a:gd name="connsiteX98" fmla="*/ 282710 w 581566"/>
              <a:gd name="connsiteY98" fmla="*/ 5849 h 110081"/>
              <a:gd name="connsiteX99" fmla="*/ 300936 w 581566"/>
              <a:gd name="connsiteY99" fmla="*/ 186 h 110081"/>
              <a:gd name="connsiteX100" fmla="*/ 319013 w 581566"/>
              <a:gd name="connsiteY100" fmla="*/ 5849 h 110081"/>
              <a:gd name="connsiteX101" fmla="*/ 331413 w 581566"/>
              <a:gd name="connsiteY101" fmla="*/ 23584 h 110081"/>
              <a:gd name="connsiteX102" fmla="*/ 335895 w 581566"/>
              <a:gd name="connsiteY102" fmla="*/ 54698 h 110081"/>
              <a:gd name="connsiteX103" fmla="*/ 331413 w 581566"/>
              <a:gd name="connsiteY103" fmla="*/ 86062 h 110081"/>
              <a:gd name="connsiteX104" fmla="*/ 319013 w 581566"/>
              <a:gd name="connsiteY104" fmla="*/ 104233 h 110081"/>
              <a:gd name="connsiteX105" fmla="*/ 300936 w 581566"/>
              <a:gd name="connsiteY105" fmla="*/ 110082 h 110081"/>
              <a:gd name="connsiteX106" fmla="*/ 300787 w 581566"/>
              <a:gd name="connsiteY106" fmla="*/ 98258 h 110081"/>
              <a:gd name="connsiteX107" fmla="*/ 312141 w 581566"/>
              <a:gd name="connsiteY107" fmla="*/ 94275 h 110081"/>
              <a:gd name="connsiteX108" fmla="*/ 319312 w 581566"/>
              <a:gd name="connsiteY108" fmla="*/ 80648 h 110081"/>
              <a:gd name="connsiteX109" fmla="*/ 321852 w 581566"/>
              <a:gd name="connsiteY109" fmla="*/ 55134 h 110081"/>
              <a:gd name="connsiteX110" fmla="*/ 319462 w 581566"/>
              <a:gd name="connsiteY110" fmla="*/ 29745 h 110081"/>
              <a:gd name="connsiteX111" fmla="*/ 312290 w 581566"/>
              <a:gd name="connsiteY111" fmla="*/ 16117 h 110081"/>
              <a:gd name="connsiteX112" fmla="*/ 300936 w 581566"/>
              <a:gd name="connsiteY112" fmla="*/ 11947 h 110081"/>
              <a:gd name="connsiteX113" fmla="*/ 289433 w 581566"/>
              <a:gd name="connsiteY113" fmla="*/ 16117 h 110081"/>
              <a:gd name="connsiteX114" fmla="*/ 282112 w 581566"/>
              <a:gd name="connsiteY114" fmla="*/ 29745 h 110081"/>
              <a:gd name="connsiteX115" fmla="*/ 279572 w 581566"/>
              <a:gd name="connsiteY115" fmla="*/ 55134 h 110081"/>
              <a:gd name="connsiteX116" fmla="*/ 281963 w 581566"/>
              <a:gd name="connsiteY116" fmla="*/ 80648 h 110081"/>
              <a:gd name="connsiteX117" fmla="*/ 289283 w 581566"/>
              <a:gd name="connsiteY117" fmla="*/ 94275 h 110081"/>
              <a:gd name="connsiteX118" fmla="*/ 300787 w 581566"/>
              <a:gd name="connsiteY118" fmla="*/ 98258 h 110081"/>
              <a:gd name="connsiteX119" fmla="*/ 383080 w 581566"/>
              <a:gd name="connsiteY119" fmla="*/ 110082 h 110081"/>
              <a:gd name="connsiteX120" fmla="*/ 364854 w 581566"/>
              <a:gd name="connsiteY120" fmla="*/ 104233 h 110081"/>
              <a:gd name="connsiteX121" fmla="*/ 352155 w 581566"/>
              <a:gd name="connsiteY121" fmla="*/ 86311 h 110081"/>
              <a:gd name="connsiteX122" fmla="*/ 347673 w 581566"/>
              <a:gd name="connsiteY122" fmla="*/ 54947 h 110081"/>
              <a:gd name="connsiteX123" fmla="*/ 352155 w 581566"/>
              <a:gd name="connsiteY123" fmla="*/ 23584 h 110081"/>
              <a:gd name="connsiteX124" fmla="*/ 364854 w 581566"/>
              <a:gd name="connsiteY124" fmla="*/ 5849 h 110081"/>
              <a:gd name="connsiteX125" fmla="*/ 383080 w 581566"/>
              <a:gd name="connsiteY125" fmla="*/ 186 h 110081"/>
              <a:gd name="connsiteX126" fmla="*/ 401157 w 581566"/>
              <a:gd name="connsiteY126" fmla="*/ 5849 h 110081"/>
              <a:gd name="connsiteX127" fmla="*/ 413557 w 581566"/>
              <a:gd name="connsiteY127" fmla="*/ 23584 h 110081"/>
              <a:gd name="connsiteX128" fmla="*/ 418039 w 581566"/>
              <a:gd name="connsiteY128" fmla="*/ 54698 h 110081"/>
              <a:gd name="connsiteX129" fmla="*/ 413557 w 581566"/>
              <a:gd name="connsiteY129" fmla="*/ 86062 h 110081"/>
              <a:gd name="connsiteX130" fmla="*/ 401157 w 581566"/>
              <a:gd name="connsiteY130" fmla="*/ 104233 h 110081"/>
              <a:gd name="connsiteX131" fmla="*/ 383080 w 581566"/>
              <a:gd name="connsiteY131" fmla="*/ 110082 h 110081"/>
              <a:gd name="connsiteX132" fmla="*/ 382931 w 581566"/>
              <a:gd name="connsiteY132" fmla="*/ 98258 h 110081"/>
              <a:gd name="connsiteX133" fmla="*/ 394285 w 581566"/>
              <a:gd name="connsiteY133" fmla="*/ 94275 h 110081"/>
              <a:gd name="connsiteX134" fmla="*/ 401456 w 581566"/>
              <a:gd name="connsiteY134" fmla="*/ 80648 h 110081"/>
              <a:gd name="connsiteX135" fmla="*/ 403995 w 581566"/>
              <a:gd name="connsiteY135" fmla="*/ 55134 h 110081"/>
              <a:gd name="connsiteX136" fmla="*/ 401605 w 581566"/>
              <a:gd name="connsiteY136" fmla="*/ 29745 h 110081"/>
              <a:gd name="connsiteX137" fmla="*/ 394434 w 581566"/>
              <a:gd name="connsiteY137" fmla="*/ 16117 h 110081"/>
              <a:gd name="connsiteX138" fmla="*/ 383080 w 581566"/>
              <a:gd name="connsiteY138" fmla="*/ 11947 h 110081"/>
              <a:gd name="connsiteX139" fmla="*/ 371576 w 581566"/>
              <a:gd name="connsiteY139" fmla="*/ 16117 h 110081"/>
              <a:gd name="connsiteX140" fmla="*/ 364256 w 581566"/>
              <a:gd name="connsiteY140" fmla="*/ 29745 h 110081"/>
              <a:gd name="connsiteX141" fmla="*/ 361716 w 581566"/>
              <a:gd name="connsiteY141" fmla="*/ 55134 h 110081"/>
              <a:gd name="connsiteX142" fmla="*/ 364107 w 581566"/>
              <a:gd name="connsiteY142" fmla="*/ 80648 h 110081"/>
              <a:gd name="connsiteX143" fmla="*/ 371427 w 581566"/>
              <a:gd name="connsiteY143" fmla="*/ 94275 h 110081"/>
              <a:gd name="connsiteX144" fmla="*/ 382931 w 581566"/>
              <a:gd name="connsiteY144" fmla="*/ 98258 h 110081"/>
              <a:gd name="connsiteX145" fmla="*/ 448634 w 581566"/>
              <a:gd name="connsiteY145" fmla="*/ 58992 h 110081"/>
              <a:gd name="connsiteX146" fmla="*/ 448634 w 581566"/>
              <a:gd name="connsiteY146" fmla="*/ 46298 h 110081"/>
              <a:gd name="connsiteX147" fmla="*/ 462977 w 581566"/>
              <a:gd name="connsiteY147" fmla="*/ 46298 h 110081"/>
              <a:gd name="connsiteX148" fmla="*/ 476571 w 581566"/>
              <a:gd name="connsiteY148" fmla="*/ 41817 h 110081"/>
              <a:gd name="connsiteX149" fmla="*/ 481950 w 581566"/>
              <a:gd name="connsiteY149" fmla="*/ 28812 h 110081"/>
              <a:gd name="connsiteX150" fmla="*/ 477020 w 581566"/>
              <a:gd name="connsiteY150" fmla="*/ 16864 h 110081"/>
              <a:gd name="connsiteX151" fmla="*/ 462827 w 581566"/>
              <a:gd name="connsiteY151" fmla="*/ 12383 h 110081"/>
              <a:gd name="connsiteX152" fmla="*/ 448186 w 581566"/>
              <a:gd name="connsiteY152" fmla="*/ 15246 h 110081"/>
              <a:gd name="connsiteX153" fmla="*/ 434143 w 581566"/>
              <a:gd name="connsiteY153" fmla="*/ 24331 h 110081"/>
              <a:gd name="connsiteX154" fmla="*/ 434143 w 581566"/>
              <a:gd name="connsiteY154" fmla="*/ 9707 h 110081"/>
              <a:gd name="connsiteX155" fmla="*/ 462977 w 581566"/>
              <a:gd name="connsiteY155" fmla="*/ 0 h 110081"/>
              <a:gd name="connsiteX156" fmla="*/ 487029 w 581566"/>
              <a:gd name="connsiteY156" fmla="*/ 7779 h 110081"/>
              <a:gd name="connsiteX157" fmla="*/ 495844 w 581566"/>
              <a:gd name="connsiteY157" fmla="*/ 28065 h 110081"/>
              <a:gd name="connsiteX158" fmla="*/ 490167 w 581566"/>
              <a:gd name="connsiteY158" fmla="*/ 44244 h 110081"/>
              <a:gd name="connsiteX159" fmla="*/ 476870 w 581566"/>
              <a:gd name="connsiteY159" fmla="*/ 52147 h 110081"/>
              <a:gd name="connsiteX160" fmla="*/ 488374 w 581566"/>
              <a:gd name="connsiteY160" fmla="*/ 56441 h 110081"/>
              <a:gd name="connsiteX161" fmla="*/ 497039 w 581566"/>
              <a:gd name="connsiteY161" fmla="*/ 65153 h 110081"/>
              <a:gd name="connsiteX162" fmla="*/ 500326 w 581566"/>
              <a:gd name="connsiteY162" fmla="*/ 77661 h 110081"/>
              <a:gd name="connsiteX163" fmla="*/ 495396 w 581566"/>
              <a:gd name="connsiteY163" fmla="*/ 94836 h 110081"/>
              <a:gd name="connsiteX164" fmla="*/ 481801 w 581566"/>
              <a:gd name="connsiteY164" fmla="*/ 106224 h 110081"/>
              <a:gd name="connsiteX165" fmla="*/ 461931 w 581566"/>
              <a:gd name="connsiteY165" fmla="*/ 110082 h 110081"/>
              <a:gd name="connsiteX166" fmla="*/ 431454 w 581566"/>
              <a:gd name="connsiteY166" fmla="*/ 100997 h 110081"/>
              <a:gd name="connsiteX167" fmla="*/ 431454 w 581566"/>
              <a:gd name="connsiteY167" fmla="*/ 86062 h 110081"/>
              <a:gd name="connsiteX168" fmla="*/ 445198 w 581566"/>
              <a:gd name="connsiteY168" fmla="*/ 94711 h 110081"/>
              <a:gd name="connsiteX169" fmla="*/ 462080 w 581566"/>
              <a:gd name="connsiteY169" fmla="*/ 97823 h 110081"/>
              <a:gd name="connsiteX170" fmla="*/ 479410 w 581566"/>
              <a:gd name="connsiteY170" fmla="*/ 92596 h 110081"/>
              <a:gd name="connsiteX171" fmla="*/ 485834 w 581566"/>
              <a:gd name="connsiteY171" fmla="*/ 77972 h 110081"/>
              <a:gd name="connsiteX172" fmla="*/ 480008 w 581566"/>
              <a:gd name="connsiteY172" fmla="*/ 64095 h 110081"/>
              <a:gd name="connsiteX173" fmla="*/ 462379 w 581566"/>
              <a:gd name="connsiteY173" fmla="*/ 58992 h 110081"/>
              <a:gd name="connsiteX174" fmla="*/ 448634 w 581566"/>
              <a:gd name="connsiteY174" fmla="*/ 58992 h 110081"/>
              <a:gd name="connsiteX175" fmla="*/ 581567 w 581566"/>
              <a:gd name="connsiteY175" fmla="*/ 108588 h 110081"/>
              <a:gd name="connsiteX176" fmla="*/ 513292 w 581566"/>
              <a:gd name="connsiteY176" fmla="*/ 108588 h 110081"/>
              <a:gd name="connsiteX177" fmla="*/ 513292 w 581566"/>
              <a:gd name="connsiteY177" fmla="*/ 94400 h 110081"/>
              <a:gd name="connsiteX178" fmla="*/ 539437 w 581566"/>
              <a:gd name="connsiteY178" fmla="*/ 72433 h 110081"/>
              <a:gd name="connsiteX179" fmla="*/ 555422 w 581566"/>
              <a:gd name="connsiteY179" fmla="*/ 56628 h 110081"/>
              <a:gd name="connsiteX180" fmla="*/ 563490 w 581566"/>
              <a:gd name="connsiteY180" fmla="*/ 43933 h 110081"/>
              <a:gd name="connsiteX181" fmla="*/ 565880 w 581566"/>
              <a:gd name="connsiteY181" fmla="*/ 32109 h 110081"/>
              <a:gd name="connsiteX182" fmla="*/ 560353 w 581566"/>
              <a:gd name="connsiteY182" fmla="*/ 17610 h 110081"/>
              <a:gd name="connsiteX183" fmla="*/ 545114 w 581566"/>
              <a:gd name="connsiteY183" fmla="*/ 12383 h 110081"/>
              <a:gd name="connsiteX184" fmla="*/ 516131 w 581566"/>
              <a:gd name="connsiteY184" fmla="*/ 27194 h 110081"/>
              <a:gd name="connsiteX185" fmla="*/ 516131 w 581566"/>
              <a:gd name="connsiteY185" fmla="*/ 12134 h 110081"/>
              <a:gd name="connsiteX186" fmla="*/ 545562 w 581566"/>
              <a:gd name="connsiteY186" fmla="*/ 0 h 110081"/>
              <a:gd name="connsiteX187" fmla="*/ 570960 w 581566"/>
              <a:gd name="connsiteY187" fmla="*/ 8401 h 110081"/>
              <a:gd name="connsiteX188" fmla="*/ 580372 w 581566"/>
              <a:gd name="connsiteY188" fmla="*/ 30803 h 110081"/>
              <a:gd name="connsiteX189" fmla="*/ 577981 w 581566"/>
              <a:gd name="connsiteY189" fmla="*/ 44804 h 110081"/>
              <a:gd name="connsiteX190" fmla="*/ 569914 w 581566"/>
              <a:gd name="connsiteY190" fmla="*/ 58681 h 110081"/>
              <a:gd name="connsiteX191" fmla="*/ 554227 w 581566"/>
              <a:gd name="connsiteY191" fmla="*/ 74860 h 110081"/>
              <a:gd name="connsiteX192" fmla="*/ 528830 w 581566"/>
              <a:gd name="connsiteY192" fmla="*/ 95769 h 110081"/>
              <a:gd name="connsiteX193" fmla="*/ 581567 w 581566"/>
              <a:gd name="connsiteY193" fmla="*/ 95769 h 110081"/>
              <a:gd name="connsiteX194" fmla="*/ 581567 w 581566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6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811" y="110082"/>
                </a:moveTo>
                <a:cubicBezTo>
                  <a:pt x="129839" y="110082"/>
                  <a:pt x="123614" y="108900"/>
                  <a:pt x="118136" y="106473"/>
                </a:cubicBezTo>
                <a:cubicBezTo>
                  <a:pt x="112757" y="104108"/>
                  <a:pt x="108525" y="100685"/>
                  <a:pt x="105437" y="96205"/>
                </a:cubicBezTo>
                <a:cubicBezTo>
                  <a:pt x="102349" y="91600"/>
                  <a:pt x="100806" y="86124"/>
                  <a:pt x="100806" y="79777"/>
                </a:cubicBezTo>
                <a:cubicBezTo>
                  <a:pt x="100806" y="72869"/>
                  <a:pt x="102599" y="67082"/>
                  <a:pt x="106184" y="62291"/>
                </a:cubicBezTo>
                <a:cubicBezTo>
                  <a:pt x="109869" y="57437"/>
                  <a:pt x="114799" y="53889"/>
                  <a:pt x="120974" y="51711"/>
                </a:cubicBezTo>
                <a:cubicBezTo>
                  <a:pt x="115995" y="49720"/>
                  <a:pt x="112010" y="46671"/>
                  <a:pt x="109023" y="42564"/>
                </a:cubicBezTo>
                <a:cubicBezTo>
                  <a:pt x="106134" y="38519"/>
                  <a:pt x="104690" y="33479"/>
                  <a:pt x="104690" y="27504"/>
                </a:cubicBezTo>
                <a:cubicBezTo>
                  <a:pt x="104690" y="21593"/>
                  <a:pt x="106085" y="16615"/>
                  <a:pt x="108873" y="12570"/>
                </a:cubicBezTo>
                <a:cubicBezTo>
                  <a:pt x="111662" y="8463"/>
                  <a:pt x="115496" y="5414"/>
                  <a:pt x="120377" y="3298"/>
                </a:cubicBezTo>
                <a:cubicBezTo>
                  <a:pt x="125257" y="1182"/>
                  <a:pt x="130735" y="186"/>
                  <a:pt x="136811" y="186"/>
                </a:cubicBezTo>
                <a:cubicBezTo>
                  <a:pt x="142787" y="186"/>
                  <a:pt x="148165" y="1182"/>
                  <a:pt x="152946" y="3298"/>
                </a:cubicBezTo>
                <a:cubicBezTo>
                  <a:pt x="157726" y="5289"/>
                  <a:pt x="161511" y="8276"/>
                  <a:pt x="164300" y="12259"/>
                </a:cubicBezTo>
                <a:cubicBezTo>
                  <a:pt x="167188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2" y="46484"/>
                  <a:pt x="157228" y="49596"/>
                  <a:pt x="152348" y="51711"/>
                </a:cubicBezTo>
                <a:cubicBezTo>
                  <a:pt x="158324" y="53765"/>
                  <a:pt x="163104" y="57188"/>
                  <a:pt x="166690" y="61855"/>
                </a:cubicBezTo>
                <a:cubicBezTo>
                  <a:pt x="170375" y="66522"/>
                  <a:pt x="172218" y="72372"/>
                  <a:pt x="172218" y="79341"/>
                </a:cubicBezTo>
                <a:cubicBezTo>
                  <a:pt x="172218" y="85688"/>
                  <a:pt x="170674" y="91226"/>
                  <a:pt x="167587" y="95893"/>
                </a:cubicBezTo>
                <a:cubicBezTo>
                  <a:pt x="164499" y="100498"/>
                  <a:pt x="160266" y="103983"/>
                  <a:pt x="154888" y="106473"/>
                </a:cubicBezTo>
                <a:cubicBezTo>
                  <a:pt x="149609" y="108900"/>
                  <a:pt x="143583" y="110082"/>
                  <a:pt x="136811" y="110082"/>
                </a:cubicBezTo>
                <a:close/>
                <a:moveTo>
                  <a:pt x="136811" y="46298"/>
                </a:moveTo>
                <a:cubicBezTo>
                  <a:pt x="142089" y="46298"/>
                  <a:pt x="146422" y="44804"/>
                  <a:pt x="149808" y="41817"/>
                </a:cubicBezTo>
                <a:cubicBezTo>
                  <a:pt x="153294" y="38768"/>
                  <a:pt x="155037" y="34536"/>
                  <a:pt x="155037" y="29122"/>
                </a:cubicBezTo>
                <a:cubicBezTo>
                  <a:pt x="155037" y="23771"/>
                  <a:pt x="153294" y="19601"/>
                  <a:pt x="149808" y="16615"/>
                </a:cubicBezTo>
                <a:cubicBezTo>
                  <a:pt x="146422" y="13503"/>
                  <a:pt x="142089" y="11947"/>
                  <a:pt x="136811" y="11947"/>
                </a:cubicBezTo>
                <a:cubicBezTo>
                  <a:pt x="131532" y="11947"/>
                  <a:pt x="127100" y="13503"/>
                  <a:pt x="123514" y="16615"/>
                </a:cubicBezTo>
                <a:cubicBezTo>
                  <a:pt x="120028" y="19601"/>
                  <a:pt x="118285" y="23771"/>
                  <a:pt x="118285" y="29122"/>
                </a:cubicBezTo>
                <a:cubicBezTo>
                  <a:pt x="118285" y="34536"/>
                  <a:pt x="120028" y="38768"/>
                  <a:pt x="123514" y="41817"/>
                </a:cubicBezTo>
                <a:cubicBezTo>
                  <a:pt x="127100" y="44804"/>
                  <a:pt x="131532" y="46298"/>
                  <a:pt x="136811" y="46298"/>
                </a:cubicBezTo>
                <a:close/>
                <a:moveTo>
                  <a:pt x="136811" y="98258"/>
                </a:moveTo>
                <a:cubicBezTo>
                  <a:pt x="142986" y="98258"/>
                  <a:pt x="148115" y="96516"/>
                  <a:pt x="152198" y="92907"/>
                </a:cubicBezTo>
                <a:cubicBezTo>
                  <a:pt x="156381" y="89235"/>
                  <a:pt x="158473" y="84071"/>
                  <a:pt x="158473" y="77536"/>
                </a:cubicBezTo>
                <a:cubicBezTo>
                  <a:pt x="158473" y="70940"/>
                  <a:pt x="156381" y="65900"/>
                  <a:pt x="152198" y="62291"/>
                </a:cubicBezTo>
                <a:cubicBezTo>
                  <a:pt x="148115" y="58619"/>
                  <a:pt x="142986" y="56752"/>
                  <a:pt x="136811" y="56752"/>
                </a:cubicBezTo>
                <a:cubicBezTo>
                  <a:pt x="130436" y="56752"/>
                  <a:pt x="125108" y="58619"/>
                  <a:pt x="120825" y="62291"/>
                </a:cubicBezTo>
                <a:cubicBezTo>
                  <a:pt x="116642" y="65900"/>
                  <a:pt x="114550" y="70940"/>
                  <a:pt x="114550" y="77536"/>
                </a:cubicBezTo>
                <a:cubicBezTo>
                  <a:pt x="114550" y="84071"/>
                  <a:pt x="116642" y="89235"/>
                  <a:pt x="120825" y="92907"/>
                </a:cubicBezTo>
                <a:cubicBezTo>
                  <a:pt x="125108" y="96516"/>
                  <a:pt x="130436" y="98258"/>
                  <a:pt x="136811" y="98258"/>
                </a:cubicBez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0" y="72433"/>
                </a:cubicBezTo>
                <a:cubicBezTo>
                  <a:pt x="217753" y="66397"/>
                  <a:pt x="223081" y="61108"/>
                  <a:pt x="226866" y="56628"/>
                </a:cubicBezTo>
                <a:cubicBezTo>
                  <a:pt x="230750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1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8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3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8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8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5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5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5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0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1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1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0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29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1" y="40262"/>
                  <a:pt x="490167" y="44244"/>
                </a:cubicBezTo>
                <a:cubicBezTo>
                  <a:pt x="486482" y="48227"/>
                  <a:pt x="482049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2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4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0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81567" y="108588"/>
                </a:moveTo>
                <a:lnTo>
                  <a:pt x="513292" y="108588"/>
                </a:lnTo>
                <a:lnTo>
                  <a:pt x="513292" y="94400"/>
                </a:lnTo>
                <a:cubicBezTo>
                  <a:pt x="523949" y="85812"/>
                  <a:pt x="532664" y="78532"/>
                  <a:pt x="539437" y="72433"/>
                </a:cubicBezTo>
                <a:cubicBezTo>
                  <a:pt x="546309" y="66397"/>
                  <a:pt x="551638" y="61108"/>
                  <a:pt x="555422" y="56628"/>
                </a:cubicBezTo>
                <a:cubicBezTo>
                  <a:pt x="559307" y="52023"/>
                  <a:pt x="561996" y="47791"/>
                  <a:pt x="563490" y="43933"/>
                </a:cubicBezTo>
                <a:cubicBezTo>
                  <a:pt x="565083" y="40012"/>
                  <a:pt x="565880" y="36092"/>
                  <a:pt x="565880" y="32109"/>
                </a:cubicBezTo>
                <a:cubicBezTo>
                  <a:pt x="565880" y="25949"/>
                  <a:pt x="564038" y="21095"/>
                  <a:pt x="560353" y="17610"/>
                </a:cubicBezTo>
                <a:cubicBezTo>
                  <a:pt x="556667" y="14125"/>
                  <a:pt x="551588" y="12383"/>
                  <a:pt x="545114" y="12383"/>
                </a:cubicBezTo>
                <a:cubicBezTo>
                  <a:pt x="534756" y="12383"/>
                  <a:pt x="525095" y="17361"/>
                  <a:pt x="516131" y="27194"/>
                </a:cubicBezTo>
                <a:lnTo>
                  <a:pt x="516131" y="12134"/>
                </a:lnTo>
                <a:cubicBezTo>
                  <a:pt x="524398" y="4044"/>
                  <a:pt x="534208" y="0"/>
                  <a:pt x="545562" y="0"/>
                </a:cubicBezTo>
                <a:cubicBezTo>
                  <a:pt x="556319" y="0"/>
                  <a:pt x="564785" y="2800"/>
                  <a:pt x="570960" y="8401"/>
                </a:cubicBezTo>
                <a:cubicBezTo>
                  <a:pt x="577234" y="13877"/>
                  <a:pt x="580372" y="21344"/>
                  <a:pt x="580372" y="30803"/>
                </a:cubicBezTo>
                <a:cubicBezTo>
                  <a:pt x="580372" y="35657"/>
                  <a:pt x="579575" y="40324"/>
                  <a:pt x="577981" y="44804"/>
                </a:cubicBezTo>
                <a:cubicBezTo>
                  <a:pt x="576487" y="49222"/>
                  <a:pt x="573798" y="53827"/>
                  <a:pt x="569914" y="58681"/>
                </a:cubicBezTo>
                <a:cubicBezTo>
                  <a:pt x="566129" y="63473"/>
                  <a:pt x="560900" y="68887"/>
                  <a:pt x="554227" y="74860"/>
                </a:cubicBezTo>
                <a:cubicBezTo>
                  <a:pt x="547554" y="80835"/>
                  <a:pt x="539088" y="87804"/>
                  <a:pt x="528830" y="95769"/>
                </a:cubicBezTo>
                <a:lnTo>
                  <a:pt x="581567" y="95769"/>
                </a:lnTo>
                <a:lnTo>
                  <a:pt x="581567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5" name="Полилиния 1004">
            <a:extLst>
              <a:ext uri="{FF2B5EF4-FFF2-40B4-BE49-F238E27FC236}">
                <a16:creationId xmlns:a16="http://schemas.microsoft.com/office/drawing/2014/main" id="{47E73516-A88F-690D-713E-3354035A8988}"/>
              </a:ext>
            </a:extLst>
          </p:cNvPr>
          <p:cNvSpPr/>
          <p:nvPr userDrawn="1"/>
        </p:nvSpPr>
        <p:spPr>
          <a:xfrm>
            <a:off x="18445574" y="5240073"/>
            <a:ext cx="1398954" cy="726227"/>
          </a:xfrm>
          <a:custGeom>
            <a:avLst/>
            <a:gdLst>
              <a:gd name="connsiteX0" fmla="*/ 850 w 1198727"/>
              <a:gd name="connsiteY0" fmla="*/ 1222 h 622284"/>
              <a:gd name="connsiteX1" fmla="*/ 1199578 w 1198727"/>
              <a:gd name="connsiteY1" fmla="*/ 1222 h 622284"/>
              <a:gd name="connsiteX2" fmla="*/ 1199578 w 1198727"/>
              <a:gd name="connsiteY2" fmla="*/ 623506 h 622284"/>
              <a:gd name="connsiteX3" fmla="*/ 850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222"/>
                </a:moveTo>
                <a:lnTo>
                  <a:pt x="1199578" y="1222"/>
                </a:lnTo>
                <a:lnTo>
                  <a:pt x="1199578" y="623506"/>
                </a:lnTo>
                <a:lnTo>
                  <a:pt x="850" y="623506"/>
                </a:lnTo>
                <a:close/>
              </a:path>
            </a:pathLst>
          </a:custGeom>
          <a:solidFill>
            <a:srgbClr val="AA003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6" name="Полилиния 1005">
            <a:extLst>
              <a:ext uri="{FF2B5EF4-FFF2-40B4-BE49-F238E27FC236}">
                <a16:creationId xmlns:a16="http://schemas.microsoft.com/office/drawing/2014/main" id="{C254DD81-D8DF-D839-0359-A7C2330A13C4}"/>
              </a:ext>
            </a:extLst>
          </p:cNvPr>
          <p:cNvSpPr/>
          <p:nvPr userDrawn="1"/>
        </p:nvSpPr>
        <p:spPr>
          <a:xfrm>
            <a:off x="18568782" y="5541820"/>
            <a:ext cx="721445" cy="128468"/>
          </a:xfrm>
          <a:custGeom>
            <a:avLst/>
            <a:gdLst>
              <a:gd name="connsiteX0" fmla="*/ 22111 w 618187"/>
              <a:gd name="connsiteY0" fmla="*/ 108588 h 110081"/>
              <a:gd name="connsiteX1" fmla="*/ 10159 w 618187"/>
              <a:gd name="connsiteY1" fmla="*/ 108588 h 110081"/>
              <a:gd name="connsiteX2" fmla="*/ 16433 w 618187"/>
              <a:gd name="connsiteY2" fmla="*/ 77661 h 110081"/>
              <a:gd name="connsiteX3" fmla="*/ 0 w 618187"/>
              <a:gd name="connsiteY3" fmla="*/ 77661 h 110081"/>
              <a:gd name="connsiteX4" fmla="*/ 0 w 618187"/>
              <a:gd name="connsiteY4" fmla="*/ 67206 h 110081"/>
              <a:gd name="connsiteX5" fmla="*/ 18675 w 618187"/>
              <a:gd name="connsiteY5" fmla="*/ 67206 h 110081"/>
              <a:gd name="connsiteX6" fmla="*/ 24202 w 618187"/>
              <a:gd name="connsiteY6" fmla="*/ 40012 h 110081"/>
              <a:gd name="connsiteX7" fmla="*/ 4033 w 618187"/>
              <a:gd name="connsiteY7" fmla="*/ 40012 h 110081"/>
              <a:gd name="connsiteX8" fmla="*/ 4033 w 618187"/>
              <a:gd name="connsiteY8" fmla="*/ 29559 h 110081"/>
              <a:gd name="connsiteX9" fmla="*/ 26294 w 618187"/>
              <a:gd name="connsiteY9" fmla="*/ 29559 h 110081"/>
              <a:gd name="connsiteX10" fmla="*/ 32120 w 618187"/>
              <a:gd name="connsiteY10" fmla="*/ 1493 h 110081"/>
              <a:gd name="connsiteX11" fmla="*/ 44072 w 618187"/>
              <a:gd name="connsiteY11" fmla="*/ 1493 h 110081"/>
              <a:gd name="connsiteX12" fmla="*/ 38246 w 618187"/>
              <a:gd name="connsiteY12" fmla="*/ 29559 h 110081"/>
              <a:gd name="connsiteX13" fmla="*/ 60655 w 618187"/>
              <a:gd name="connsiteY13" fmla="*/ 29559 h 110081"/>
              <a:gd name="connsiteX14" fmla="*/ 66482 w 618187"/>
              <a:gd name="connsiteY14" fmla="*/ 1493 h 110081"/>
              <a:gd name="connsiteX15" fmla="*/ 78434 w 618187"/>
              <a:gd name="connsiteY15" fmla="*/ 1493 h 110081"/>
              <a:gd name="connsiteX16" fmla="*/ 72607 w 618187"/>
              <a:gd name="connsiteY16" fmla="*/ 29559 h 110081"/>
              <a:gd name="connsiteX17" fmla="*/ 89340 w 618187"/>
              <a:gd name="connsiteY17" fmla="*/ 29559 h 110081"/>
              <a:gd name="connsiteX18" fmla="*/ 89340 w 618187"/>
              <a:gd name="connsiteY18" fmla="*/ 40012 h 110081"/>
              <a:gd name="connsiteX19" fmla="*/ 70516 w 618187"/>
              <a:gd name="connsiteY19" fmla="*/ 40012 h 110081"/>
              <a:gd name="connsiteX20" fmla="*/ 64988 w 618187"/>
              <a:gd name="connsiteY20" fmla="*/ 67206 h 110081"/>
              <a:gd name="connsiteX21" fmla="*/ 85306 w 618187"/>
              <a:gd name="connsiteY21" fmla="*/ 67206 h 110081"/>
              <a:gd name="connsiteX22" fmla="*/ 85306 w 618187"/>
              <a:gd name="connsiteY22" fmla="*/ 77661 h 110081"/>
              <a:gd name="connsiteX23" fmla="*/ 62747 w 618187"/>
              <a:gd name="connsiteY23" fmla="*/ 77661 h 110081"/>
              <a:gd name="connsiteX24" fmla="*/ 56472 w 618187"/>
              <a:gd name="connsiteY24" fmla="*/ 108588 h 110081"/>
              <a:gd name="connsiteX25" fmla="*/ 44520 w 618187"/>
              <a:gd name="connsiteY25" fmla="*/ 108588 h 110081"/>
              <a:gd name="connsiteX26" fmla="*/ 50795 w 618187"/>
              <a:gd name="connsiteY26" fmla="*/ 77661 h 110081"/>
              <a:gd name="connsiteX27" fmla="*/ 28386 w 618187"/>
              <a:gd name="connsiteY27" fmla="*/ 77661 h 110081"/>
              <a:gd name="connsiteX28" fmla="*/ 22111 w 618187"/>
              <a:gd name="connsiteY28" fmla="*/ 108588 h 110081"/>
              <a:gd name="connsiteX29" fmla="*/ 30626 w 618187"/>
              <a:gd name="connsiteY29" fmla="*/ 67206 h 110081"/>
              <a:gd name="connsiteX30" fmla="*/ 53036 w 618187"/>
              <a:gd name="connsiteY30" fmla="*/ 67206 h 110081"/>
              <a:gd name="connsiteX31" fmla="*/ 58564 w 618187"/>
              <a:gd name="connsiteY31" fmla="*/ 40012 h 110081"/>
              <a:gd name="connsiteX32" fmla="*/ 36154 w 618187"/>
              <a:gd name="connsiteY32" fmla="*/ 40012 h 110081"/>
              <a:gd name="connsiteX33" fmla="*/ 30626 w 618187"/>
              <a:gd name="connsiteY33" fmla="*/ 67206 h 110081"/>
              <a:gd name="connsiteX34" fmla="*/ 189691 w 618187"/>
              <a:gd name="connsiteY34" fmla="*/ 108588 h 110081"/>
              <a:gd name="connsiteX35" fmla="*/ 174751 w 618187"/>
              <a:gd name="connsiteY35" fmla="*/ 108588 h 110081"/>
              <a:gd name="connsiteX36" fmla="*/ 163696 w 618187"/>
              <a:gd name="connsiteY36" fmla="*/ 77972 h 110081"/>
              <a:gd name="connsiteX37" fmla="*/ 116337 w 618187"/>
              <a:gd name="connsiteY37" fmla="*/ 77972 h 110081"/>
              <a:gd name="connsiteX38" fmla="*/ 105431 w 618187"/>
              <a:gd name="connsiteY38" fmla="*/ 108588 h 110081"/>
              <a:gd name="connsiteX39" fmla="*/ 92284 w 618187"/>
              <a:gd name="connsiteY39" fmla="*/ 108588 h 110081"/>
              <a:gd name="connsiteX40" fmla="*/ 130380 w 618187"/>
              <a:gd name="connsiteY40" fmla="*/ 1493 h 110081"/>
              <a:gd name="connsiteX41" fmla="*/ 151296 w 618187"/>
              <a:gd name="connsiteY41" fmla="*/ 1493 h 110081"/>
              <a:gd name="connsiteX42" fmla="*/ 189691 w 618187"/>
              <a:gd name="connsiteY42" fmla="*/ 108588 h 110081"/>
              <a:gd name="connsiteX43" fmla="*/ 120968 w 618187"/>
              <a:gd name="connsiteY43" fmla="*/ 65278 h 110081"/>
              <a:gd name="connsiteX44" fmla="*/ 159214 w 618187"/>
              <a:gd name="connsiteY44" fmla="*/ 65278 h 110081"/>
              <a:gd name="connsiteX45" fmla="*/ 140091 w 618187"/>
              <a:gd name="connsiteY45" fmla="*/ 11947 h 110081"/>
              <a:gd name="connsiteX46" fmla="*/ 120968 w 618187"/>
              <a:gd name="connsiteY46" fmla="*/ 65278 h 110081"/>
              <a:gd name="connsiteX47" fmla="*/ 293130 w 618187"/>
              <a:gd name="connsiteY47" fmla="*/ 108588 h 110081"/>
              <a:gd name="connsiteX48" fmla="*/ 278191 w 618187"/>
              <a:gd name="connsiteY48" fmla="*/ 108588 h 110081"/>
              <a:gd name="connsiteX49" fmla="*/ 267135 w 618187"/>
              <a:gd name="connsiteY49" fmla="*/ 77972 h 110081"/>
              <a:gd name="connsiteX50" fmla="*/ 219776 w 618187"/>
              <a:gd name="connsiteY50" fmla="*/ 77972 h 110081"/>
              <a:gd name="connsiteX51" fmla="*/ 208870 w 618187"/>
              <a:gd name="connsiteY51" fmla="*/ 108588 h 110081"/>
              <a:gd name="connsiteX52" fmla="*/ 195723 w 618187"/>
              <a:gd name="connsiteY52" fmla="*/ 108588 h 110081"/>
              <a:gd name="connsiteX53" fmla="*/ 233819 w 618187"/>
              <a:gd name="connsiteY53" fmla="*/ 1493 h 110081"/>
              <a:gd name="connsiteX54" fmla="*/ 254735 w 618187"/>
              <a:gd name="connsiteY54" fmla="*/ 1493 h 110081"/>
              <a:gd name="connsiteX55" fmla="*/ 293130 w 618187"/>
              <a:gd name="connsiteY55" fmla="*/ 108588 h 110081"/>
              <a:gd name="connsiteX56" fmla="*/ 224407 w 618187"/>
              <a:gd name="connsiteY56" fmla="*/ 65278 h 110081"/>
              <a:gd name="connsiteX57" fmla="*/ 262653 w 618187"/>
              <a:gd name="connsiteY57" fmla="*/ 65278 h 110081"/>
              <a:gd name="connsiteX58" fmla="*/ 243530 w 618187"/>
              <a:gd name="connsiteY58" fmla="*/ 11947 h 110081"/>
              <a:gd name="connsiteX59" fmla="*/ 224407 w 618187"/>
              <a:gd name="connsiteY59" fmla="*/ 65278 h 110081"/>
              <a:gd name="connsiteX60" fmla="*/ 337557 w 618187"/>
              <a:gd name="connsiteY60" fmla="*/ 110082 h 110081"/>
              <a:gd name="connsiteX61" fmla="*/ 319331 w 618187"/>
              <a:gd name="connsiteY61" fmla="*/ 104233 h 110081"/>
              <a:gd name="connsiteX62" fmla="*/ 306632 w 618187"/>
              <a:gd name="connsiteY62" fmla="*/ 86311 h 110081"/>
              <a:gd name="connsiteX63" fmla="*/ 302150 w 618187"/>
              <a:gd name="connsiteY63" fmla="*/ 54947 h 110081"/>
              <a:gd name="connsiteX64" fmla="*/ 306632 w 618187"/>
              <a:gd name="connsiteY64" fmla="*/ 23584 h 110081"/>
              <a:gd name="connsiteX65" fmla="*/ 319331 w 618187"/>
              <a:gd name="connsiteY65" fmla="*/ 5849 h 110081"/>
              <a:gd name="connsiteX66" fmla="*/ 337557 w 618187"/>
              <a:gd name="connsiteY66" fmla="*/ 186 h 110081"/>
              <a:gd name="connsiteX67" fmla="*/ 355634 w 618187"/>
              <a:gd name="connsiteY67" fmla="*/ 5849 h 110081"/>
              <a:gd name="connsiteX68" fmla="*/ 368034 w 618187"/>
              <a:gd name="connsiteY68" fmla="*/ 23584 h 110081"/>
              <a:gd name="connsiteX69" fmla="*/ 372516 w 618187"/>
              <a:gd name="connsiteY69" fmla="*/ 54698 h 110081"/>
              <a:gd name="connsiteX70" fmla="*/ 368034 w 618187"/>
              <a:gd name="connsiteY70" fmla="*/ 86062 h 110081"/>
              <a:gd name="connsiteX71" fmla="*/ 355634 w 618187"/>
              <a:gd name="connsiteY71" fmla="*/ 104233 h 110081"/>
              <a:gd name="connsiteX72" fmla="*/ 337557 w 618187"/>
              <a:gd name="connsiteY72" fmla="*/ 110082 h 110081"/>
              <a:gd name="connsiteX73" fmla="*/ 337408 w 618187"/>
              <a:gd name="connsiteY73" fmla="*/ 98258 h 110081"/>
              <a:gd name="connsiteX74" fmla="*/ 348762 w 618187"/>
              <a:gd name="connsiteY74" fmla="*/ 94275 h 110081"/>
              <a:gd name="connsiteX75" fmla="*/ 355933 w 618187"/>
              <a:gd name="connsiteY75" fmla="*/ 80648 h 110081"/>
              <a:gd name="connsiteX76" fmla="*/ 358473 w 618187"/>
              <a:gd name="connsiteY76" fmla="*/ 55134 h 110081"/>
              <a:gd name="connsiteX77" fmla="*/ 356083 w 618187"/>
              <a:gd name="connsiteY77" fmla="*/ 29745 h 110081"/>
              <a:gd name="connsiteX78" fmla="*/ 348911 w 618187"/>
              <a:gd name="connsiteY78" fmla="*/ 16117 h 110081"/>
              <a:gd name="connsiteX79" fmla="*/ 337557 w 618187"/>
              <a:gd name="connsiteY79" fmla="*/ 11947 h 110081"/>
              <a:gd name="connsiteX80" fmla="*/ 326054 w 618187"/>
              <a:gd name="connsiteY80" fmla="*/ 16117 h 110081"/>
              <a:gd name="connsiteX81" fmla="*/ 318733 w 618187"/>
              <a:gd name="connsiteY81" fmla="*/ 29745 h 110081"/>
              <a:gd name="connsiteX82" fmla="*/ 316193 w 618187"/>
              <a:gd name="connsiteY82" fmla="*/ 55134 h 110081"/>
              <a:gd name="connsiteX83" fmla="*/ 318584 w 618187"/>
              <a:gd name="connsiteY83" fmla="*/ 80648 h 110081"/>
              <a:gd name="connsiteX84" fmla="*/ 325904 w 618187"/>
              <a:gd name="connsiteY84" fmla="*/ 94275 h 110081"/>
              <a:gd name="connsiteX85" fmla="*/ 337408 w 618187"/>
              <a:gd name="connsiteY85" fmla="*/ 98258 h 110081"/>
              <a:gd name="connsiteX86" fmla="*/ 419695 w 618187"/>
              <a:gd name="connsiteY86" fmla="*/ 110082 h 110081"/>
              <a:gd name="connsiteX87" fmla="*/ 401468 w 618187"/>
              <a:gd name="connsiteY87" fmla="*/ 104233 h 110081"/>
              <a:gd name="connsiteX88" fmla="*/ 388769 w 618187"/>
              <a:gd name="connsiteY88" fmla="*/ 86311 h 110081"/>
              <a:gd name="connsiteX89" fmla="*/ 384287 w 618187"/>
              <a:gd name="connsiteY89" fmla="*/ 54947 h 110081"/>
              <a:gd name="connsiteX90" fmla="*/ 388769 w 618187"/>
              <a:gd name="connsiteY90" fmla="*/ 23584 h 110081"/>
              <a:gd name="connsiteX91" fmla="*/ 401468 w 618187"/>
              <a:gd name="connsiteY91" fmla="*/ 5849 h 110081"/>
              <a:gd name="connsiteX92" fmla="*/ 419695 w 618187"/>
              <a:gd name="connsiteY92" fmla="*/ 186 h 110081"/>
              <a:gd name="connsiteX93" fmla="*/ 437772 w 618187"/>
              <a:gd name="connsiteY93" fmla="*/ 5849 h 110081"/>
              <a:gd name="connsiteX94" fmla="*/ 450172 w 618187"/>
              <a:gd name="connsiteY94" fmla="*/ 23584 h 110081"/>
              <a:gd name="connsiteX95" fmla="*/ 454654 w 618187"/>
              <a:gd name="connsiteY95" fmla="*/ 54698 h 110081"/>
              <a:gd name="connsiteX96" fmla="*/ 450172 w 618187"/>
              <a:gd name="connsiteY96" fmla="*/ 86062 h 110081"/>
              <a:gd name="connsiteX97" fmla="*/ 437772 w 618187"/>
              <a:gd name="connsiteY97" fmla="*/ 104233 h 110081"/>
              <a:gd name="connsiteX98" fmla="*/ 419695 w 618187"/>
              <a:gd name="connsiteY98" fmla="*/ 110082 h 110081"/>
              <a:gd name="connsiteX99" fmla="*/ 419545 w 618187"/>
              <a:gd name="connsiteY99" fmla="*/ 98258 h 110081"/>
              <a:gd name="connsiteX100" fmla="*/ 430900 w 618187"/>
              <a:gd name="connsiteY100" fmla="*/ 94275 h 110081"/>
              <a:gd name="connsiteX101" fmla="*/ 438071 w 618187"/>
              <a:gd name="connsiteY101" fmla="*/ 80648 h 110081"/>
              <a:gd name="connsiteX102" fmla="*/ 440610 w 618187"/>
              <a:gd name="connsiteY102" fmla="*/ 55134 h 110081"/>
              <a:gd name="connsiteX103" fmla="*/ 438220 w 618187"/>
              <a:gd name="connsiteY103" fmla="*/ 29745 h 110081"/>
              <a:gd name="connsiteX104" fmla="*/ 431049 w 618187"/>
              <a:gd name="connsiteY104" fmla="*/ 16117 h 110081"/>
              <a:gd name="connsiteX105" fmla="*/ 419695 w 618187"/>
              <a:gd name="connsiteY105" fmla="*/ 11947 h 110081"/>
              <a:gd name="connsiteX106" fmla="*/ 408191 w 618187"/>
              <a:gd name="connsiteY106" fmla="*/ 16117 h 110081"/>
              <a:gd name="connsiteX107" fmla="*/ 400870 w 618187"/>
              <a:gd name="connsiteY107" fmla="*/ 29745 h 110081"/>
              <a:gd name="connsiteX108" fmla="*/ 398331 w 618187"/>
              <a:gd name="connsiteY108" fmla="*/ 55134 h 110081"/>
              <a:gd name="connsiteX109" fmla="*/ 400721 w 618187"/>
              <a:gd name="connsiteY109" fmla="*/ 80648 h 110081"/>
              <a:gd name="connsiteX110" fmla="*/ 408042 w 618187"/>
              <a:gd name="connsiteY110" fmla="*/ 94275 h 110081"/>
              <a:gd name="connsiteX111" fmla="*/ 419545 w 618187"/>
              <a:gd name="connsiteY111" fmla="*/ 98258 h 110081"/>
              <a:gd name="connsiteX112" fmla="*/ 485255 w 618187"/>
              <a:gd name="connsiteY112" fmla="*/ 58992 h 110081"/>
              <a:gd name="connsiteX113" fmla="*/ 485255 w 618187"/>
              <a:gd name="connsiteY113" fmla="*/ 46298 h 110081"/>
              <a:gd name="connsiteX114" fmla="*/ 499598 w 618187"/>
              <a:gd name="connsiteY114" fmla="*/ 46298 h 110081"/>
              <a:gd name="connsiteX115" fmla="*/ 513193 w 618187"/>
              <a:gd name="connsiteY115" fmla="*/ 41817 h 110081"/>
              <a:gd name="connsiteX116" fmla="*/ 518571 w 618187"/>
              <a:gd name="connsiteY116" fmla="*/ 28812 h 110081"/>
              <a:gd name="connsiteX117" fmla="*/ 513641 w 618187"/>
              <a:gd name="connsiteY117" fmla="*/ 16864 h 110081"/>
              <a:gd name="connsiteX118" fmla="*/ 499448 w 618187"/>
              <a:gd name="connsiteY118" fmla="*/ 12383 h 110081"/>
              <a:gd name="connsiteX119" fmla="*/ 484807 w 618187"/>
              <a:gd name="connsiteY119" fmla="*/ 15246 h 110081"/>
              <a:gd name="connsiteX120" fmla="*/ 470764 w 618187"/>
              <a:gd name="connsiteY120" fmla="*/ 24331 h 110081"/>
              <a:gd name="connsiteX121" fmla="*/ 470764 w 618187"/>
              <a:gd name="connsiteY121" fmla="*/ 9707 h 110081"/>
              <a:gd name="connsiteX122" fmla="*/ 499598 w 618187"/>
              <a:gd name="connsiteY122" fmla="*/ 0 h 110081"/>
              <a:gd name="connsiteX123" fmla="*/ 523650 w 618187"/>
              <a:gd name="connsiteY123" fmla="*/ 7779 h 110081"/>
              <a:gd name="connsiteX124" fmla="*/ 532465 w 618187"/>
              <a:gd name="connsiteY124" fmla="*/ 28065 h 110081"/>
              <a:gd name="connsiteX125" fmla="*/ 526788 w 618187"/>
              <a:gd name="connsiteY125" fmla="*/ 44244 h 110081"/>
              <a:gd name="connsiteX126" fmla="*/ 513492 w 618187"/>
              <a:gd name="connsiteY126" fmla="*/ 52147 h 110081"/>
              <a:gd name="connsiteX127" fmla="*/ 524995 w 618187"/>
              <a:gd name="connsiteY127" fmla="*/ 56441 h 110081"/>
              <a:gd name="connsiteX128" fmla="*/ 533660 w 618187"/>
              <a:gd name="connsiteY128" fmla="*/ 65153 h 110081"/>
              <a:gd name="connsiteX129" fmla="*/ 536947 w 618187"/>
              <a:gd name="connsiteY129" fmla="*/ 77661 h 110081"/>
              <a:gd name="connsiteX130" fmla="*/ 532017 w 618187"/>
              <a:gd name="connsiteY130" fmla="*/ 94836 h 110081"/>
              <a:gd name="connsiteX131" fmla="*/ 518422 w 618187"/>
              <a:gd name="connsiteY131" fmla="*/ 106224 h 110081"/>
              <a:gd name="connsiteX132" fmla="*/ 498552 w 618187"/>
              <a:gd name="connsiteY132" fmla="*/ 110082 h 110081"/>
              <a:gd name="connsiteX133" fmla="*/ 468075 w 618187"/>
              <a:gd name="connsiteY133" fmla="*/ 100997 h 110081"/>
              <a:gd name="connsiteX134" fmla="*/ 468075 w 618187"/>
              <a:gd name="connsiteY134" fmla="*/ 86062 h 110081"/>
              <a:gd name="connsiteX135" fmla="*/ 481819 w 618187"/>
              <a:gd name="connsiteY135" fmla="*/ 94711 h 110081"/>
              <a:gd name="connsiteX136" fmla="*/ 498701 w 618187"/>
              <a:gd name="connsiteY136" fmla="*/ 97823 h 110081"/>
              <a:gd name="connsiteX137" fmla="*/ 516031 w 618187"/>
              <a:gd name="connsiteY137" fmla="*/ 92596 h 110081"/>
              <a:gd name="connsiteX138" fmla="*/ 522455 w 618187"/>
              <a:gd name="connsiteY138" fmla="*/ 77972 h 110081"/>
              <a:gd name="connsiteX139" fmla="*/ 516629 w 618187"/>
              <a:gd name="connsiteY139" fmla="*/ 64095 h 110081"/>
              <a:gd name="connsiteX140" fmla="*/ 499000 w 618187"/>
              <a:gd name="connsiteY140" fmla="*/ 58992 h 110081"/>
              <a:gd name="connsiteX141" fmla="*/ 485255 w 618187"/>
              <a:gd name="connsiteY141" fmla="*/ 58992 h 110081"/>
              <a:gd name="connsiteX142" fmla="*/ 618188 w 618187"/>
              <a:gd name="connsiteY142" fmla="*/ 13628 h 110081"/>
              <a:gd name="connsiteX143" fmla="*/ 572771 w 618187"/>
              <a:gd name="connsiteY143" fmla="*/ 108588 h 110081"/>
              <a:gd name="connsiteX144" fmla="*/ 558130 w 618187"/>
              <a:gd name="connsiteY144" fmla="*/ 108588 h 110081"/>
              <a:gd name="connsiteX145" fmla="*/ 603846 w 618187"/>
              <a:gd name="connsiteY145" fmla="*/ 14374 h 110081"/>
              <a:gd name="connsiteX146" fmla="*/ 549316 w 618187"/>
              <a:gd name="connsiteY146" fmla="*/ 14374 h 110081"/>
              <a:gd name="connsiteX147" fmla="*/ 549316 w 618187"/>
              <a:gd name="connsiteY147" fmla="*/ 1493 h 110081"/>
              <a:gd name="connsiteX148" fmla="*/ 618188 w 618187"/>
              <a:gd name="connsiteY148" fmla="*/ 1493 h 110081"/>
              <a:gd name="connsiteX149" fmla="*/ 618188 w 618187"/>
              <a:gd name="connsiteY149" fmla="*/ 1362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818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89691" y="108588"/>
                </a:moveTo>
                <a:lnTo>
                  <a:pt x="174751" y="108588"/>
                </a:lnTo>
                <a:lnTo>
                  <a:pt x="163696" y="77972"/>
                </a:lnTo>
                <a:lnTo>
                  <a:pt x="116337" y="77972"/>
                </a:lnTo>
                <a:lnTo>
                  <a:pt x="105431" y="108588"/>
                </a:lnTo>
                <a:lnTo>
                  <a:pt x="92284" y="108588"/>
                </a:lnTo>
                <a:lnTo>
                  <a:pt x="130380" y="1493"/>
                </a:lnTo>
                <a:lnTo>
                  <a:pt x="151296" y="1493"/>
                </a:lnTo>
                <a:lnTo>
                  <a:pt x="189691" y="108588"/>
                </a:lnTo>
                <a:close/>
                <a:moveTo>
                  <a:pt x="120968" y="65278"/>
                </a:moveTo>
                <a:lnTo>
                  <a:pt x="159214" y="65278"/>
                </a:lnTo>
                <a:lnTo>
                  <a:pt x="140091" y="11947"/>
                </a:lnTo>
                <a:lnTo>
                  <a:pt x="120968" y="65278"/>
                </a:lnTo>
                <a:close/>
                <a:moveTo>
                  <a:pt x="293130" y="108588"/>
                </a:moveTo>
                <a:lnTo>
                  <a:pt x="278191" y="108588"/>
                </a:lnTo>
                <a:lnTo>
                  <a:pt x="267135" y="77972"/>
                </a:lnTo>
                <a:lnTo>
                  <a:pt x="219776" y="77972"/>
                </a:lnTo>
                <a:lnTo>
                  <a:pt x="208870" y="108588"/>
                </a:lnTo>
                <a:lnTo>
                  <a:pt x="195723" y="108588"/>
                </a:lnTo>
                <a:lnTo>
                  <a:pt x="233819" y="1493"/>
                </a:lnTo>
                <a:lnTo>
                  <a:pt x="254735" y="1493"/>
                </a:lnTo>
                <a:lnTo>
                  <a:pt x="293130" y="108588"/>
                </a:lnTo>
                <a:close/>
                <a:moveTo>
                  <a:pt x="224407" y="65278"/>
                </a:moveTo>
                <a:lnTo>
                  <a:pt x="262653" y="65278"/>
                </a:lnTo>
                <a:lnTo>
                  <a:pt x="243530" y="11947"/>
                </a:lnTo>
                <a:lnTo>
                  <a:pt x="224407" y="65278"/>
                </a:lnTo>
                <a:close/>
                <a:moveTo>
                  <a:pt x="337557" y="110082"/>
                </a:moveTo>
                <a:cubicBezTo>
                  <a:pt x="330785" y="110082"/>
                  <a:pt x="324709" y="108153"/>
                  <a:pt x="319331" y="104233"/>
                </a:cubicBezTo>
                <a:cubicBezTo>
                  <a:pt x="313953" y="100374"/>
                  <a:pt x="309720" y="94400"/>
                  <a:pt x="306632" y="86311"/>
                </a:cubicBezTo>
                <a:cubicBezTo>
                  <a:pt x="303644" y="78159"/>
                  <a:pt x="302150" y="67705"/>
                  <a:pt x="302150" y="54947"/>
                </a:cubicBezTo>
                <a:cubicBezTo>
                  <a:pt x="302150" y="42128"/>
                  <a:pt x="303644" y="31674"/>
                  <a:pt x="306632" y="23584"/>
                </a:cubicBezTo>
                <a:cubicBezTo>
                  <a:pt x="309720" y="15557"/>
                  <a:pt x="313953" y="9645"/>
                  <a:pt x="319331" y="5849"/>
                </a:cubicBezTo>
                <a:cubicBezTo>
                  <a:pt x="324709" y="2053"/>
                  <a:pt x="330785" y="186"/>
                  <a:pt x="337557" y="186"/>
                </a:cubicBezTo>
                <a:cubicBezTo>
                  <a:pt x="344330" y="186"/>
                  <a:pt x="350356" y="2053"/>
                  <a:pt x="355634" y="5849"/>
                </a:cubicBezTo>
                <a:cubicBezTo>
                  <a:pt x="360913" y="9645"/>
                  <a:pt x="365047" y="15557"/>
                  <a:pt x="368034" y="23584"/>
                </a:cubicBezTo>
                <a:cubicBezTo>
                  <a:pt x="371022" y="31549"/>
                  <a:pt x="372516" y="41942"/>
                  <a:pt x="372516" y="54698"/>
                </a:cubicBezTo>
                <a:cubicBezTo>
                  <a:pt x="372516" y="67331"/>
                  <a:pt x="371022" y="77786"/>
                  <a:pt x="368034" y="86062"/>
                </a:cubicBezTo>
                <a:cubicBezTo>
                  <a:pt x="365047" y="94213"/>
                  <a:pt x="360913" y="100250"/>
                  <a:pt x="355634" y="104233"/>
                </a:cubicBezTo>
                <a:cubicBezTo>
                  <a:pt x="350356" y="108153"/>
                  <a:pt x="344330" y="110082"/>
                  <a:pt x="337557" y="110082"/>
                </a:cubicBezTo>
                <a:close/>
                <a:moveTo>
                  <a:pt x="337408" y="98258"/>
                </a:moveTo>
                <a:cubicBezTo>
                  <a:pt x="341890" y="98258"/>
                  <a:pt x="345675" y="96952"/>
                  <a:pt x="348762" y="94275"/>
                </a:cubicBezTo>
                <a:cubicBezTo>
                  <a:pt x="351949" y="91475"/>
                  <a:pt x="354340" y="86933"/>
                  <a:pt x="355933" y="80648"/>
                </a:cubicBezTo>
                <a:cubicBezTo>
                  <a:pt x="357626" y="74300"/>
                  <a:pt x="358473" y="65775"/>
                  <a:pt x="358473" y="55134"/>
                </a:cubicBezTo>
                <a:cubicBezTo>
                  <a:pt x="358473" y="44493"/>
                  <a:pt x="357676" y="36030"/>
                  <a:pt x="356083" y="29745"/>
                </a:cubicBezTo>
                <a:cubicBezTo>
                  <a:pt x="354489" y="23336"/>
                  <a:pt x="352099" y="18855"/>
                  <a:pt x="348911" y="16117"/>
                </a:cubicBezTo>
                <a:cubicBezTo>
                  <a:pt x="345824" y="13379"/>
                  <a:pt x="342039" y="11947"/>
                  <a:pt x="337557" y="11947"/>
                </a:cubicBezTo>
                <a:cubicBezTo>
                  <a:pt x="333075" y="11947"/>
                  <a:pt x="329241" y="13379"/>
                  <a:pt x="326054" y="16117"/>
                </a:cubicBezTo>
                <a:cubicBezTo>
                  <a:pt x="322867" y="18855"/>
                  <a:pt x="320426" y="23336"/>
                  <a:pt x="318733" y="29745"/>
                </a:cubicBezTo>
                <a:cubicBezTo>
                  <a:pt x="317040" y="36030"/>
                  <a:pt x="316193" y="44493"/>
                  <a:pt x="316193" y="55134"/>
                </a:cubicBezTo>
                <a:cubicBezTo>
                  <a:pt x="316193" y="65775"/>
                  <a:pt x="316990" y="74300"/>
                  <a:pt x="318584" y="80648"/>
                </a:cubicBezTo>
                <a:cubicBezTo>
                  <a:pt x="320277" y="86933"/>
                  <a:pt x="322717" y="91475"/>
                  <a:pt x="325904" y="94275"/>
                </a:cubicBezTo>
                <a:cubicBezTo>
                  <a:pt x="329092" y="96952"/>
                  <a:pt x="332926" y="98258"/>
                  <a:pt x="337408" y="98258"/>
                </a:cubicBezTo>
                <a:close/>
                <a:moveTo>
                  <a:pt x="419695" y="110082"/>
                </a:moveTo>
                <a:cubicBezTo>
                  <a:pt x="412922" y="110082"/>
                  <a:pt x="406847" y="108153"/>
                  <a:pt x="401468" y="104233"/>
                </a:cubicBezTo>
                <a:cubicBezTo>
                  <a:pt x="396090" y="100374"/>
                  <a:pt x="391857" y="94400"/>
                  <a:pt x="388769" y="86311"/>
                </a:cubicBezTo>
                <a:cubicBezTo>
                  <a:pt x="385782" y="78159"/>
                  <a:pt x="384287" y="67705"/>
                  <a:pt x="384287" y="54947"/>
                </a:cubicBezTo>
                <a:cubicBezTo>
                  <a:pt x="384287" y="42128"/>
                  <a:pt x="385782" y="31674"/>
                  <a:pt x="388769" y="23584"/>
                </a:cubicBezTo>
                <a:cubicBezTo>
                  <a:pt x="391857" y="15557"/>
                  <a:pt x="396090" y="9645"/>
                  <a:pt x="401468" y="5849"/>
                </a:cubicBezTo>
                <a:cubicBezTo>
                  <a:pt x="406847" y="2053"/>
                  <a:pt x="412922" y="186"/>
                  <a:pt x="419695" y="186"/>
                </a:cubicBezTo>
                <a:cubicBezTo>
                  <a:pt x="426467" y="186"/>
                  <a:pt x="432493" y="2053"/>
                  <a:pt x="437772" y="5849"/>
                </a:cubicBezTo>
                <a:cubicBezTo>
                  <a:pt x="443050" y="9645"/>
                  <a:pt x="447184" y="15557"/>
                  <a:pt x="450172" y="23584"/>
                </a:cubicBezTo>
                <a:cubicBezTo>
                  <a:pt x="453160" y="31549"/>
                  <a:pt x="454654" y="41942"/>
                  <a:pt x="454654" y="54698"/>
                </a:cubicBezTo>
                <a:cubicBezTo>
                  <a:pt x="454654" y="67331"/>
                  <a:pt x="453160" y="77786"/>
                  <a:pt x="450172" y="86062"/>
                </a:cubicBezTo>
                <a:cubicBezTo>
                  <a:pt x="447184" y="94213"/>
                  <a:pt x="443050" y="100250"/>
                  <a:pt x="437772" y="104233"/>
                </a:cubicBezTo>
                <a:cubicBezTo>
                  <a:pt x="432493" y="108153"/>
                  <a:pt x="426467" y="110082"/>
                  <a:pt x="419695" y="110082"/>
                </a:cubicBezTo>
                <a:close/>
                <a:moveTo>
                  <a:pt x="419545" y="98258"/>
                </a:moveTo>
                <a:cubicBezTo>
                  <a:pt x="424027" y="98258"/>
                  <a:pt x="427812" y="96952"/>
                  <a:pt x="430900" y="94275"/>
                </a:cubicBezTo>
                <a:cubicBezTo>
                  <a:pt x="434087" y="91475"/>
                  <a:pt x="436477" y="86933"/>
                  <a:pt x="438071" y="80648"/>
                </a:cubicBezTo>
                <a:cubicBezTo>
                  <a:pt x="439764" y="74300"/>
                  <a:pt x="440610" y="65775"/>
                  <a:pt x="440610" y="55134"/>
                </a:cubicBezTo>
                <a:cubicBezTo>
                  <a:pt x="440610" y="44493"/>
                  <a:pt x="439814" y="36030"/>
                  <a:pt x="438220" y="29745"/>
                </a:cubicBezTo>
                <a:cubicBezTo>
                  <a:pt x="436626" y="23336"/>
                  <a:pt x="434236" y="18855"/>
                  <a:pt x="431049" y="16117"/>
                </a:cubicBezTo>
                <a:cubicBezTo>
                  <a:pt x="427962" y="13379"/>
                  <a:pt x="424177" y="11947"/>
                  <a:pt x="419695" y="11947"/>
                </a:cubicBezTo>
                <a:cubicBezTo>
                  <a:pt x="415213" y="11947"/>
                  <a:pt x="411378" y="13379"/>
                  <a:pt x="408191" y="16117"/>
                </a:cubicBezTo>
                <a:cubicBezTo>
                  <a:pt x="405004" y="18855"/>
                  <a:pt x="402564" y="23336"/>
                  <a:pt x="400870" y="29745"/>
                </a:cubicBezTo>
                <a:cubicBezTo>
                  <a:pt x="399177" y="36030"/>
                  <a:pt x="398331" y="44493"/>
                  <a:pt x="398331" y="55134"/>
                </a:cubicBezTo>
                <a:cubicBezTo>
                  <a:pt x="398331" y="65775"/>
                  <a:pt x="399128" y="74300"/>
                  <a:pt x="400721" y="80648"/>
                </a:cubicBezTo>
                <a:cubicBezTo>
                  <a:pt x="402415" y="86933"/>
                  <a:pt x="404854" y="91475"/>
                  <a:pt x="408042" y="94275"/>
                </a:cubicBezTo>
                <a:cubicBezTo>
                  <a:pt x="411229" y="96952"/>
                  <a:pt x="415063" y="98258"/>
                  <a:pt x="419545" y="98258"/>
                </a:cubicBezTo>
                <a:close/>
                <a:moveTo>
                  <a:pt x="485255" y="58992"/>
                </a:moveTo>
                <a:lnTo>
                  <a:pt x="485255" y="46298"/>
                </a:lnTo>
                <a:lnTo>
                  <a:pt x="499598" y="46298"/>
                </a:lnTo>
                <a:cubicBezTo>
                  <a:pt x="505175" y="46298"/>
                  <a:pt x="509707" y="44804"/>
                  <a:pt x="513193" y="41817"/>
                </a:cubicBezTo>
                <a:cubicBezTo>
                  <a:pt x="516778" y="38768"/>
                  <a:pt x="518571" y="34412"/>
                  <a:pt x="518571" y="28812"/>
                </a:cubicBezTo>
                <a:cubicBezTo>
                  <a:pt x="518571" y="23771"/>
                  <a:pt x="516928" y="19788"/>
                  <a:pt x="513641" y="16864"/>
                </a:cubicBezTo>
                <a:cubicBezTo>
                  <a:pt x="510354" y="13877"/>
                  <a:pt x="505623" y="12383"/>
                  <a:pt x="499448" y="12383"/>
                </a:cubicBezTo>
                <a:cubicBezTo>
                  <a:pt x="494269" y="12383"/>
                  <a:pt x="489389" y="13379"/>
                  <a:pt x="484807" y="15246"/>
                </a:cubicBezTo>
                <a:cubicBezTo>
                  <a:pt x="480325" y="17113"/>
                  <a:pt x="475644" y="20162"/>
                  <a:pt x="470764" y="24331"/>
                </a:cubicBezTo>
                <a:lnTo>
                  <a:pt x="470764" y="9707"/>
                </a:lnTo>
                <a:cubicBezTo>
                  <a:pt x="478732" y="3235"/>
                  <a:pt x="488343" y="0"/>
                  <a:pt x="499598" y="0"/>
                </a:cubicBezTo>
                <a:cubicBezTo>
                  <a:pt x="509856" y="0"/>
                  <a:pt x="517874" y="2613"/>
                  <a:pt x="523650" y="7779"/>
                </a:cubicBezTo>
                <a:cubicBezTo>
                  <a:pt x="529527" y="12943"/>
                  <a:pt x="532465" y="19726"/>
                  <a:pt x="532465" y="28065"/>
                </a:cubicBezTo>
                <a:cubicBezTo>
                  <a:pt x="532465" y="34848"/>
                  <a:pt x="530572" y="40262"/>
                  <a:pt x="526788" y="44244"/>
                </a:cubicBezTo>
                <a:cubicBezTo>
                  <a:pt x="523103" y="48227"/>
                  <a:pt x="518670" y="50840"/>
                  <a:pt x="513492" y="52147"/>
                </a:cubicBezTo>
                <a:cubicBezTo>
                  <a:pt x="517675" y="52707"/>
                  <a:pt x="521509" y="54201"/>
                  <a:pt x="524995" y="56441"/>
                </a:cubicBezTo>
                <a:cubicBezTo>
                  <a:pt x="528581" y="58681"/>
                  <a:pt x="531469" y="61543"/>
                  <a:pt x="533660" y="65153"/>
                </a:cubicBezTo>
                <a:cubicBezTo>
                  <a:pt x="535851" y="68700"/>
                  <a:pt x="536947" y="72869"/>
                  <a:pt x="536947" y="77661"/>
                </a:cubicBezTo>
                <a:cubicBezTo>
                  <a:pt x="536947" y="84257"/>
                  <a:pt x="535303" y="89982"/>
                  <a:pt x="532017" y="94836"/>
                </a:cubicBezTo>
                <a:cubicBezTo>
                  <a:pt x="528730" y="99752"/>
                  <a:pt x="524198" y="103486"/>
                  <a:pt x="518422" y="106224"/>
                </a:cubicBezTo>
                <a:cubicBezTo>
                  <a:pt x="512745" y="108775"/>
                  <a:pt x="506121" y="110082"/>
                  <a:pt x="498552" y="110082"/>
                </a:cubicBezTo>
                <a:cubicBezTo>
                  <a:pt x="485405" y="110082"/>
                  <a:pt x="475246" y="107033"/>
                  <a:pt x="468075" y="100997"/>
                </a:cubicBezTo>
                <a:lnTo>
                  <a:pt x="468075" y="86062"/>
                </a:lnTo>
                <a:cubicBezTo>
                  <a:pt x="471860" y="89733"/>
                  <a:pt x="476441" y="92596"/>
                  <a:pt x="481819" y="94711"/>
                </a:cubicBezTo>
                <a:cubicBezTo>
                  <a:pt x="487198" y="96765"/>
                  <a:pt x="492825" y="97823"/>
                  <a:pt x="498701" y="97823"/>
                </a:cubicBezTo>
                <a:cubicBezTo>
                  <a:pt x="506071" y="97823"/>
                  <a:pt x="511848" y="96080"/>
                  <a:pt x="516031" y="92596"/>
                </a:cubicBezTo>
                <a:cubicBezTo>
                  <a:pt x="520314" y="89048"/>
                  <a:pt x="522455" y="84132"/>
                  <a:pt x="522455" y="77972"/>
                </a:cubicBezTo>
                <a:cubicBezTo>
                  <a:pt x="522455" y="71998"/>
                  <a:pt x="520513" y="67393"/>
                  <a:pt x="516629" y="64095"/>
                </a:cubicBezTo>
                <a:cubicBezTo>
                  <a:pt x="512844" y="60673"/>
                  <a:pt x="506968" y="58992"/>
                  <a:pt x="499000" y="58992"/>
                </a:cubicBezTo>
                <a:lnTo>
                  <a:pt x="485255" y="58992"/>
                </a:lnTo>
                <a:close/>
                <a:moveTo>
                  <a:pt x="618188" y="13628"/>
                </a:moveTo>
                <a:lnTo>
                  <a:pt x="572771" y="108588"/>
                </a:lnTo>
                <a:lnTo>
                  <a:pt x="558130" y="108588"/>
                </a:lnTo>
                <a:lnTo>
                  <a:pt x="603846" y="14374"/>
                </a:lnTo>
                <a:lnTo>
                  <a:pt x="549316" y="14374"/>
                </a:lnTo>
                <a:lnTo>
                  <a:pt x="549316" y="1493"/>
                </a:lnTo>
                <a:lnTo>
                  <a:pt x="618188" y="1493"/>
                </a:lnTo>
                <a:lnTo>
                  <a:pt x="618188" y="1362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7" name="Полилиния 1006">
            <a:extLst>
              <a:ext uri="{FF2B5EF4-FFF2-40B4-BE49-F238E27FC236}">
                <a16:creationId xmlns:a16="http://schemas.microsoft.com/office/drawing/2014/main" id="{9BE169EC-01AB-349B-E500-BE23F7EFF621}"/>
              </a:ext>
            </a:extLst>
          </p:cNvPr>
          <p:cNvSpPr/>
          <p:nvPr userDrawn="1"/>
        </p:nvSpPr>
        <p:spPr>
          <a:xfrm>
            <a:off x="18445574" y="5966300"/>
            <a:ext cx="1398954" cy="726227"/>
          </a:xfrm>
          <a:custGeom>
            <a:avLst/>
            <a:gdLst>
              <a:gd name="connsiteX0" fmla="*/ 850 w 1198727"/>
              <a:gd name="connsiteY0" fmla="*/ 1322 h 622284"/>
              <a:gd name="connsiteX1" fmla="*/ 1199578 w 1198727"/>
              <a:gd name="connsiteY1" fmla="*/ 1322 h 622284"/>
              <a:gd name="connsiteX2" fmla="*/ 1199578 w 1198727"/>
              <a:gd name="connsiteY2" fmla="*/ 623606 h 622284"/>
              <a:gd name="connsiteX3" fmla="*/ 850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322"/>
                </a:moveTo>
                <a:lnTo>
                  <a:pt x="1199578" y="1322"/>
                </a:lnTo>
                <a:lnTo>
                  <a:pt x="1199578" y="623606"/>
                </a:lnTo>
                <a:lnTo>
                  <a:pt x="850" y="623606"/>
                </a:lnTo>
                <a:close/>
              </a:path>
            </a:pathLst>
          </a:custGeom>
          <a:solidFill>
            <a:srgbClr val="C8004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8" name="Полилиния 1007">
            <a:extLst>
              <a:ext uri="{FF2B5EF4-FFF2-40B4-BE49-F238E27FC236}">
                <a16:creationId xmlns:a16="http://schemas.microsoft.com/office/drawing/2014/main" id="{FD86A5E3-E9F6-F394-397C-B84FBF0419A5}"/>
              </a:ext>
            </a:extLst>
          </p:cNvPr>
          <p:cNvSpPr/>
          <p:nvPr userDrawn="1"/>
        </p:nvSpPr>
        <p:spPr>
          <a:xfrm>
            <a:off x="18568782" y="6268264"/>
            <a:ext cx="676455" cy="128252"/>
          </a:xfrm>
          <a:custGeom>
            <a:avLst/>
            <a:gdLst>
              <a:gd name="connsiteX0" fmla="*/ 22111 w 579637"/>
              <a:gd name="connsiteY0" fmla="*/ 108402 h 109895"/>
              <a:gd name="connsiteX1" fmla="*/ 10159 w 579637"/>
              <a:gd name="connsiteY1" fmla="*/ 108402 h 109895"/>
              <a:gd name="connsiteX2" fmla="*/ 16433 w 579637"/>
              <a:gd name="connsiteY2" fmla="*/ 77475 h 109895"/>
              <a:gd name="connsiteX3" fmla="*/ 0 w 579637"/>
              <a:gd name="connsiteY3" fmla="*/ 77475 h 109895"/>
              <a:gd name="connsiteX4" fmla="*/ 0 w 579637"/>
              <a:gd name="connsiteY4" fmla="*/ 67020 h 109895"/>
              <a:gd name="connsiteX5" fmla="*/ 18675 w 579637"/>
              <a:gd name="connsiteY5" fmla="*/ 67020 h 109895"/>
              <a:gd name="connsiteX6" fmla="*/ 24202 w 579637"/>
              <a:gd name="connsiteY6" fmla="*/ 39826 h 109895"/>
              <a:gd name="connsiteX7" fmla="*/ 4033 w 579637"/>
              <a:gd name="connsiteY7" fmla="*/ 39826 h 109895"/>
              <a:gd name="connsiteX8" fmla="*/ 4033 w 579637"/>
              <a:gd name="connsiteY8" fmla="*/ 29372 h 109895"/>
              <a:gd name="connsiteX9" fmla="*/ 26294 w 579637"/>
              <a:gd name="connsiteY9" fmla="*/ 29372 h 109895"/>
              <a:gd name="connsiteX10" fmla="*/ 32120 w 579637"/>
              <a:gd name="connsiteY10" fmla="*/ 1307 h 109895"/>
              <a:gd name="connsiteX11" fmla="*/ 44072 w 579637"/>
              <a:gd name="connsiteY11" fmla="*/ 1307 h 109895"/>
              <a:gd name="connsiteX12" fmla="*/ 38246 w 579637"/>
              <a:gd name="connsiteY12" fmla="*/ 29372 h 109895"/>
              <a:gd name="connsiteX13" fmla="*/ 60655 w 579637"/>
              <a:gd name="connsiteY13" fmla="*/ 29372 h 109895"/>
              <a:gd name="connsiteX14" fmla="*/ 66482 w 579637"/>
              <a:gd name="connsiteY14" fmla="*/ 1307 h 109895"/>
              <a:gd name="connsiteX15" fmla="*/ 78434 w 579637"/>
              <a:gd name="connsiteY15" fmla="*/ 1307 h 109895"/>
              <a:gd name="connsiteX16" fmla="*/ 72607 w 579637"/>
              <a:gd name="connsiteY16" fmla="*/ 29372 h 109895"/>
              <a:gd name="connsiteX17" fmla="*/ 89340 w 579637"/>
              <a:gd name="connsiteY17" fmla="*/ 29372 h 109895"/>
              <a:gd name="connsiteX18" fmla="*/ 89340 w 579637"/>
              <a:gd name="connsiteY18" fmla="*/ 39826 h 109895"/>
              <a:gd name="connsiteX19" fmla="*/ 70516 w 579637"/>
              <a:gd name="connsiteY19" fmla="*/ 39826 h 109895"/>
              <a:gd name="connsiteX20" fmla="*/ 64988 w 579637"/>
              <a:gd name="connsiteY20" fmla="*/ 67020 h 109895"/>
              <a:gd name="connsiteX21" fmla="*/ 85306 w 579637"/>
              <a:gd name="connsiteY21" fmla="*/ 67020 h 109895"/>
              <a:gd name="connsiteX22" fmla="*/ 85306 w 579637"/>
              <a:gd name="connsiteY22" fmla="*/ 77475 h 109895"/>
              <a:gd name="connsiteX23" fmla="*/ 62747 w 579637"/>
              <a:gd name="connsiteY23" fmla="*/ 77475 h 109895"/>
              <a:gd name="connsiteX24" fmla="*/ 56472 w 579637"/>
              <a:gd name="connsiteY24" fmla="*/ 108402 h 109895"/>
              <a:gd name="connsiteX25" fmla="*/ 44520 w 579637"/>
              <a:gd name="connsiteY25" fmla="*/ 108402 h 109895"/>
              <a:gd name="connsiteX26" fmla="*/ 50795 w 579637"/>
              <a:gd name="connsiteY26" fmla="*/ 77475 h 109895"/>
              <a:gd name="connsiteX27" fmla="*/ 28386 w 579637"/>
              <a:gd name="connsiteY27" fmla="*/ 77475 h 109895"/>
              <a:gd name="connsiteX28" fmla="*/ 22111 w 579637"/>
              <a:gd name="connsiteY28" fmla="*/ 108402 h 109895"/>
              <a:gd name="connsiteX29" fmla="*/ 30626 w 579637"/>
              <a:gd name="connsiteY29" fmla="*/ 67020 h 109895"/>
              <a:gd name="connsiteX30" fmla="*/ 53036 w 579637"/>
              <a:gd name="connsiteY30" fmla="*/ 67020 h 109895"/>
              <a:gd name="connsiteX31" fmla="*/ 58564 w 579637"/>
              <a:gd name="connsiteY31" fmla="*/ 39826 h 109895"/>
              <a:gd name="connsiteX32" fmla="*/ 36154 w 579637"/>
              <a:gd name="connsiteY32" fmla="*/ 39826 h 109895"/>
              <a:gd name="connsiteX33" fmla="*/ 30626 w 579637"/>
              <a:gd name="connsiteY33" fmla="*/ 67020 h 109895"/>
              <a:gd name="connsiteX34" fmla="*/ 154290 w 579637"/>
              <a:gd name="connsiteY34" fmla="*/ 109896 h 109895"/>
              <a:gd name="connsiteX35" fmla="*/ 126502 w 579637"/>
              <a:gd name="connsiteY35" fmla="*/ 103300 h 109895"/>
              <a:gd name="connsiteX36" fmla="*/ 108126 w 579637"/>
              <a:gd name="connsiteY36" fmla="*/ 84507 h 109895"/>
              <a:gd name="connsiteX37" fmla="*/ 101553 w 579637"/>
              <a:gd name="connsiteY37" fmla="*/ 54948 h 109895"/>
              <a:gd name="connsiteX38" fmla="*/ 115148 w 579637"/>
              <a:gd name="connsiteY38" fmla="*/ 14624 h 109895"/>
              <a:gd name="connsiteX39" fmla="*/ 153991 w 579637"/>
              <a:gd name="connsiteY39" fmla="*/ 0 h 109895"/>
              <a:gd name="connsiteX40" fmla="*/ 171919 w 579637"/>
              <a:gd name="connsiteY40" fmla="*/ 2054 h 109895"/>
              <a:gd name="connsiteX41" fmla="*/ 186560 w 579637"/>
              <a:gd name="connsiteY41" fmla="*/ 7716 h 109895"/>
              <a:gd name="connsiteX42" fmla="*/ 186560 w 579637"/>
              <a:gd name="connsiteY42" fmla="*/ 21158 h 109895"/>
              <a:gd name="connsiteX43" fmla="*/ 171471 w 579637"/>
              <a:gd name="connsiteY43" fmla="*/ 14935 h 109895"/>
              <a:gd name="connsiteX44" fmla="*/ 153842 w 579637"/>
              <a:gd name="connsiteY44" fmla="*/ 12695 h 109895"/>
              <a:gd name="connsiteX45" fmla="*/ 125904 w 579637"/>
              <a:gd name="connsiteY45" fmla="*/ 23273 h 109895"/>
              <a:gd name="connsiteX46" fmla="*/ 116791 w 579637"/>
              <a:gd name="connsiteY46" fmla="*/ 54948 h 109895"/>
              <a:gd name="connsiteX47" fmla="*/ 126652 w 579637"/>
              <a:gd name="connsiteY47" fmla="*/ 86747 h 109895"/>
              <a:gd name="connsiteX48" fmla="*/ 155485 w 579637"/>
              <a:gd name="connsiteY48" fmla="*/ 97201 h 109895"/>
              <a:gd name="connsiteX49" fmla="*/ 186560 w 579637"/>
              <a:gd name="connsiteY49" fmla="*/ 87369 h 109895"/>
              <a:gd name="connsiteX50" fmla="*/ 186560 w 579637"/>
              <a:gd name="connsiteY50" fmla="*/ 100811 h 109895"/>
              <a:gd name="connsiteX51" fmla="*/ 172666 w 579637"/>
              <a:gd name="connsiteY51" fmla="*/ 107531 h 109895"/>
              <a:gd name="connsiteX52" fmla="*/ 154290 w 579637"/>
              <a:gd name="connsiteY52" fmla="*/ 109896 h 109895"/>
              <a:gd name="connsiteX53" fmla="*/ 237038 w 579637"/>
              <a:gd name="connsiteY53" fmla="*/ 109896 h 109895"/>
              <a:gd name="connsiteX54" fmla="*/ 218363 w 579637"/>
              <a:gd name="connsiteY54" fmla="*/ 106287 h 109895"/>
              <a:gd name="connsiteX55" fmla="*/ 205664 w 579637"/>
              <a:gd name="connsiteY55" fmla="*/ 96019 h 109895"/>
              <a:gd name="connsiteX56" fmla="*/ 201033 w 579637"/>
              <a:gd name="connsiteY56" fmla="*/ 79590 h 109895"/>
              <a:gd name="connsiteX57" fmla="*/ 206411 w 579637"/>
              <a:gd name="connsiteY57" fmla="*/ 62105 h 109895"/>
              <a:gd name="connsiteX58" fmla="*/ 221201 w 579637"/>
              <a:gd name="connsiteY58" fmla="*/ 51525 h 109895"/>
              <a:gd name="connsiteX59" fmla="*/ 209250 w 579637"/>
              <a:gd name="connsiteY59" fmla="*/ 42378 h 109895"/>
              <a:gd name="connsiteX60" fmla="*/ 204917 w 579637"/>
              <a:gd name="connsiteY60" fmla="*/ 27318 h 109895"/>
              <a:gd name="connsiteX61" fmla="*/ 209100 w 579637"/>
              <a:gd name="connsiteY61" fmla="*/ 12383 h 109895"/>
              <a:gd name="connsiteX62" fmla="*/ 220604 w 579637"/>
              <a:gd name="connsiteY62" fmla="*/ 3111 h 109895"/>
              <a:gd name="connsiteX63" fmla="*/ 237038 w 579637"/>
              <a:gd name="connsiteY63" fmla="*/ 0 h 109895"/>
              <a:gd name="connsiteX64" fmla="*/ 253172 w 579637"/>
              <a:gd name="connsiteY64" fmla="*/ 3111 h 109895"/>
              <a:gd name="connsiteX65" fmla="*/ 264527 w 579637"/>
              <a:gd name="connsiteY65" fmla="*/ 12073 h 109895"/>
              <a:gd name="connsiteX66" fmla="*/ 268859 w 579637"/>
              <a:gd name="connsiteY66" fmla="*/ 27008 h 109895"/>
              <a:gd name="connsiteX67" fmla="*/ 264378 w 579637"/>
              <a:gd name="connsiteY67" fmla="*/ 42253 h 109895"/>
              <a:gd name="connsiteX68" fmla="*/ 252575 w 579637"/>
              <a:gd name="connsiteY68" fmla="*/ 51525 h 109895"/>
              <a:gd name="connsiteX69" fmla="*/ 266917 w 579637"/>
              <a:gd name="connsiteY69" fmla="*/ 61669 h 109895"/>
              <a:gd name="connsiteX70" fmla="*/ 272445 w 579637"/>
              <a:gd name="connsiteY70" fmla="*/ 79155 h 109895"/>
              <a:gd name="connsiteX71" fmla="*/ 267813 w 579637"/>
              <a:gd name="connsiteY71" fmla="*/ 95707 h 109895"/>
              <a:gd name="connsiteX72" fmla="*/ 255115 w 579637"/>
              <a:gd name="connsiteY72" fmla="*/ 106287 h 109895"/>
              <a:gd name="connsiteX73" fmla="*/ 237038 w 579637"/>
              <a:gd name="connsiteY73" fmla="*/ 109896 h 109895"/>
              <a:gd name="connsiteX74" fmla="*/ 237038 w 579637"/>
              <a:gd name="connsiteY74" fmla="*/ 46111 h 109895"/>
              <a:gd name="connsiteX75" fmla="*/ 250035 w 579637"/>
              <a:gd name="connsiteY75" fmla="*/ 41631 h 109895"/>
              <a:gd name="connsiteX76" fmla="*/ 255264 w 579637"/>
              <a:gd name="connsiteY76" fmla="*/ 28936 h 109895"/>
              <a:gd name="connsiteX77" fmla="*/ 250035 w 579637"/>
              <a:gd name="connsiteY77" fmla="*/ 16428 h 109895"/>
              <a:gd name="connsiteX78" fmla="*/ 237038 w 579637"/>
              <a:gd name="connsiteY78" fmla="*/ 11761 h 109895"/>
              <a:gd name="connsiteX79" fmla="*/ 223741 w 579637"/>
              <a:gd name="connsiteY79" fmla="*/ 16428 h 109895"/>
              <a:gd name="connsiteX80" fmla="*/ 218512 w 579637"/>
              <a:gd name="connsiteY80" fmla="*/ 28936 h 109895"/>
              <a:gd name="connsiteX81" fmla="*/ 223741 w 579637"/>
              <a:gd name="connsiteY81" fmla="*/ 41631 h 109895"/>
              <a:gd name="connsiteX82" fmla="*/ 237038 w 579637"/>
              <a:gd name="connsiteY82" fmla="*/ 46111 h 109895"/>
              <a:gd name="connsiteX83" fmla="*/ 237038 w 579637"/>
              <a:gd name="connsiteY83" fmla="*/ 98072 h 109895"/>
              <a:gd name="connsiteX84" fmla="*/ 252425 w 579637"/>
              <a:gd name="connsiteY84" fmla="*/ 92721 h 109895"/>
              <a:gd name="connsiteX85" fmla="*/ 258700 w 579637"/>
              <a:gd name="connsiteY85" fmla="*/ 77350 h 109895"/>
              <a:gd name="connsiteX86" fmla="*/ 252425 w 579637"/>
              <a:gd name="connsiteY86" fmla="*/ 62105 h 109895"/>
              <a:gd name="connsiteX87" fmla="*/ 237038 w 579637"/>
              <a:gd name="connsiteY87" fmla="*/ 56566 h 109895"/>
              <a:gd name="connsiteX88" fmla="*/ 221052 w 579637"/>
              <a:gd name="connsiteY88" fmla="*/ 62105 h 109895"/>
              <a:gd name="connsiteX89" fmla="*/ 214777 w 579637"/>
              <a:gd name="connsiteY89" fmla="*/ 77350 h 109895"/>
              <a:gd name="connsiteX90" fmla="*/ 221052 w 579637"/>
              <a:gd name="connsiteY90" fmla="*/ 92721 h 109895"/>
              <a:gd name="connsiteX91" fmla="*/ 237038 w 579637"/>
              <a:gd name="connsiteY91" fmla="*/ 98072 h 109895"/>
              <a:gd name="connsiteX92" fmla="*/ 319032 w 579637"/>
              <a:gd name="connsiteY92" fmla="*/ 109896 h 109895"/>
              <a:gd name="connsiteX93" fmla="*/ 300806 w 579637"/>
              <a:gd name="connsiteY93" fmla="*/ 104047 h 109895"/>
              <a:gd name="connsiteX94" fmla="*/ 288107 w 579637"/>
              <a:gd name="connsiteY94" fmla="*/ 86125 h 109895"/>
              <a:gd name="connsiteX95" fmla="*/ 283625 w 579637"/>
              <a:gd name="connsiteY95" fmla="*/ 54761 h 109895"/>
              <a:gd name="connsiteX96" fmla="*/ 288107 w 579637"/>
              <a:gd name="connsiteY96" fmla="*/ 23398 h 109895"/>
              <a:gd name="connsiteX97" fmla="*/ 300806 w 579637"/>
              <a:gd name="connsiteY97" fmla="*/ 5663 h 109895"/>
              <a:gd name="connsiteX98" fmla="*/ 319032 w 579637"/>
              <a:gd name="connsiteY98" fmla="*/ 0 h 109895"/>
              <a:gd name="connsiteX99" fmla="*/ 337109 w 579637"/>
              <a:gd name="connsiteY99" fmla="*/ 5663 h 109895"/>
              <a:gd name="connsiteX100" fmla="*/ 349509 w 579637"/>
              <a:gd name="connsiteY100" fmla="*/ 23398 h 109895"/>
              <a:gd name="connsiteX101" fmla="*/ 353991 w 579637"/>
              <a:gd name="connsiteY101" fmla="*/ 54512 h 109895"/>
              <a:gd name="connsiteX102" fmla="*/ 349509 w 579637"/>
              <a:gd name="connsiteY102" fmla="*/ 85876 h 109895"/>
              <a:gd name="connsiteX103" fmla="*/ 337109 w 579637"/>
              <a:gd name="connsiteY103" fmla="*/ 104047 h 109895"/>
              <a:gd name="connsiteX104" fmla="*/ 319032 w 579637"/>
              <a:gd name="connsiteY104" fmla="*/ 109896 h 109895"/>
              <a:gd name="connsiteX105" fmla="*/ 318883 w 579637"/>
              <a:gd name="connsiteY105" fmla="*/ 98072 h 109895"/>
              <a:gd name="connsiteX106" fmla="*/ 330237 w 579637"/>
              <a:gd name="connsiteY106" fmla="*/ 94089 h 109895"/>
              <a:gd name="connsiteX107" fmla="*/ 337408 w 579637"/>
              <a:gd name="connsiteY107" fmla="*/ 80462 h 109895"/>
              <a:gd name="connsiteX108" fmla="*/ 339948 w 579637"/>
              <a:gd name="connsiteY108" fmla="*/ 54948 h 109895"/>
              <a:gd name="connsiteX109" fmla="*/ 337557 w 579637"/>
              <a:gd name="connsiteY109" fmla="*/ 29559 h 109895"/>
              <a:gd name="connsiteX110" fmla="*/ 330386 w 579637"/>
              <a:gd name="connsiteY110" fmla="*/ 15931 h 109895"/>
              <a:gd name="connsiteX111" fmla="*/ 319032 w 579637"/>
              <a:gd name="connsiteY111" fmla="*/ 11761 h 109895"/>
              <a:gd name="connsiteX112" fmla="*/ 307528 w 579637"/>
              <a:gd name="connsiteY112" fmla="*/ 15931 h 109895"/>
              <a:gd name="connsiteX113" fmla="*/ 300208 w 579637"/>
              <a:gd name="connsiteY113" fmla="*/ 29559 h 109895"/>
              <a:gd name="connsiteX114" fmla="*/ 297668 w 579637"/>
              <a:gd name="connsiteY114" fmla="*/ 54948 h 109895"/>
              <a:gd name="connsiteX115" fmla="*/ 300059 w 579637"/>
              <a:gd name="connsiteY115" fmla="*/ 80462 h 109895"/>
              <a:gd name="connsiteX116" fmla="*/ 307379 w 579637"/>
              <a:gd name="connsiteY116" fmla="*/ 94089 h 109895"/>
              <a:gd name="connsiteX117" fmla="*/ 318883 w 579637"/>
              <a:gd name="connsiteY117" fmla="*/ 98072 h 109895"/>
              <a:gd name="connsiteX118" fmla="*/ 401169 w 579637"/>
              <a:gd name="connsiteY118" fmla="*/ 109896 h 109895"/>
              <a:gd name="connsiteX119" fmla="*/ 382943 w 579637"/>
              <a:gd name="connsiteY119" fmla="*/ 104047 h 109895"/>
              <a:gd name="connsiteX120" fmla="*/ 370244 w 579637"/>
              <a:gd name="connsiteY120" fmla="*/ 86125 h 109895"/>
              <a:gd name="connsiteX121" fmla="*/ 365762 w 579637"/>
              <a:gd name="connsiteY121" fmla="*/ 54761 h 109895"/>
              <a:gd name="connsiteX122" fmla="*/ 370244 w 579637"/>
              <a:gd name="connsiteY122" fmla="*/ 23398 h 109895"/>
              <a:gd name="connsiteX123" fmla="*/ 382943 w 579637"/>
              <a:gd name="connsiteY123" fmla="*/ 5663 h 109895"/>
              <a:gd name="connsiteX124" fmla="*/ 401169 w 579637"/>
              <a:gd name="connsiteY124" fmla="*/ 0 h 109895"/>
              <a:gd name="connsiteX125" fmla="*/ 419247 w 579637"/>
              <a:gd name="connsiteY125" fmla="*/ 5663 h 109895"/>
              <a:gd name="connsiteX126" fmla="*/ 431647 w 579637"/>
              <a:gd name="connsiteY126" fmla="*/ 23398 h 109895"/>
              <a:gd name="connsiteX127" fmla="*/ 436128 w 579637"/>
              <a:gd name="connsiteY127" fmla="*/ 54512 h 109895"/>
              <a:gd name="connsiteX128" fmla="*/ 431647 w 579637"/>
              <a:gd name="connsiteY128" fmla="*/ 85876 h 109895"/>
              <a:gd name="connsiteX129" fmla="*/ 419247 w 579637"/>
              <a:gd name="connsiteY129" fmla="*/ 104047 h 109895"/>
              <a:gd name="connsiteX130" fmla="*/ 401169 w 579637"/>
              <a:gd name="connsiteY130" fmla="*/ 109896 h 109895"/>
              <a:gd name="connsiteX131" fmla="*/ 401020 w 579637"/>
              <a:gd name="connsiteY131" fmla="*/ 98072 h 109895"/>
              <a:gd name="connsiteX132" fmla="*/ 412374 w 579637"/>
              <a:gd name="connsiteY132" fmla="*/ 94089 h 109895"/>
              <a:gd name="connsiteX133" fmla="*/ 419545 w 579637"/>
              <a:gd name="connsiteY133" fmla="*/ 80462 h 109895"/>
              <a:gd name="connsiteX134" fmla="*/ 422085 w 579637"/>
              <a:gd name="connsiteY134" fmla="*/ 54948 h 109895"/>
              <a:gd name="connsiteX135" fmla="*/ 419695 w 579637"/>
              <a:gd name="connsiteY135" fmla="*/ 29559 h 109895"/>
              <a:gd name="connsiteX136" fmla="*/ 412524 w 579637"/>
              <a:gd name="connsiteY136" fmla="*/ 15931 h 109895"/>
              <a:gd name="connsiteX137" fmla="*/ 401169 w 579637"/>
              <a:gd name="connsiteY137" fmla="*/ 11761 h 109895"/>
              <a:gd name="connsiteX138" fmla="*/ 389666 w 579637"/>
              <a:gd name="connsiteY138" fmla="*/ 15931 h 109895"/>
              <a:gd name="connsiteX139" fmla="*/ 382345 w 579637"/>
              <a:gd name="connsiteY139" fmla="*/ 29559 h 109895"/>
              <a:gd name="connsiteX140" fmla="*/ 379806 w 579637"/>
              <a:gd name="connsiteY140" fmla="*/ 54948 h 109895"/>
              <a:gd name="connsiteX141" fmla="*/ 382196 w 579637"/>
              <a:gd name="connsiteY141" fmla="*/ 80462 h 109895"/>
              <a:gd name="connsiteX142" fmla="*/ 389516 w 579637"/>
              <a:gd name="connsiteY142" fmla="*/ 94089 h 109895"/>
              <a:gd name="connsiteX143" fmla="*/ 401020 w 579637"/>
              <a:gd name="connsiteY143" fmla="*/ 98072 h 109895"/>
              <a:gd name="connsiteX144" fmla="*/ 505418 w 579637"/>
              <a:gd name="connsiteY144" fmla="*/ 108402 h 109895"/>
              <a:gd name="connsiteX145" fmla="*/ 492271 w 579637"/>
              <a:gd name="connsiteY145" fmla="*/ 108402 h 109895"/>
              <a:gd name="connsiteX146" fmla="*/ 492271 w 579637"/>
              <a:gd name="connsiteY146" fmla="*/ 83013 h 109895"/>
              <a:gd name="connsiteX147" fmla="*/ 445958 w 579637"/>
              <a:gd name="connsiteY147" fmla="*/ 83013 h 109895"/>
              <a:gd name="connsiteX148" fmla="*/ 445958 w 579637"/>
              <a:gd name="connsiteY148" fmla="*/ 73741 h 109895"/>
              <a:gd name="connsiteX149" fmla="*/ 487789 w 579637"/>
              <a:gd name="connsiteY149" fmla="*/ 1307 h 109895"/>
              <a:gd name="connsiteX150" fmla="*/ 505418 w 579637"/>
              <a:gd name="connsiteY150" fmla="*/ 1307 h 109895"/>
              <a:gd name="connsiteX151" fmla="*/ 505418 w 579637"/>
              <a:gd name="connsiteY151" fmla="*/ 71687 h 109895"/>
              <a:gd name="connsiteX152" fmla="*/ 519909 w 579637"/>
              <a:gd name="connsiteY152" fmla="*/ 71687 h 109895"/>
              <a:gd name="connsiteX153" fmla="*/ 519909 w 579637"/>
              <a:gd name="connsiteY153" fmla="*/ 83013 h 109895"/>
              <a:gd name="connsiteX154" fmla="*/ 505418 w 579637"/>
              <a:gd name="connsiteY154" fmla="*/ 83013 h 109895"/>
              <a:gd name="connsiteX155" fmla="*/ 505418 w 579637"/>
              <a:gd name="connsiteY155" fmla="*/ 108402 h 109895"/>
              <a:gd name="connsiteX156" fmla="*/ 459553 w 579637"/>
              <a:gd name="connsiteY156" fmla="*/ 71687 h 109895"/>
              <a:gd name="connsiteX157" fmla="*/ 492271 w 579637"/>
              <a:gd name="connsiteY157" fmla="*/ 71687 h 109895"/>
              <a:gd name="connsiteX158" fmla="*/ 492271 w 579637"/>
              <a:gd name="connsiteY158" fmla="*/ 15931 h 109895"/>
              <a:gd name="connsiteX159" fmla="*/ 459553 w 579637"/>
              <a:gd name="connsiteY159" fmla="*/ 71687 h 109895"/>
              <a:gd name="connsiteX160" fmla="*/ 579637 w 579637"/>
              <a:gd name="connsiteY160" fmla="*/ 108402 h 109895"/>
              <a:gd name="connsiteX161" fmla="*/ 566042 w 579637"/>
              <a:gd name="connsiteY161" fmla="*/ 108402 h 109895"/>
              <a:gd name="connsiteX162" fmla="*/ 566042 w 579637"/>
              <a:gd name="connsiteY162" fmla="*/ 18171 h 109895"/>
              <a:gd name="connsiteX163" fmla="*/ 536461 w 579637"/>
              <a:gd name="connsiteY163" fmla="*/ 40885 h 109895"/>
              <a:gd name="connsiteX164" fmla="*/ 536461 w 579637"/>
              <a:gd name="connsiteY164" fmla="*/ 25825 h 109895"/>
              <a:gd name="connsiteX165" fmla="*/ 568283 w 579637"/>
              <a:gd name="connsiteY165" fmla="*/ 1307 h 109895"/>
              <a:gd name="connsiteX166" fmla="*/ 579637 w 579637"/>
              <a:gd name="connsiteY166" fmla="*/ 1307 h 109895"/>
              <a:gd name="connsiteX167" fmla="*/ 579637 w 579637"/>
              <a:gd name="connsiteY167" fmla="*/ 10840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579637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54290" y="109896"/>
                </a:moveTo>
                <a:cubicBezTo>
                  <a:pt x="143733" y="109896"/>
                  <a:pt x="134470" y="107718"/>
                  <a:pt x="126502" y="103300"/>
                </a:cubicBezTo>
                <a:cubicBezTo>
                  <a:pt x="118634" y="98943"/>
                  <a:pt x="112509" y="92658"/>
                  <a:pt x="108126" y="84507"/>
                </a:cubicBezTo>
                <a:cubicBezTo>
                  <a:pt x="103744" y="76230"/>
                  <a:pt x="101553" y="66398"/>
                  <a:pt x="101553" y="54948"/>
                </a:cubicBezTo>
                <a:cubicBezTo>
                  <a:pt x="101553" y="37711"/>
                  <a:pt x="106085" y="24269"/>
                  <a:pt x="115148" y="14624"/>
                </a:cubicBezTo>
                <a:cubicBezTo>
                  <a:pt x="124211" y="4854"/>
                  <a:pt x="137159" y="0"/>
                  <a:pt x="153991" y="0"/>
                </a:cubicBezTo>
                <a:cubicBezTo>
                  <a:pt x="160266" y="0"/>
                  <a:pt x="166242" y="684"/>
                  <a:pt x="171919" y="2054"/>
                </a:cubicBezTo>
                <a:cubicBezTo>
                  <a:pt x="177696" y="3361"/>
                  <a:pt x="182576" y="5228"/>
                  <a:pt x="186560" y="7716"/>
                </a:cubicBezTo>
                <a:lnTo>
                  <a:pt x="186560" y="21158"/>
                </a:lnTo>
                <a:cubicBezTo>
                  <a:pt x="182277" y="18482"/>
                  <a:pt x="177248" y="16428"/>
                  <a:pt x="171471" y="14935"/>
                </a:cubicBezTo>
                <a:cubicBezTo>
                  <a:pt x="165794" y="13442"/>
                  <a:pt x="159918" y="12695"/>
                  <a:pt x="153842" y="12695"/>
                </a:cubicBezTo>
                <a:cubicBezTo>
                  <a:pt x="141293" y="12695"/>
                  <a:pt x="131980" y="16180"/>
                  <a:pt x="125904" y="23273"/>
                </a:cubicBezTo>
                <a:cubicBezTo>
                  <a:pt x="119829" y="30368"/>
                  <a:pt x="116791" y="40885"/>
                  <a:pt x="116791" y="54948"/>
                </a:cubicBezTo>
                <a:cubicBezTo>
                  <a:pt x="116791" y="69074"/>
                  <a:pt x="120078" y="79653"/>
                  <a:pt x="126652" y="86747"/>
                </a:cubicBezTo>
                <a:cubicBezTo>
                  <a:pt x="133225" y="93716"/>
                  <a:pt x="142836" y="97201"/>
                  <a:pt x="155485" y="97201"/>
                </a:cubicBezTo>
                <a:cubicBezTo>
                  <a:pt x="167437" y="97201"/>
                  <a:pt x="177795" y="93903"/>
                  <a:pt x="186560" y="87369"/>
                </a:cubicBezTo>
                <a:lnTo>
                  <a:pt x="186560" y="100811"/>
                </a:lnTo>
                <a:cubicBezTo>
                  <a:pt x="183074" y="103548"/>
                  <a:pt x="178443" y="105788"/>
                  <a:pt x="172666" y="107531"/>
                </a:cubicBezTo>
                <a:cubicBezTo>
                  <a:pt x="166889" y="109087"/>
                  <a:pt x="160764" y="109896"/>
                  <a:pt x="154290" y="109896"/>
                </a:cubicBezTo>
                <a:close/>
                <a:moveTo>
                  <a:pt x="237038" y="109896"/>
                </a:moveTo>
                <a:cubicBezTo>
                  <a:pt x="230066" y="109896"/>
                  <a:pt x="223841" y="108714"/>
                  <a:pt x="218363" y="106287"/>
                </a:cubicBezTo>
                <a:cubicBezTo>
                  <a:pt x="212985" y="103922"/>
                  <a:pt x="208752" y="100499"/>
                  <a:pt x="205664" y="96019"/>
                </a:cubicBezTo>
                <a:cubicBezTo>
                  <a:pt x="202577" y="91414"/>
                  <a:pt x="201033" y="85938"/>
                  <a:pt x="201033" y="79590"/>
                </a:cubicBezTo>
                <a:cubicBezTo>
                  <a:pt x="201033" y="72683"/>
                  <a:pt x="202826" y="66896"/>
                  <a:pt x="206411" y="62105"/>
                </a:cubicBezTo>
                <a:cubicBezTo>
                  <a:pt x="210096" y="57251"/>
                  <a:pt x="215026" y="53703"/>
                  <a:pt x="221201" y="51525"/>
                </a:cubicBezTo>
                <a:cubicBezTo>
                  <a:pt x="216222" y="49534"/>
                  <a:pt x="212238" y="46485"/>
                  <a:pt x="209250" y="42378"/>
                </a:cubicBezTo>
                <a:cubicBezTo>
                  <a:pt x="206362" y="38333"/>
                  <a:pt x="204917" y="33293"/>
                  <a:pt x="204917" y="27318"/>
                </a:cubicBezTo>
                <a:cubicBezTo>
                  <a:pt x="204917" y="21407"/>
                  <a:pt x="206312" y="16428"/>
                  <a:pt x="209100" y="12383"/>
                </a:cubicBezTo>
                <a:cubicBezTo>
                  <a:pt x="211889" y="8277"/>
                  <a:pt x="215724" y="5228"/>
                  <a:pt x="220604" y="3111"/>
                </a:cubicBezTo>
                <a:cubicBezTo>
                  <a:pt x="225484" y="996"/>
                  <a:pt x="230962" y="0"/>
                  <a:pt x="237038" y="0"/>
                </a:cubicBezTo>
                <a:cubicBezTo>
                  <a:pt x="243014" y="0"/>
                  <a:pt x="248392" y="996"/>
                  <a:pt x="253172" y="3111"/>
                </a:cubicBezTo>
                <a:cubicBezTo>
                  <a:pt x="257953" y="5103"/>
                  <a:pt x="261738" y="8090"/>
                  <a:pt x="264527" y="12073"/>
                </a:cubicBezTo>
                <a:cubicBezTo>
                  <a:pt x="267415" y="16055"/>
                  <a:pt x="268859" y="21033"/>
                  <a:pt x="268859" y="27008"/>
                </a:cubicBezTo>
                <a:cubicBezTo>
                  <a:pt x="268859" y="33106"/>
                  <a:pt x="267365" y="38146"/>
                  <a:pt x="264378" y="42253"/>
                </a:cubicBezTo>
                <a:cubicBezTo>
                  <a:pt x="261389" y="46298"/>
                  <a:pt x="257455" y="49410"/>
                  <a:pt x="252575" y="51525"/>
                </a:cubicBezTo>
                <a:cubicBezTo>
                  <a:pt x="258551" y="53579"/>
                  <a:pt x="263332" y="57001"/>
                  <a:pt x="266917" y="61669"/>
                </a:cubicBezTo>
                <a:cubicBezTo>
                  <a:pt x="270602" y="66336"/>
                  <a:pt x="272445" y="72186"/>
                  <a:pt x="272445" y="79155"/>
                </a:cubicBezTo>
                <a:cubicBezTo>
                  <a:pt x="272445" y="85502"/>
                  <a:pt x="270901" y="91040"/>
                  <a:pt x="267813" y="95707"/>
                </a:cubicBezTo>
                <a:cubicBezTo>
                  <a:pt x="264726" y="100312"/>
                  <a:pt x="260493" y="103797"/>
                  <a:pt x="255115" y="106287"/>
                </a:cubicBezTo>
                <a:cubicBezTo>
                  <a:pt x="249836" y="108714"/>
                  <a:pt x="243810" y="109896"/>
                  <a:pt x="237038" y="109896"/>
                </a:cubicBezTo>
                <a:close/>
                <a:moveTo>
                  <a:pt x="237038" y="46111"/>
                </a:moveTo>
                <a:cubicBezTo>
                  <a:pt x="242316" y="46111"/>
                  <a:pt x="246649" y="44618"/>
                  <a:pt x="250035" y="41631"/>
                </a:cubicBezTo>
                <a:cubicBezTo>
                  <a:pt x="253521" y="38582"/>
                  <a:pt x="255264" y="34350"/>
                  <a:pt x="255264" y="28936"/>
                </a:cubicBezTo>
                <a:cubicBezTo>
                  <a:pt x="255264" y="23585"/>
                  <a:pt x="253521" y="19415"/>
                  <a:pt x="250035" y="16428"/>
                </a:cubicBezTo>
                <a:cubicBezTo>
                  <a:pt x="246649" y="13317"/>
                  <a:pt x="242316" y="11761"/>
                  <a:pt x="237038" y="11761"/>
                </a:cubicBezTo>
                <a:cubicBezTo>
                  <a:pt x="231759" y="11761"/>
                  <a:pt x="227327" y="13317"/>
                  <a:pt x="223741" y="16428"/>
                </a:cubicBezTo>
                <a:cubicBezTo>
                  <a:pt x="220255" y="19415"/>
                  <a:pt x="218512" y="23585"/>
                  <a:pt x="218512" y="28936"/>
                </a:cubicBezTo>
                <a:cubicBezTo>
                  <a:pt x="218512" y="34350"/>
                  <a:pt x="220255" y="38582"/>
                  <a:pt x="223741" y="41631"/>
                </a:cubicBezTo>
                <a:cubicBezTo>
                  <a:pt x="227327" y="44618"/>
                  <a:pt x="231759" y="46111"/>
                  <a:pt x="237038" y="46111"/>
                </a:cubicBezTo>
                <a:close/>
                <a:moveTo>
                  <a:pt x="237038" y="98072"/>
                </a:moveTo>
                <a:cubicBezTo>
                  <a:pt x="243213" y="98072"/>
                  <a:pt x="248342" y="96330"/>
                  <a:pt x="252425" y="92721"/>
                </a:cubicBezTo>
                <a:cubicBezTo>
                  <a:pt x="256609" y="89049"/>
                  <a:pt x="258700" y="83885"/>
                  <a:pt x="258700" y="77350"/>
                </a:cubicBezTo>
                <a:cubicBezTo>
                  <a:pt x="258700" y="70754"/>
                  <a:pt x="256609" y="65714"/>
                  <a:pt x="252425" y="62105"/>
                </a:cubicBezTo>
                <a:cubicBezTo>
                  <a:pt x="248342" y="58433"/>
                  <a:pt x="243213" y="56566"/>
                  <a:pt x="237038" y="56566"/>
                </a:cubicBezTo>
                <a:cubicBezTo>
                  <a:pt x="230663" y="56566"/>
                  <a:pt x="225335" y="58433"/>
                  <a:pt x="221052" y="62105"/>
                </a:cubicBezTo>
                <a:cubicBezTo>
                  <a:pt x="216869" y="65714"/>
                  <a:pt x="214777" y="70754"/>
                  <a:pt x="214777" y="77350"/>
                </a:cubicBezTo>
                <a:cubicBezTo>
                  <a:pt x="214777" y="83885"/>
                  <a:pt x="216869" y="89049"/>
                  <a:pt x="221052" y="92721"/>
                </a:cubicBezTo>
                <a:cubicBezTo>
                  <a:pt x="225335" y="96330"/>
                  <a:pt x="230663" y="98072"/>
                  <a:pt x="237038" y="98072"/>
                </a:cubicBezTo>
                <a:close/>
                <a:moveTo>
                  <a:pt x="319032" y="109896"/>
                </a:moveTo>
                <a:cubicBezTo>
                  <a:pt x="312259" y="109896"/>
                  <a:pt x="306184" y="107967"/>
                  <a:pt x="300806" y="104047"/>
                </a:cubicBezTo>
                <a:cubicBezTo>
                  <a:pt x="295427" y="100188"/>
                  <a:pt x="291194" y="94214"/>
                  <a:pt x="288107" y="86125"/>
                </a:cubicBezTo>
                <a:cubicBezTo>
                  <a:pt x="285119" y="77972"/>
                  <a:pt x="283625" y="67518"/>
                  <a:pt x="283625" y="54761"/>
                </a:cubicBezTo>
                <a:cubicBezTo>
                  <a:pt x="283625" y="41942"/>
                  <a:pt x="285119" y="31488"/>
                  <a:pt x="288107" y="23398"/>
                </a:cubicBezTo>
                <a:cubicBezTo>
                  <a:pt x="291194" y="15371"/>
                  <a:pt x="295427" y="9459"/>
                  <a:pt x="300806" y="5663"/>
                </a:cubicBezTo>
                <a:cubicBezTo>
                  <a:pt x="306184" y="1867"/>
                  <a:pt x="312259" y="0"/>
                  <a:pt x="319032" y="0"/>
                </a:cubicBezTo>
                <a:cubicBezTo>
                  <a:pt x="325805" y="0"/>
                  <a:pt x="331831" y="1867"/>
                  <a:pt x="337109" y="5663"/>
                </a:cubicBezTo>
                <a:cubicBezTo>
                  <a:pt x="342388" y="9459"/>
                  <a:pt x="346521" y="15371"/>
                  <a:pt x="349509" y="23398"/>
                </a:cubicBezTo>
                <a:cubicBezTo>
                  <a:pt x="352497" y="31363"/>
                  <a:pt x="353991" y="41756"/>
                  <a:pt x="353991" y="54512"/>
                </a:cubicBezTo>
                <a:cubicBezTo>
                  <a:pt x="353991" y="67145"/>
                  <a:pt x="352497" y="77599"/>
                  <a:pt x="349509" y="85876"/>
                </a:cubicBezTo>
                <a:cubicBezTo>
                  <a:pt x="346521" y="94027"/>
                  <a:pt x="342388" y="100064"/>
                  <a:pt x="337109" y="104047"/>
                </a:cubicBezTo>
                <a:cubicBezTo>
                  <a:pt x="331831" y="107967"/>
                  <a:pt x="325805" y="109896"/>
                  <a:pt x="319032" y="109896"/>
                </a:cubicBezTo>
                <a:close/>
                <a:moveTo>
                  <a:pt x="318883" y="98072"/>
                </a:moveTo>
                <a:cubicBezTo>
                  <a:pt x="323364" y="98072"/>
                  <a:pt x="327149" y="96766"/>
                  <a:pt x="330237" y="94089"/>
                </a:cubicBezTo>
                <a:cubicBezTo>
                  <a:pt x="333424" y="91289"/>
                  <a:pt x="335814" y="86747"/>
                  <a:pt x="337408" y="80462"/>
                </a:cubicBezTo>
                <a:cubicBezTo>
                  <a:pt x="339101" y="74114"/>
                  <a:pt x="339948" y="65589"/>
                  <a:pt x="339948" y="54948"/>
                </a:cubicBezTo>
                <a:cubicBezTo>
                  <a:pt x="339948" y="44307"/>
                  <a:pt x="339151" y="35844"/>
                  <a:pt x="337557" y="29559"/>
                </a:cubicBezTo>
                <a:cubicBezTo>
                  <a:pt x="335964" y="23150"/>
                  <a:pt x="333573" y="18669"/>
                  <a:pt x="330386" y="15931"/>
                </a:cubicBezTo>
                <a:cubicBezTo>
                  <a:pt x="327299" y="13192"/>
                  <a:pt x="323514" y="11761"/>
                  <a:pt x="319032" y="11761"/>
                </a:cubicBezTo>
                <a:cubicBezTo>
                  <a:pt x="314550" y="11761"/>
                  <a:pt x="310716" y="13192"/>
                  <a:pt x="307528" y="15931"/>
                </a:cubicBezTo>
                <a:cubicBezTo>
                  <a:pt x="304341" y="18669"/>
                  <a:pt x="301901" y="23150"/>
                  <a:pt x="300208" y="29559"/>
                </a:cubicBezTo>
                <a:cubicBezTo>
                  <a:pt x="298515" y="35844"/>
                  <a:pt x="297668" y="44307"/>
                  <a:pt x="297668" y="54948"/>
                </a:cubicBezTo>
                <a:cubicBezTo>
                  <a:pt x="297668" y="65589"/>
                  <a:pt x="298465" y="74114"/>
                  <a:pt x="300059" y="80462"/>
                </a:cubicBezTo>
                <a:cubicBezTo>
                  <a:pt x="301752" y="86747"/>
                  <a:pt x="304192" y="91289"/>
                  <a:pt x="307379" y="94089"/>
                </a:cubicBezTo>
                <a:cubicBezTo>
                  <a:pt x="310566" y="96766"/>
                  <a:pt x="314401" y="98072"/>
                  <a:pt x="318883" y="98072"/>
                </a:cubicBezTo>
                <a:close/>
                <a:moveTo>
                  <a:pt x="401169" y="109896"/>
                </a:moveTo>
                <a:cubicBezTo>
                  <a:pt x="394397" y="109896"/>
                  <a:pt x="388321" y="107967"/>
                  <a:pt x="382943" y="104047"/>
                </a:cubicBezTo>
                <a:cubicBezTo>
                  <a:pt x="377565" y="100188"/>
                  <a:pt x="373332" y="94214"/>
                  <a:pt x="370244" y="86125"/>
                </a:cubicBezTo>
                <a:cubicBezTo>
                  <a:pt x="367256" y="77972"/>
                  <a:pt x="365762" y="67518"/>
                  <a:pt x="365762" y="54761"/>
                </a:cubicBezTo>
                <a:cubicBezTo>
                  <a:pt x="365762" y="41942"/>
                  <a:pt x="367256" y="31488"/>
                  <a:pt x="370244" y="23398"/>
                </a:cubicBezTo>
                <a:cubicBezTo>
                  <a:pt x="373332" y="15371"/>
                  <a:pt x="377565" y="9459"/>
                  <a:pt x="382943" y="5663"/>
                </a:cubicBezTo>
                <a:cubicBezTo>
                  <a:pt x="388321" y="1867"/>
                  <a:pt x="394397" y="0"/>
                  <a:pt x="401169" y="0"/>
                </a:cubicBezTo>
                <a:cubicBezTo>
                  <a:pt x="407942" y="0"/>
                  <a:pt x="413968" y="1867"/>
                  <a:pt x="419247" y="5663"/>
                </a:cubicBezTo>
                <a:cubicBezTo>
                  <a:pt x="424525" y="9459"/>
                  <a:pt x="428659" y="15371"/>
                  <a:pt x="431647" y="23398"/>
                </a:cubicBezTo>
                <a:cubicBezTo>
                  <a:pt x="434634" y="31363"/>
                  <a:pt x="436128" y="41756"/>
                  <a:pt x="436128" y="54512"/>
                </a:cubicBezTo>
                <a:cubicBezTo>
                  <a:pt x="436128" y="67145"/>
                  <a:pt x="434634" y="77599"/>
                  <a:pt x="431647" y="85876"/>
                </a:cubicBezTo>
                <a:cubicBezTo>
                  <a:pt x="428659" y="94027"/>
                  <a:pt x="424525" y="100064"/>
                  <a:pt x="419247" y="104047"/>
                </a:cubicBezTo>
                <a:cubicBezTo>
                  <a:pt x="413968" y="107967"/>
                  <a:pt x="407942" y="109896"/>
                  <a:pt x="401169" y="109896"/>
                </a:cubicBezTo>
                <a:close/>
                <a:moveTo>
                  <a:pt x="401020" y="98072"/>
                </a:moveTo>
                <a:cubicBezTo>
                  <a:pt x="405502" y="98072"/>
                  <a:pt x="409287" y="96766"/>
                  <a:pt x="412374" y="94089"/>
                </a:cubicBezTo>
                <a:cubicBezTo>
                  <a:pt x="415562" y="91289"/>
                  <a:pt x="417952" y="86747"/>
                  <a:pt x="419545" y="80462"/>
                </a:cubicBezTo>
                <a:cubicBezTo>
                  <a:pt x="421239" y="74114"/>
                  <a:pt x="422085" y="65589"/>
                  <a:pt x="422085" y="54948"/>
                </a:cubicBezTo>
                <a:cubicBezTo>
                  <a:pt x="422085" y="44307"/>
                  <a:pt x="421288" y="35844"/>
                  <a:pt x="419695" y="29559"/>
                </a:cubicBezTo>
                <a:cubicBezTo>
                  <a:pt x="418101" y="23150"/>
                  <a:pt x="415711" y="18669"/>
                  <a:pt x="412524" y="15931"/>
                </a:cubicBezTo>
                <a:cubicBezTo>
                  <a:pt x="409436" y="13192"/>
                  <a:pt x="405651" y="11761"/>
                  <a:pt x="401169" y="11761"/>
                </a:cubicBezTo>
                <a:cubicBezTo>
                  <a:pt x="396687" y="11761"/>
                  <a:pt x="392853" y="13192"/>
                  <a:pt x="389666" y="15931"/>
                </a:cubicBezTo>
                <a:cubicBezTo>
                  <a:pt x="386479" y="18669"/>
                  <a:pt x="384038" y="23150"/>
                  <a:pt x="382345" y="29559"/>
                </a:cubicBezTo>
                <a:cubicBezTo>
                  <a:pt x="380652" y="35844"/>
                  <a:pt x="379806" y="44307"/>
                  <a:pt x="379806" y="54948"/>
                </a:cubicBezTo>
                <a:cubicBezTo>
                  <a:pt x="379806" y="65589"/>
                  <a:pt x="380602" y="74114"/>
                  <a:pt x="382196" y="80462"/>
                </a:cubicBezTo>
                <a:cubicBezTo>
                  <a:pt x="383889" y="86747"/>
                  <a:pt x="386329" y="91289"/>
                  <a:pt x="389516" y="94089"/>
                </a:cubicBezTo>
                <a:cubicBezTo>
                  <a:pt x="392704" y="96766"/>
                  <a:pt x="396538" y="98072"/>
                  <a:pt x="401020" y="98072"/>
                </a:cubicBezTo>
                <a:close/>
                <a:moveTo>
                  <a:pt x="505418" y="108402"/>
                </a:moveTo>
                <a:lnTo>
                  <a:pt x="492271" y="108402"/>
                </a:lnTo>
                <a:lnTo>
                  <a:pt x="492271" y="83013"/>
                </a:lnTo>
                <a:lnTo>
                  <a:pt x="445958" y="83013"/>
                </a:lnTo>
                <a:lnTo>
                  <a:pt x="445958" y="73741"/>
                </a:lnTo>
                <a:lnTo>
                  <a:pt x="487789" y="1307"/>
                </a:lnTo>
                <a:lnTo>
                  <a:pt x="505418" y="1307"/>
                </a:lnTo>
                <a:lnTo>
                  <a:pt x="505418" y="71687"/>
                </a:lnTo>
                <a:lnTo>
                  <a:pt x="519909" y="71687"/>
                </a:lnTo>
                <a:lnTo>
                  <a:pt x="519909" y="83013"/>
                </a:lnTo>
                <a:lnTo>
                  <a:pt x="505418" y="83013"/>
                </a:lnTo>
                <a:lnTo>
                  <a:pt x="505418" y="108402"/>
                </a:lnTo>
                <a:close/>
                <a:moveTo>
                  <a:pt x="459553" y="71687"/>
                </a:moveTo>
                <a:lnTo>
                  <a:pt x="492271" y="71687"/>
                </a:lnTo>
                <a:lnTo>
                  <a:pt x="492271" y="15931"/>
                </a:lnTo>
                <a:lnTo>
                  <a:pt x="459553" y="71687"/>
                </a:lnTo>
                <a:close/>
                <a:moveTo>
                  <a:pt x="579637" y="108402"/>
                </a:moveTo>
                <a:lnTo>
                  <a:pt x="566042" y="108402"/>
                </a:lnTo>
                <a:lnTo>
                  <a:pt x="566042" y="18171"/>
                </a:lnTo>
                <a:lnTo>
                  <a:pt x="536461" y="40885"/>
                </a:lnTo>
                <a:lnTo>
                  <a:pt x="536461" y="25825"/>
                </a:lnTo>
                <a:lnTo>
                  <a:pt x="568283" y="1307"/>
                </a:lnTo>
                <a:lnTo>
                  <a:pt x="579637" y="1307"/>
                </a:lnTo>
                <a:lnTo>
                  <a:pt x="579637" y="10840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9" name="Полилиния 1008">
            <a:extLst>
              <a:ext uri="{FF2B5EF4-FFF2-40B4-BE49-F238E27FC236}">
                <a16:creationId xmlns:a16="http://schemas.microsoft.com/office/drawing/2014/main" id="{CF94E0E4-0FC5-F045-C697-4AB8134B9D79}"/>
              </a:ext>
            </a:extLst>
          </p:cNvPr>
          <p:cNvSpPr/>
          <p:nvPr userDrawn="1"/>
        </p:nvSpPr>
        <p:spPr>
          <a:xfrm>
            <a:off x="18445574" y="6692525"/>
            <a:ext cx="1398954" cy="726227"/>
          </a:xfrm>
          <a:custGeom>
            <a:avLst/>
            <a:gdLst>
              <a:gd name="connsiteX0" fmla="*/ 850 w 1198727"/>
              <a:gd name="connsiteY0" fmla="*/ 1422 h 622284"/>
              <a:gd name="connsiteX1" fmla="*/ 1199578 w 1198727"/>
              <a:gd name="connsiteY1" fmla="*/ 1422 h 622284"/>
              <a:gd name="connsiteX2" fmla="*/ 1199578 w 1198727"/>
              <a:gd name="connsiteY2" fmla="*/ 623706 h 622284"/>
              <a:gd name="connsiteX3" fmla="*/ 850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422"/>
                </a:moveTo>
                <a:lnTo>
                  <a:pt x="1199578" y="1422"/>
                </a:lnTo>
                <a:lnTo>
                  <a:pt x="1199578" y="623706"/>
                </a:lnTo>
                <a:lnTo>
                  <a:pt x="850" y="623706"/>
                </a:lnTo>
                <a:close/>
              </a:path>
            </a:pathLst>
          </a:custGeom>
          <a:solidFill>
            <a:srgbClr val="FA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0" name="Полилиния 1009">
            <a:extLst>
              <a:ext uri="{FF2B5EF4-FFF2-40B4-BE49-F238E27FC236}">
                <a16:creationId xmlns:a16="http://schemas.microsoft.com/office/drawing/2014/main" id="{B65FE01A-B05F-DC7C-7717-E6E4C75E244B}"/>
              </a:ext>
            </a:extLst>
          </p:cNvPr>
          <p:cNvSpPr/>
          <p:nvPr userDrawn="1"/>
        </p:nvSpPr>
        <p:spPr>
          <a:xfrm>
            <a:off x="18568782" y="6994491"/>
            <a:ext cx="696026" cy="128252"/>
          </a:xfrm>
          <a:custGeom>
            <a:avLst/>
            <a:gdLst>
              <a:gd name="connsiteX0" fmla="*/ 22111 w 596407"/>
              <a:gd name="connsiteY0" fmla="*/ 108402 h 109895"/>
              <a:gd name="connsiteX1" fmla="*/ 10159 w 596407"/>
              <a:gd name="connsiteY1" fmla="*/ 108402 h 109895"/>
              <a:gd name="connsiteX2" fmla="*/ 16433 w 596407"/>
              <a:gd name="connsiteY2" fmla="*/ 77475 h 109895"/>
              <a:gd name="connsiteX3" fmla="*/ 0 w 596407"/>
              <a:gd name="connsiteY3" fmla="*/ 77475 h 109895"/>
              <a:gd name="connsiteX4" fmla="*/ 0 w 596407"/>
              <a:gd name="connsiteY4" fmla="*/ 67020 h 109895"/>
              <a:gd name="connsiteX5" fmla="*/ 18675 w 596407"/>
              <a:gd name="connsiteY5" fmla="*/ 67020 h 109895"/>
              <a:gd name="connsiteX6" fmla="*/ 24202 w 596407"/>
              <a:gd name="connsiteY6" fmla="*/ 39826 h 109895"/>
              <a:gd name="connsiteX7" fmla="*/ 4033 w 596407"/>
              <a:gd name="connsiteY7" fmla="*/ 39826 h 109895"/>
              <a:gd name="connsiteX8" fmla="*/ 4033 w 596407"/>
              <a:gd name="connsiteY8" fmla="*/ 29372 h 109895"/>
              <a:gd name="connsiteX9" fmla="*/ 26294 w 596407"/>
              <a:gd name="connsiteY9" fmla="*/ 29372 h 109895"/>
              <a:gd name="connsiteX10" fmla="*/ 32120 w 596407"/>
              <a:gd name="connsiteY10" fmla="*/ 1307 h 109895"/>
              <a:gd name="connsiteX11" fmla="*/ 44072 w 596407"/>
              <a:gd name="connsiteY11" fmla="*/ 1307 h 109895"/>
              <a:gd name="connsiteX12" fmla="*/ 38246 w 596407"/>
              <a:gd name="connsiteY12" fmla="*/ 29372 h 109895"/>
              <a:gd name="connsiteX13" fmla="*/ 60655 w 596407"/>
              <a:gd name="connsiteY13" fmla="*/ 29372 h 109895"/>
              <a:gd name="connsiteX14" fmla="*/ 66482 w 596407"/>
              <a:gd name="connsiteY14" fmla="*/ 1307 h 109895"/>
              <a:gd name="connsiteX15" fmla="*/ 78434 w 596407"/>
              <a:gd name="connsiteY15" fmla="*/ 1307 h 109895"/>
              <a:gd name="connsiteX16" fmla="*/ 72607 w 596407"/>
              <a:gd name="connsiteY16" fmla="*/ 29372 h 109895"/>
              <a:gd name="connsiteX17" fmla="*/ 89340 w 596407"/>
              <a:gd name="connsiteY17" fmla="*/ 29372 h 109895"/>
              <a:gd name="connsiteX18" fmla="*/ 89340 w 596407"/>
              <a:gd name="connsiteY18" fmla="*/ 39826 h 109895"/>
              <a:gd name="connsiteX19" fmla="*/ 70516 w 596407"/>
              <a:gd name="connsiteY19" fmla="*/ 39826 h 109895"/>
              <a:gd name="connsiteX20" fmla="*/ 64988 w 596407"/>
              <a:gd name="connsiteY20" fmla="*/ 67020 h 109895"/>
              <a:gd name="connsiteX21" fmla="*/ 85306 w 596407"/>
              <a:gd name="connsiteY21" fmla="*/ 67020 h 109895"/>
              <a:gd name="connsiteX22" fmla="*/ 85306 w 596407"/>
              <a:gd name="connsiteY22" fmla="*/ 77475 h 109895"/>
              <a:gd name="connsiteX23" fmla="*/ 62747 w 596407"/>
              <a:gd name="connsiteY23" fmla="*/ 77475 h 109895"/>
              <a:gd name="connsiteX24" fmla="*/ 56472 w 596407"/>
              <a:gd name="connsiteY24" fmla="*/ 108402 h 109895"/>
              <a:gd name="connsiteX25" fmla="*/ 44520 w 596407"/>
              <a:gd name="connsiteY25" fmla="*/ 108402 h 109895"/>
              <a:gd name="connsiteX26" fmla="*/ 50795 w 596407"/>
              <a:gd name="connsiteY26" fmla="*/ 77475 h 109895"/>
              <a:gd name="connsiteX27" fmla="*/ 28386 w 596407"/>
              <a:gd name="connsiteY27" fmla="*/ 77475 h 109895"/>
              <a:gd name="connsiteX28" fmla="*/ 22111 w 596407"/>
              <a:gd name="connsiteY28" fmla="*/ 108402 h 109895"/>
              <a:gd name="connsiteX29" fmla="*/ 30626 w 596407"/>
              <a:gd name="connsiteY29" fmla="*/ 67020 h 109895"/>
              <a:gd name="connsiteX30" fmla="*/ 53036 w 596407"/>
              <a:gd name="connsiteY30" fmla="*/ 67020 h 109895"/>
              <a:gd name="connsiteX31" fmla="*/ 58564 w 596407"/>
              <a:gd name="connsiteY31" fmla="*/ 39826 h 109895"/>
              <a:gd name="connsiteX32" fmla="*/ 36154 w 596407"/>
              <a:gd name="connsiteY32" fmla="*/ 39826 h 109895"/>
              <a:gd name="connsiteX33" fmla="*/ 30626 w 596407"/>
              <a:gd name="connsiteY33" fmla="*/ 67020 h 109895"/>
              <a:gd name="connsiteX34" fmla="*/ 107827 w 596407"/>
              <a:gd name="connsiteY34" fmla="*/ 1307 h 109895"/>
              <a:gd name="connsiteX35" fmla="*/ 173264 w 596407"/>
              <a:gd name="connsiteY35" fmla="*/ 1307 h 109895"/>
              <a:gd name="connsiteX36" fmla="*/ 173264 w 596407"/>
              <a:gd name="connsiteY36" fmla="*/ 14188 h 109895"/>
              <a:gd name="connsiteX37" fmla="*/ 121871 w 596407"/>
              <a:gd name="connsiteY37" fmla="*/ 14188 h 109895"/>
              <a:gd name="connsiteX38" fmla="*/ 121871 w 596407"/>
              <a:gd name="connsiteY38" fmla="*/ 49720 h 109895"/>
              <a:gd name="connsiteX39" fmla="*/ 165495 w 596407"/>
              <a:gd name="connsiteY39" fmla="*/ 49720 h 109895"/>
              <a:gd name="connsiteX40" fmla="*/ 165495 w 596407"/>
              <a:gd name="connsiteY40" fmla="*/ 62415 h 109895"/>
              <a:gd name="connsiteX41" fmla="*/ 121871 w 596407"/>
              <a:gd name="connsiteY41" fmla="*/ 62415 h 109895"/>
              <a:gd name="connsiteX42" fmla="*/ 121871 w 596407"/>
              <a:gd name="connsiteY42" fmla="*/ 108402 h 109895"/>
              <a:gd name="connsiteX43" fmla="*/ 107827 w 596407"/>
              <a:gd name="connsiteY43" fmla="*/ 108402 h 109895"/>
              <a:gd name="connsiteX44" fmla="*/ 107827 w 596407"/>
              <a:gd name="connsiteY44" fmla="*/ 1307 h 109895"/>
              <a:gd name="connsiteX45" fmla="*/ 273142 w 596407"/>
              <a:gd name="connsiteY45" fmla="*/ 108402 h 109895"/>
              <a:gd name="connsiteX46" fmla="*/ 258202 w 596407"/>
              <a:gd name="connsiteY46" fmla="*/ 108402 h 109895"/>
              <a:gd name="connsiteX47" fmla="*/ 247147 w 596407"/>
              <a:gd name="connsiteY47" fmla="*/ 77786 h 109895"/>
              <a:gd name="connsiteX48" fmla="*/ 199788 w 596407"/>
              <a:gd name="connsiteY48" fmla="*/ 77786 h 109895"/>
              <a:gd name="connsiteX49" fmla="*/ 188882 w 596407"/>
              <a:gd name="connsiteY49" fmla="*/ 108402 h 109895"/>
              <a:gd name="connsiteX50" fmla="*/ 175735 w 596407"/>
              <a:gd name="connsiteY50" fmla="*/ 108402 h 109895"/>
              <a:gd name="connsiteX51" fmla="*/ 213831 w 596407"/>
              <a:gd name="connsiteY51" fmla="*/ 1307 h 109895"/>
              <a:gd name="connsiteX52" fmla="*/ 234747 w 596407"/>
              <a:gd name="connsiteY52" fmla="*/ 1307 h 109895"/>
              <a:gd name="connsiteX53" fmla="*/ 273142 w 596407"/>
              <a:gd name="connsiteY53" fmla="*/ 108402 h 109895"/>
              <a:gd name="connsiteX54" fmla="*/ 204419 w 596407"/>
              <a:gd name="connsiteY54" fmla="*/ 65091 h 109895"/>
              <a:gd name="connsiteX55" fmla="*/ 242665 w 596407"/>
              <a:gd name="connsiteY55" fmla="*/ 65091 h 109895"/>
              <a:gd name="connsiteX56" fmla="*/ 223542 w 596407"/>
              <a:gd name="connsiteY56" fmla="*/ 11761 h 109895"/>
              <a:gd name="connsiteX57" fmla="*/ 204419 w 596407"/>
              <a:gd name="connsiteY57" fmla="*/ 65091 h 109895"/>
              <a:gd name="connsiteX58" fmla="*/ 317569 w 596407"/>
              <a:gd name="connsiteY58" fmla="*/ 109896 h 109895"/>
              <a:gd name="connsiteX59" fmla="*/ 299342 w 596407"/>
              <a:gd name="connsiteY59" fmla="*/ 104047 h 109895"/>
              <a:gd name="connsiteX60" fmla="*/ 286644 w 596407"/>
              <a:gd name="connsiteY60" fmla="*/ 86125 h 109895"/>
              <a:gd name="connsiteX61" fmla="*/ 282162 w 596407"/>
              <a:gd name="connsiteY61" fmla="*/ 54761 h 109895"/>
              <a:gd name="connsiteX62" fmla="*/ 286644 w 596407"/>
              <a:gd name="connsiteY62" fmla="*/ 23398 h 109895"/>
              <a:gd name="connsiteX63" fmla="*/ 299342 w 596407"/>
              <a:gd name="connsiteY63" fmla="*/ 5663 h 109895"/>
              <a:gd name="connsiteX64" fmla="*/ 317569 w 596407"/>
              <a:gd name="connsiteY64" fmla="*/ 0 h 109895"/>
              <a:gd name="connsiteX65" fmla="*/ 335646 w 596407"/>
              <a:gd name="connsiteY65" fmla="*/ 5663 h 109895"/>
              <a:gd name="connsiteX66" fmla="*/ 348046 w 596407"/>
              <a:gd name="connsiteY66" fmla="*/ 23398 h 109895"/>
              <a:gd name="connsiteX67" fmla="*/ 352528 w 596407"/>
              <a:gd name="connsiteY67" fmla="*/ 54512 h 109895"/>
              <a:gd name="connsiteX68" fmla="*/ 348046 w 596407"/>
              <a:gd name="connsiteY68" fmla="*/ 85876 h 109895"/>
              <a:gd name="connsiteX69" fmla="*/ 335646 w 596407"/>
              <a:gd name="connsiteY69" fmla="*/ 104047 h 109895"/>
              <a:gd name="connsiteX70" fmla="*/ 317569 w 596407"/>
              <a:gd name="connsiteY70" fmla="*/ 109896 h 109895"/>
              <a:gd name="connsiteX71" fmla="*/ 317420 w 596407"/>
              <a:gd name="connsiteY71" fmla="*/ 98072 h 109895"/>
              <a:gd name="connsiteX72" fmla="*/ 328774 w 596407"/>
              <a:gd name="connsiteY72" fmla="*/ 94089 h 109895"/>
              <a:gd name="connsiteX73" fmla="*/ 335945 w 596407"/>
              <a:gd name="connsiteY73" fmla="*/ 80462 h 109895"/>
              <a:gd name="connsiteX74" fmla="*/ 338485 w 596407"/>
              <a:gd name="connsiteY74" fmla="*/ 54948 h 109895"/>
              <a:gd name="connsiteX75" fmla="*/ 336095 w 596407"/>
              <a:gd name="connsiteY75" fmla="*/ 29559 h 109895"/>
              <a:gd name="connsiteX76" fmla="*/ 328923 w 596407"/>
              <a:gd name="connsiteY76" fmla="*/ 15931 h 109895"/>
              <a:gd name="connsiteX77" fmla="*/ 317569 w 596407"/>
              <a:gd name="connsiteY77" fmla="*/ 11761 h 109895"/>
              <a:gd name="connsiteX78" fmla="*/ 306065 w 596407"/>
              <a:gd name="connsiteY78" fmla="*/ 15931 h 109895"/>
              <a:gd name="connsiteX79" fmla="*/ 298745 w 596407"/>
              <a:gd name="connsiteY79" fmla="*/ 29559 h 109895"/>
              <a:gd name="connsiteX80" fmla="*/ 296205 w 596407"/>
              <a:gd name="connsiteY80" fmla="*/ 54948 h 109895"/>
              <a:gd name="connsiteX81" fmla="*/ 298595 w 596407"/>
              <a:gd name="connsiteY81" fmla="*/ 80462 h 109895"/>
              <a:gd name="connsiteX82" fmla="*/ 305916 w 596407"/>
              <a:gd name="connsiteY82" fmla="*/ 94089 h 109895"/>
              <a:gd name="connsiteX83" fmla="*/ 317420 w 596407"/>
              <a:gd name="connsiteY83" fmla="*/ 98072 h 109895"/>
              <a:gd name="connsiteX84" fmla="*/ 399707 w 596407"/>
              <a:gd name="connsiteY84" fmla="*/ 109896 h 109895"/>
              <a:gd name="connsiteX85" fmla="*/ 381480 w 596407"/>
              <a:gd name="connsiteY85" fmla="*/ 104047 h 109895"/>
              <a:gd name="connsiteX86" fmla="*/ 368781 w 596407"/>
              <a:gd name="connsiteY86" fmla="*/ 86125 h 109895"/>
              <a:gd name="connsiteX87" fmla="*/ 364299 w 596407"/>
              <a:gd name="connsiteY87" fmla="*/ 54761 h 109895"/>
              <a:gd name="connsiteX88" fmla="*/ 368781 w 596407"/>
              <a:gd name="connsiteY88" fmla="*/ 23398 h 109895"/>
              <a:gd name="connsiteX89" fmla="*/ 381480 w 596407"/>
              <a:gd name="connsiteY89" fmla="*/ 5663 h 109895"/>
              <a:gd name="connsiteX90" fmla="*/ 399707 w 596407"/>
              <a:gd name="connsiteY90" fmla="*/ 0 h 109895"/>
              <a:gd name="connsiteX91" fmla="*/ 417784 w 596407"/>
              <a:gd name="connsiteY91" fmla="*/ 5663 h 109895"/>
              <a:gd name="connsiteX92" fmla="*/ 430184 w 596407"/>
              <a:gd name="connsiteY92" fmla="*/ 23398 h 109895"/>
              <a:gd name="connsiteX93" fmla="*/ 434666 w 596407"/>
              <a:gd name="connsiteY93" fmla="*/ 54512 h 109895"/>
              <a:gd name="connsiteX94" fmla="*/ 430184 w 596407"/>
              <a:gd name="connsiteY94" fmla="*/ 85876 h 109895"/>
              <a:gd name="connsiteX95" fmla="*/ 417784 w 596407"/>
              <a:gd name="connsiteY95" fmla="*/ 104047 h 109895"/>
              <a:gd name="connsiteX96" fmla="*/ 399707 w 596407"/>
              <a:gd name="connsiteY96" fmla="*/ 109896 h 109895"/>
              <a:gd name="connsiteX97" fmla="*/ 399557 w 596407"/>
              <a:gd name="connsiteY97" fmla="*/ 98072 h 109895"/>
              <a:gd name="connsiteX98" fmla="*/ 410911 w 596407"/>
              <a:gd name="connsiteY98" fmla="*/ 94089 h 109895"/>
              <a:gd name="connsiteX99" fmla="*/ 418082 w 596407"/>
              <a:gd name="connsiteY99" fmla="*/ 80462 h 109895"/>
              <a:gd name="connsiteX100" fmla="*/ 420622 w 596407"/>
              <a:gd name="connsiteY100" fmla="*/ 54948 h 109895"/>
              <a:gd name="connsiteX101" fmla="*/ 418232 w 596407"/>
              <a:gd name="connsiteY101" fmla="*/ 29559 h 109895"/>
              <a:gd name="connsiteX102" fmla="*/ 411061 w 596407"/>
              <a:gd name="connsiteY102" fmla="*/ 15931 h 109895"/>
              <a:gd name="connsiteX103" fmla="*/ 399707 w 596407"/>
              <a:gd name="connsiteY103" fmla="*/ 11761 h 109895"/>
              <a:gd name="connsiteX104" fmla="*/ 388203 w 596407"/>
              <a:gd name="connsiteY104" fmla="*/ 15931 h 109895"/>
              <a:gd name="connsiteX105" fmla="*/ 380882 w 596407"/>
              <a:gd name="connsiteY105" fmla="*/ 29559 h 109895"/>
              <a:gd name="connsiteX106" fmla="*/ 378343 w 596407"/>
              <a:gd name="connsiteY106" fmla="*/ 54948 h 109895"/>
              <a:gd name="connsiteX107" fmla="*/ 380733 w 596407"/>
              <a:gd name="connsiteY107" fmla="*/ 80462 h 109895"/>
              <a:gd name="connsiteX108" fmla="*/ 388054 w 596407"/>
              <a:gd name="connsiteY108" fmla="*/ 94089 h 109895"/>
              <a:gd name="connsiteX109" fmla="*/ 399557 w 596407"/>
              <a:gd name="connsiteY109" fmla="*/ 98072 h 109895"/>
              <a:gd name="connsiteX110" fmla="*/ 476920 w 596407"/>
              <a:gd name="connsiteY110" fmla="*/ 109896 h 109895"/>
              <a:gd name="connsiteX111" fmla="*/ 448385 w 596407"/>
              <a:gd name="connsiteY111" fmla="*/ 102304 h 109895"/>
              <a:gd name="connsiteX112" fmla="*/ 448385 w 596407"/>
              <a:gd name="connsiteY112" fmla="*/ 87618 h 109895"/>
              <a:gd name="connsiteX113" fmla="*/ 461532 w 596407"/>
              <a:gd name="connsiteY113" fmla="*/ 95272 h 109895"/>
              <a:gd name="connsiteX114" fmla="*/ 476920 w 596407"/>
              <a:gd name="connsiteY114" fmla="*/ 97637 h 109895"/>
              <a:gd name="connsiteX115" fmla="*/ 493951 w 596407"/>
              <a:gd name="connsiteY115" fmla="*/ 90916 h 109895"/>
              <a:gd name="connsiteX116" fmla="*/ 500077 w 596407"/>
              <a:gd name="connsiteY116" fmla="*/ 73305 h 109895"/>
              <a:gd name="connsiteX117" fmla="*/ 494101 w 596407"/>
              <a:gd name="connsiteY117" fmla="*/ 56255 h 109895"/>
              <a:gd name="connsiteX118" fmla="*/ 479012 w 596407"/>
              <a:gd name="connsiteY118" fmla="*/ 50903 h 109895"/>
              <a:gd name="connsiteX119" fmla="*/ 468404 w 596407"/>
              <a:gd name="connsiteY119" fmla="*/ 53143 h 109895"/>
              <a:gd name="connsiteX120" fmla="*/ 462279 w 596407"/>
              <a:gd name="connsiteY120" fmla="*/ 57624 h 109895"/>
              <a:gd name="connsiteX121" fmla="*/ 451373 w 596407"/>
              <a:gd name="connsiteY121" fmla="*/ 57624 h 109895"/>
              <a:gd name="connsiteX122" fmla="*/ 451373 w 596407"/>
              <a:gd name="connsiteY122" fmla="*/ 1307 h 109895"/>
              <a:gd name="connsiteX123" fmla="*/ 509340 w 596407"/>
              <a:gd name="connsiteY123" fmla="*/ 1307 h 109895"/>
              <a:gd name="connsiteX124" fmla="*/ 509340 w 596407"/>
              <a:gd name="connsiteY124" fmla="*/ 14188 h 109895"/>
              <a:gd name="connsiteX125" fmla="*/ 463624 w 596407"/>
              <a:gd name="connsiteY125" fmla="*/ 14188 h 109895"/>
              <a:gd name="connsiteX126" fmla="*/ 463624 w 596407"/>
              <a:gd name="connsiteY126" fmla="*/ 44805 h 109895"/>
              <a:gd name="connsiteX127" fmla="*/ 470944 w 596407"/>
              <a:gd name="connsiteY127" fmla="*/ 40885 h 109895"/>
              <a:gd name="connsiteX128" fmla="*/ 481253 w 596407"/>
              <a:gd name="connsiteY128" fmla="*/ 39080 h 109895"/>
              <a:gd name="connsiteX129" fmla="*/ 497985 w 596407"/>
              <a:gd name="connsiteY129" fmla="*/ 43000 h 109895"/>
              <a:gd name="connsiteX130" fmla="*/ 509788 w 596407"/>
              <a:gd name="connsiteY130" fmla="*/ 54326 h 109895"/>
              <a:gd name="connsiteX131" fmla="*/ 514270 w 596407"/>
              <a:gd name="connsiteY131" fmla="*/ 72995 h 109895"/>
              <a:gd name="connsiteX132" fmla="*/ 509638 w 596407"/>
              <a:gd name="connsiteY132" fmla="*/ 92410 h 109895"/>
              <a:gd name="connsiteX133" fmla="*/ 496790 w 596407"/>
              <a:gd name="connsiteY133" fmla="*/ 105415 h 109895"/>
              <a:gd name="connsiteX134" fmla="*/ 476920 w 596407"/>
              <a:gd name="connsiteY134" fmla="*/ 109896 h 109895"/>
              <a:gd name="connsiteX135" fmla="*/ 559058 w 596407"/>
              <a:gd name="connsiteY135" fmla="*/ 109896 h 109895"/>
              <a:gd name="connsiteX136" fmla="*/ 530523 w 596407"/>
              <a:gd name="connsiteY136" fmla="*/ 102304 h 109895"/>
              <a:gd name="connsiteX137" fmla="*/ 530523 w 596407"/>
              <a:gd name="connsiteY137" fmla="*/ 87618 h 109895"/>
              <a:gd name="connsiteX138" fmla="*/ 543670 w 596407"/>
              <a:gd name="connsiteY138" fmla="*/ 95272 h 109895"/>
              <a:gd name="connsiteX139" fmla="*/ 559058 w 596407"/>
              <a:gd name="connsiteY139" fmla="*/ 97637 h 109895"/>
              <a:gd name="connsiteX140" fmla="*/ 576089 w 596407"/>
              <a:gd name="connsiteY140" fmla="*/ 90916 h 109895"/>
              <a:gd name="connsiteX141" fmla="*/ 582214 w 596407"/>
              <a:gd name="connsiteY141" fmla="*/ 73305 h 109895"/>
              <a:gd name="connsiteX142" fmla="*/ 576239 w 596407"/>
              <a:gd name="connsiteY142" fmla="*/ 56255 h 109895"/>
              <a:gd name="connsiteX143" fmla="*/ 561149 w 596407"/>
              <a:gd name="connsiteY143" fmla="*/ 50903 h 109895"/>
              <a:gd name="connsiteX144" fmla="*/ 550542 w 596407"/>
              <a:gd name="connsiteY144" fmla="*/ 53143 h 109895"/>
              <a:gd name="connsiteX145" fmla="*/ 544417 w 596407"/>
              <a:gd name="connsiteY145" fmla="*/ 57624 h 109895"/>
              <a:gd name="connsiteX146" fmla="*/ 533511 w 596407"/>
              <a:gd name="connsiteY146" fmla="*/ 57624 h 109895"/>
              <a:gd name="connsiteX147" fmla="*/ 533511 w 596407"/>
              <a:gd name="connsiteY147" fmla="*/ 1307 h 109895"/>
              <a:gd name="connsiteX148" fmla="*/ 591477 w 596407"/>
              <a:gd name="connsiteY148" fmla="*/ 1307 h 109895"/>
              <a:gd name="connsiteX149" fmla="*/ 591477 w 596407"/>
              <a:gd name="connsiteY149" fmla="*/ 14188 h 109895"/>
              <a:gd name="connsiteX150" fmla="*/ 545761 w 596407"/>
              <a:gd name="connsiteY150" fmla="*/ 14188 h 109895"/>
              <a:gd name="connsiteX151" fmla="*/ 545761 w 596407"/>
              <a:gd name="connsiteY151" fmla="*/ 44805 h 109895"/>
              <a:gd name="connsiteX152" fmla="*/ 553082 w 596407"/>
              <a:gd name="connsiteY152" fmla="*/ 40885 h 109895"/>
              <a:gd name="connsiteX153" fmla="*/ 563390 w 596407"/>
              <a:gd name="connsiteY153" fmla="*/ 39080 h 109895"/>
              <a:gd name="connsiteX154" fmla="*/ 580123 w 596407"/>
              <a:gd name="connsiteY154" fmla="*/ 43000 h 109895"/>
              <a:gd name="connsiteX155" fmla="*/ 591925 w 596407"/>
              <a:gd name="connsiteY155" fmla="*/ 54326 h 109895"/>
              <a:gd name="connsiteX156" fmla="*/ 596407 w 596407"/>
              <a:gd name="connsiteY156" fmla="*/ 72995 h 109895"/>
              <a:gd name="connsiteX157" fmla="*/ 591776 w 596407"/>
              <a:gd name="connsiteY157" fmla="*/ 92410 h 109895"/>
              <a:gd name="connsiteX158" fmla="*/ 578927 w 596407"/>
              <a:gd name="connsiteY158" fmla="*/ 105415 h 109895"/>
              <a:gd name="connsiteX159" fmla="*/ 559058 w 596407"/>
              <a:gd name="connsiteY159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</a:cxnLst>
            <a:rect l="l" t="t" r="r" b="b"/>
            <a:pathLst>
              <a:path w="596407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273142" y="108402"/>
                </a:moveTo>
                <a:lnTo>
                  <a:pt x="258202" y="108402"/>
                </a:lnTo>
                <a:lnTo>
                  <a:pt x="247147" y="77786"/>
                </a:lnTo>
                <a:lnTo>
                  <a:pt x="199788" y="77786"/>
                </a:lnTo>
                <a:lnTo>
                  <a:pt x="188882" y="108402"/>
                </a:lnTo>
                <a:lnTo>
                  <a:pt x="175735" y="108402"/>
                </a:lnTo>
                <a:lnTo>
                  <a:pt x="213831" y="1307"/>
                </a:lnTo>
                <a:lnTo>
                  <a:pt x="234747" y="1307"/>
                </a:lnTo>
                <a:lnTo>
                  <a:pt x="273142" y="108402"/>
                </a:lnTo>
                <a:close/>
                <a:moveTo>
                  <a:pt x="204419" y="65091"/>
                </a:moveTo>
                <a:lnTo>
                  <a:pt x="242665" y="65091"/>
                </a:lnTo>
                <a:lnTo>
                  <a:pt x="223542" y="11761"/>
                </a:lnTo>
                <a:lnTo>
                  <a:pt x="204419" y="65091"/>
                </a:lnTo>
                <a:close/>
                <a:moveTo>
                  <a:pt x="317569" y="109896"/>
                </a:moveTo>
                <a:cubicBezTo>
                  <a:pt x="310796" y="109896"/>
                  <a:pt x="304721" y="107967"/>
                  <a:pt x="299342" y="104047"/>
                </a:cubicBezTo>
                <a:cubicBezTo>
                  <a:pt x="293964" y="100188"/>
                  <a:pt x="289732" y="94214"/>
                  <a:pt x="286644" y="86125"/>
                </a:cubicBezTo>
                <a:cubicBezTo>
                  <a:pt x="283656" y="77972"/>
                  <a:pt x="282162" y="67518"/>
                  <a:pt x="282162" y="54761"/>
                </a:cubicBezTo>
                <a:cubicBezTo>
                  <a:pt x="282162" y="41942"/>
                  <a:pt x="283656" y="31488"/>
                  <a:pt x="286644" y="23398"/>
                </a:cubicBezTo>
                <a:cubicBezTo>
                  <a:pt x="289732" y="15371"/>
                  <a:pt x="293964" y="9459"/>
                  <a:pt x="299342" y="5663"/>
                </a:cubicBezTo>
                <a:cubicBezTo>
                  <a:pt x="304721" y="1867"/>
                  <a:pt x="310796" y="0"/>
                  <a:pt x="317569" y="0"/>
                </a:cubicBezTo>
                <a:cubicBezTo>
                  <a:pt x="324342" y="0"/>
                  <a:pt x="330367" y="1867"/>
                  <a:pt x="335646" y="5663"/>
                </a:cubicBezTo>
                <a:cubicBezTo>
                  <a:pt x="340925" y="9459"/>
                  <a:pt x="345058" y="15371"/>
                  <a:pt x="348046" y="23398"/>
                </a:cubicBezTo>
                <a:cubicBezTo>
                  <a:pt x="351034" y="31363"/>
                  <a:pt x="352528" y="41756"/>
                  <a:pt x="352528" y="54512"/>
                </a:cubicBezTo>
                <a:cubicBezTo>
                  <a:pt x="352528" y="67145"/>
                  <a:pt x="351034" y="77599"/>
                  <a:pt x="348046" y="85876"/>
                </a:cubicBezTo>
                <a:cubicBezTo>
                  <a:pt x="345058" y="94027"/>
                  <a:pt x="340925" y="100064"/>
                  <a:pt x="335646" y="104047"/>
                </a:cubicBezTo>
                <a:cubicBezTo>
                  <a:pt x="330367" y="107967"/>
                  <a:pt x="324342" y="109896"/>
                  <a:pt x="317569" y="109896"/>
                </a:cubicBezTo>
                <a:close/>
                <a:moveTo>
                  <a:pt x="317420" y="98072"/>
                </a:moveTo>
                <a:cubicBezTo>
                  <a:pt x="321902" y="98072"/>
                  <a:pt x="325687" y="96766"/>
                  <a:pt x="328774" y="94089"/>
                </a:cubicBezTo>
                <a:cubicBezTo>
                  <a:pt x="331961" y="91289"/>
                  <a:pt x="334351" y="86747"/>
                  <a:pt x="335945" y="80462"/>
                </a:cubicBezTo>
                <a:cubicBezTo>
                  <a:pt x="337638" y="74114"/>
                  <a:pt x="338485" y="65589"/>
                  <a:pt x="338485" y="54948"/>
                </a:cubicBezTo>
                <a:cubicBezTo>
                  <a:pt x="338485" y="44307"/>
                  <a:pt x="337688" y="35844"/>
                  <a:pt x="336095" y="29559"/>
                </a:cubicBezTo>
                <a:cubicBezTo>
                  <a:pt x="334501" y="23150"/>
                  <a:pt x="332111" y="18669"/>
                  <a:pt x="328923" y="15931"/>
                </a:cubicBezTo>
                <a:cubicBezTo>
                  <a:pt x="325836" y="13192"/>
                  <a:pt x="322051" y="11761"/>
                  <a:pt x="317569" y="11761"/>
                </a:cubicBezTo>
                <a:cubicBezTo>
                  <a:pt x="313087" y="11761"/>
                  <a:pt x="309253" y="13192"/>
                  <a:pt x="306065" y="15931"/>
                </a:cubicBezTo>
                <a:cubicBezTo>
                  <a:pt x="302879" y="18669"/>
                  <a:pt x="300438" y="23150"/>
                  <a:pt x="298745" y="29559"/>
                </a:cubicBezTo>
                <a:cubicBezTo>
                  <a:pt x="297052" y="35844"/>
                  <a:pt x="296205" y="44307"/>
                  <a:pt x="296205" y="54948"/>
                </a:cubicBezTo>
                <a:cubicBezTo>
                  <a:pt x="296205" y="65589"/>
                  <a:pt x="297002" y="74114"/>
                  <a:pt x="298595" y="80462"/>
                </a:cubicBezTo>
                <a:cubicBezTo>
                  <a:pt x="300289" y="86747"/>
                  <a:pt x="302729" y="91289"/>
                  <a:pt x="305916" y="94089"/>
                </a:cubicBezTo>
                <a:cubicBezTo>
                  <a:pt x="309103" y="96766"/>
                  <a:pt x="312938" y="98072"/>
                  <a:pt x="317420" y="98072"/>
                </a:cubicBezTo>
                <a:close/>
                <a:moveTo>
                  <a:pt x="399707" y="109896"/>
                </a:moveTo>
                <a:cubicBezTo>
                  <a:pt x="392934" y="109896"/>
                  <a:pt x="386858" y="107967"/>
                  <a:pt x="381480" y="104047"/>
                </a:cubicBezTo>
                <a:cubicBezTo>
                  <a:pt x="376102" y="100188"/>
                  <a:pt x="371869" y="94214"/>
                  <a:pt x="368781" y="86125"/>
                </a:cubicBezTo>
                <a:cubicBezTo>
                  <a:pt x="365794" y="77972"/>
                  <a:pt x="364299" y="67518"/>
                  <a:pt x="364299" y="54761"/>
                </a:cubicBezTo>
                <a:cubicBezTo>
                  <a:pt x="364299" y="41942"/>
                  <a:pt x="365794" y="31488"/>
                  <a:pt x="368781" y="23398"/>
                </a:cubicBezTo>
                <a:cubicBezTo>
                  <a:pt x="371869" y="15371"/>
                  <a:pt x="376102" y="9459"/>
                  <a:pt x="381480" y="5663"/>
                </a:cubicBezTo>
                <a:cubicBezTo>
                  <a:pt x="386858" y="1867"/>
                  <a:pt x="392934" y="0"/>
                  <a:pt x="399707" y="0"/>
                </a:cubicBezTo>
                <a:cubicBezTo>
                  <a:pt x="406479" y="0"/>
                  <a:pt x="412505" y="1867"/>
                  <a:pt x="417784" y="5663"/>
                </a:cubicBezTo>
                <a:cubicBezTo>
                  <a:pt x="423062" y="9459"/>
                  <a:pt x="427196" y="15371"/>
                  <a:pt x="430184" y="23398"/>
                </a:cubicBezTo>
                <a:cubicBezTo>
                  <a:pt x="433172" y="31363"/>
                  <a:pt x="434666" y="41756"/>
                  <a:pt x="434666" y="54512"/>
                </a:cubicBezTo>
                <a:cubicBezTo>
                  <a:pt x="434666" y="67145"/>
                  <a:pt x="433172" y="77599"/>
                  <a:pt x="430184" y="85876"/>
                </a:cubicBezTo>
                <a:cubicBezTo>
                  <a:pt x="427196" y="94027"/>
                  <a:pt x="423062" y="100064"/>
                  <a:pt x="417784" y="104047"/>
                </a:cubicBezTo>
                <a:cubicBezTo>
                  <a:pt x="412505" y="107967"/>
                  <a:pt x="406479" y="109896"/>
                  <a:pt x="399707" y="109896"/>
                </a:cubicBezTo>
                <a:close/>
                <a:moveTo>
                  <a:pt x="399557" y="98072"/>
                </a:moveTo>
                <a:cubicBezTo>
                  <a:pt x="404039" y="98072"/>
                  <a:pt x="407824" y="96766"/>
                  <a:pt x="410911" y="94089"/>
                </a:cubicBezTo>
                <a:cubicBezTo>
                  <a:pt x="414098" y="91289"/>
                  <a:pt x="416489" y="86747"/>
                  <a:pt x="418082" y="80462"/>
                </a:cubicBezTo>
                <a:cubicBezTo>
                  <a:pt x="419776" y="74114"/>
                  <a:pt x="420622" y="65589"/>
                  <a:pt x="420622" y="54948"/>
                </a:cubicBezTo>
                <a:cubicBezTo>
                  <a:pt x="420622" y="44307"/>
                  <a:pt x="419826" y="35844"/>
                  <a:pt x="418232" y="29559"/>
                </a:cubicBezTo>
                <a:cubicBezTo>
                  <a:pt x="416638" y="23150"/>
                  <a:pt x="414248" y="18669"/>
                  <a:pt x="411061" y="15931"/>
                </a:cubicBezTo>
                <a:cubicBezTo>
                  <a:pt x="407973" y="13192"/>
                  <a:pt x="404188" y="11761"/>
                  <a:pt x="399707" y="11761"/>
                </a:cubicBezTo>
                <a:cubicBezTo>
                  <a:pt x="395225" y="11761"/>
                  <a:pt x="391390" y="13192"/>
                  <a:pt x="388203" y="15931"/>
                </a:cubicBezTo>
                <a:cubicBezTo>
                  <a:pt x="385016" y="18669"/>
                  <a:pt x="382576" y="23150"/>
                  <a:pt x="380882" y="29559"/>
                </a:cubicBezTo>
                <a:cubicBezTo>
                  <a:pt x="379189" y="35844"/>
                  <a:pt x="378343" y="44307"/>
                  <a:pt x="378343" y="54948"/>
                </a:cubicBezTo>
                <a:cubicBezTo>
                  <a:pt x="378343" y="65589"/>
                  <a:pt x="379140" y="74114"/>
                  <a:pt x="380733" y="80462"/>
                </a:cubicBezTo>
                <a:cubicBezTo>
                  <a:pt x="382426" y="86747"/>
                  <a:pt x="384866" y="91289"/>
                  <a:pt x="388054" y="94089"/>
                </a:cubicBezTo>
                <a:cubicBezTo>
                  <a:pt x="391241" y="96766"/>
                  <a:pt x="395075" y="98072"/>
                  <a:pt x="399557" y="98072"/>
                </a:cubicBezTo>
                <a:close/>
                <a:moveTo>
                  <a:pt x="476920" y="109896"/>
                </a:moveTo>
                <a:cubicBezTo>
                  <a:pt x="464969" y="109896"/>
                  <a:pt x="455457" y="107344"/>
                  <a:pt x="448385" y="102304"/>
                </a:cubicBezTo>
                <a:lnTo>
                  <a:pt x="448385" y="87618"/>
                </a:lnTo>
                <a:cubicBezTo>
                  <a:pt x="452569" y="91040"/>
                  <a:pt x="456951" y="93592"/>
                  <a:pt x="461532" y="95272"/>
                </a:cubicBezTo>
                <a:cubicBezTo>
                  <a:pt x="466114" y="96828"/>
                  <a:pt x="471243" y="97637"/>
                  <a:pt x="476920" y="97637"/>
                </a:cubicBezTo>
                <a:cubicBezTo>
                  <a:pt x="484290" y="97637"/>
                  <a:pt x="489968" y="95397"/>
                  <a:pt x="493951" y="90916"/>
                </a:cubicBezTo>
                <a:cubicBezTo>
                  <a:pt x="498035" y="86435"/>
                  <a:pt x="500077" y="80586"/>
                  <a:pt x="500077" y="73305"/>
                </a:cubicBezTo>
                <a:cubicBezTo>
                  <a:pt x="500077" y="65527"/>
                  <a:pt x="498085" y="59864"/>
                  <a:pt x="494101" y="56255"/>
                </a:cubicBezTo>
                <a:cubicBezTo>
                  <a:pt x="490117" y="52708"/>
                  <a:pt x="485087" y="50903"/>
                  <a:pt x="479012" y="50903"/>
                </a:cubicBezTo>
                <a:cubicBezTo>
                  <a:pt x="474629" y="50903"/>
                  <a:pt x="471094" y="51650"/>
                  <a:pt x="468404" y="53143"/>
                </a:cubicBezTo>
                <a:cubicBezTo>
                  <a:pt x="465716" y="54512"/>
                  <a:pt x="463674" y="56006"/>
                  <a:pt x="462279" y="57624"/>
                </a:cubicBezTo>
                <a:lnTo>
                  <a:pt x="451373" y="57624"/>
                </a:lnTo>
                <a:lnTo>
                  <a:pt x="451373" y="1307"/>
                </a:lnTo>
                <a:lnTo>
                  <a:pt x="509340" y="1307"/>
                </a:lnTo>
                <a:lnTo>
                  <a:pt x="509340" y="14188"/>
                </a:lnTo>
                <a:lnTo>
                  <a:pt x="463624" y="14188"/>
                </a:lnTo>
                <a:lnTo>
                  <a:pt x="463624" y="44805"/>
                </a:lnTo>
                <a:cubicBezTo>
                  <a:pt x="465616" y="43312"/>
                  <a:pt x="468056" y="42004"/>
                  <a:pt x="470944" y="40885"/>
                </a:cubicBezTo>
                <a:cubicBezTo>
                  <a:pt x="473833" y="39702"/>
                  <a:pt x="477269" y="39080"/>
                  <a:pt x="481253" y="39080"/>
                </a:cubicBezTo>
                <a:cubicBezTo>
                  <a:pt x="487428" y="39080"/>
                  <a:pt x="493005" y="40386"/>
                  <a:pt x="497985" y="43000"/>
                </a:cubicBezTo>
                <a:cubicBezTo>
                  <a:pt x="502965" y="45489"/>
                  <a:pt x="506899" y="49285"/>
                  <a:pt x="509788" y="54326"/>
                </a:cubicBezTo>
                <a:cubicBezTo>
                  <a:pt x="512776" y="59304"/>
                  <a:pt x="514270" y="65527"/>
                  <a:pt x="514270" y="72995"/>
                </a:cubicBezTo>
                <a:cubicBezTo>
                  <a:pt x="514270" y="80399"/>
                  <a:pt x="512726" y="86871"/>
                  <a:pt x="509638" y="92410"/>
                </a:cubicBezTo>
                <a:cubicBezTo>
                  <a:pt x="506650" y="98010"/>
                  <a:pt x="502368" y="102304"/>
                  <a:pt x="496790" y="105415"/>
                </a:cubicBezTo>
                <a:cubicBezTo>
                  <a:pt x="491212" y="108402"/>
                  <a:pt x="484589" y="109896"/>
                  <a:pt x="476920" y="109896"/>
                </a:cubicBezTo>
                <a:close/>
                <a:moveTo>
                  <a:pt x="559058" y="109896"/>
                </a:moveTo>
                <a:cubicBezTo>
                  <a:pt x="547106" y="109896"/>
                  <a:pt x="537594" y="107344"/>
                  <a:pt x="530523" y="102304"/>
                </a:cubicBezTo>
                <a:lnTo>
                  <a:pt x="530523" y="87618"/>
                </a:lnTo>
                <a:cubicBezTo>
                  <a:pt x="534706" y="91040"/>
                  <a:pt x="539088" y="93592"/>
                  <a:pt x="543670" y="95272"/>
                </a:cubicBezTo>
                <a:cubicBezTo>
                  <a:pt x="548251" y="96828"/>
                  <a:pt x="553380" y="97637"/>
                  <a:pt x="559058" y="97637"/>
                </a:cubicBezTo>
                <a:cubicBezTo>
                  <a:pt x="566428" y="97637"/>
                  <a:pt x="572105" y="95397"/>
                  <a:pt x="576089" y="90916"/>
                </a:cubicBezTo>
                <a:cubicBezTo>
                  <a:pt x="580172" y="86435"/>
                  <a:pt x="582214" y="80586"/>
                  <a:pt x="582214" y="73305"/>
                </a:cubicBezTo>
                <a:cubicBezTo>
                  <a:pt x="582214" y="65527"/>
                  <a:pt x="580222" y="59864"/>
                  <a:pt x="576239" y="56255"/>
                </a:cubicBezTo>
                <a:cubicBezTo>
                  <a:pt x="572255" y="52708"/>
                  <a:pt x="567225" y="50903"/>
                  <a:pt x="561149" y="50903"/>
                </a:cubicBezTo>
                <a:cubicBezTo>
                  <a:pt x="556767" y="50903"/>
                  <a:pt x="553231" y="51650"/>
                  <a:pt x="550542" y="53143"/>
                </a:cubicBezTo>
                <a:cubicBezTo>
                  <a:pt x="547853" y="54512"/>
                  <a:pt x="545811" y="56006"/>
                  <a:pt x="544417" y="57624"/>
                </a:cubicBezTo>
                <a:lnTo>
                  <a:pt x="533511" y="57624"/>
                </a:lnTo>
                <a:lnTo>
                  <a:pt x="533511" y="1307"/>
                </a:lnTo>
                <a:lnTo>
                  <a:pt x="591477" y="1307"/>
                </a:lnTo>
                <a:lnTo>
                  <a:pt x="591477" y="14188"/>
                </a:lnTo>
                <a:lnTo>
                  <a:pt x="545761" y="14188"/>
                </a:lnTo>
                <a:lnTo>
                  <a:pt x="545761" y="44805"/>
                </a:lnTo>
                <a:cubicBezTo>
                  <a:pt x="547753" y="43312"/>
                  <a:pt x="550193" y="42004"/>
                  <a:pt x="553082" y="40885"/>
                </a:cubicBezTo>
                <a:cubicBezTo>
                  <a:pt x="555970" y="39702"/>
                  <a:pt x="559406" y="39080"/>
                  <a:pt x="563390" y="39080"/>
                </a:cubicBezTo>
                <a:cubicBezTo>
                  <a:pt x="569565" y="39080"/>
                  <a:pt x="575143" y="40386"/>
                  <a:pt x="580123" y="43000"/>
                </a:cubicBezTo>
                <a:cubicBezTo>
                  <a:pt x="585103" y="45489"/>
                  <a:pt x="589037" y="49285"/>
                  <a:pt x="591925" y="54326"/>
                </a:cubicBezTo>
                <a:cubicBezTo>
                  <a:pt x="594913" y="59304"/>
                  <a:pt x="596407" y="65527"/>
                  <a:pt x="596407" y="72995"/>
                </a:cubicBezTo>
                <a:cubicBezTo>
                  <a:pt x="596407" y="80399"/>
                  <a:pt x="594863" y="86871"/>
                  <a:pt x="591776" y="92410"/>
                </a:cubicBezTo>
                <a:cubicBezTo>
                  <a:pt x="588788" y="98010"/>
                  <a:pt x="584505" y="102304"/>
                  <a:pt x="578927" y="105415"/>
                </a:cubicBezTo>
                <a:cubicBezTo>
                  <a:pt x="573350" y="108402"/>
                  <a:pt x="566727" y="109896"/>
                  <a:pt x="559058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1" name="Полилиния 1010">
            <a:extLst>
              <a:ext uri="{FF2B5EF4-FFF2-40B4-BE49-F238E27FC236}">
                <a16:creationId xmlns:a16="http://schemas.microsoft.com/office/drawing/2014/main" id="{612866B3-5B09-0B54-04DC-6F3F9465E0E7}"/>
              </a:ext>
            </a:extLst>
          </p:cNvPr>
          <p:cNvSpPr/>
          <p:nvPr userDrawn="1"/>
        </p:nvSpPr>
        <p:spPr>
          <a:xfrm>
            <a:off x="18445574" y="7418752"/>
            <a:ext cx="1398954" cy="726227"/>
          </a:xfrm>
          <a:custGeom>
            <a:avLst/>
            <a:gdLst>
              <a:gd name="connsiteX0" fmla="*/ 850 w 1198727"/>
              <a:gd name="connsiteY0" fmla="*/ 1522 h 622284"/>
              <a:gd name="connsiteX1" fmla="*/ 1199578 w 1198727"/>
              <a:gd name="connsiteY1" fmla="*/ 1522 h 622284"/>
              <a:gd name="connsiteX2" fmla="*/ 1199578 w 1198727"/>
              <a:gd name="connsiteY2" fmla="*/ 623806 h 622284"/>
              <a:gd name="connsiteX3" fmla="*/ 85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522"/>
                </a:moveTo>
                <a:lnTo>
                  <a:pt x="1199578" y="1522"/>
                </a:lnTo>
                <a:lnTo>
                  <a:pt x="1199578" y="623806"/>
                </a:lnTo>
                <a:lnTo>
                  <a:pt x="850" y="623806"/>
                </a:lnTo>
                <a:close/>
              </a:path>
            </a:pathLst>
          </a:custGeom>
          <a:solidFill>
            <a:srgbClr val="FF326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2" name="Полилиния 1011">
            <a:extLst>
              <a:ext uri="{FF2B5EF4-FFF2-40B4-BE49-F238E27FC236}">
                <a16:creationId xmlns:a16="http://schemas.microsoft.com/office/drawing/2014/main" id="{E5107B32-FB8B-D03A-9BBE-7613E0984AAC}"/>
              </a:ext>
            </a:extLst>
          </p:cNvPr>
          <p:cNvSpPr/>
          <p:nvPr userDrawn="1"/>
        </p:nvSpPr>
        <p:spPr>
          <a:xfrm>
            <a:off x="18568782" y="7720500"/>
            <a:ext cx="689887" cy="128468"/>
          </a:xfrm>
          <a:custGeom>
            <a:avLst/>
            <a:gdLst>
              <a:gd name="connsiteX0" fmla="*/ 22111 w 591146"/>
              <a:gd name="connsiteY0" fmla="*/ 108588 h 110081"/>
              <a:gd name="connsiteX1" fmla="*/ 10159 w 591146"/>
              <a:gd name="connsiteY1" fmla="*/ 108588 h 110081"/>
              <a:gd name="connsiteX2" fmla="*/ 16433 w 591146"/>
              <a:gd name="connsiteY2" fmla="*/ 77661 h 110081"/>
              <a:gd name="connsiteX3" fmla="*/ 0 w 591146"/>
              <a:gd name="connsiteY3" fmla="*/ 77661 h 110081"/>
              <a:gd name="connsiteX4" fmla="*/ 0 w 591146"/>
              <a:gd name="connsiteY4" fmla="*/ 67206 h 110081"/>
              <a:gd name="connsiteX5" fmla="*/ 18675 w 591146"/>
              <a:gd name="connsiteY5" fmla="*/ 67206 h 110081"/>
              <a:gd name="connsiteX6" fmla="*/ 24202 w 591146"/>
              <a:gd name="connsiteY6" fmla="*/ 40012 h 110081"/>
              <a:gd name="connsiteX7" fmla="*/ 4033 w 591146"/>
              <a:gd name="connsiteY7" fmla="*/ 40012 h 110081"/>
              <a:gd name="connsiteX8" fmla="*/ 4033 w 591146"/>
              <a:gd name="connsiteY8" fmla="*/ 29559 h 110081"/>
              <a:gd name="connsiteX9" fmla="*/ 26294 w 591146"/>
              <a:gd name="connsiteY9" fmla="*/ 29559 h 110081"/>
              <a:gd name="connsiteX10" fmla="*/ 32120 w 591146"/>
              <a:gd name="connsiteY10" fmla="*/ 1493 h 110081"/>
              <a:gd name="connsiteX11" fmla="*/ 44072 w 591146"/>
              <a:gd name="connsiteY11" fmla="*/ 1493 h 110081"/>
              <a:gd name="connsiteX12" fmla="*/ 38246 w 591146"/>
              <a:gd name="connsiteY12" fmla="*/ 29559 h 110081"/>
              <a:gd name="connsiteX13" fmla="*/ 60655 w 591146"/>
              <a:gd name="connsiteY13" fmla="*/ 29559 h 110081"/>
              <a:gd name="connsiteX14" fmla="*/ 66482 w 591146"/>
              <a:gd name="connsiteY14" fmla="*/ 1493 h 110081"/>
              <a:gd name="connsiteX15" fmla="*/ 78434 w 591146"/>
              <a:gd name="connsiteY15" fmla="*/ 1493 h 110081"/>
              <a:gd name="connsiteX16" fmla="*/ 72607 w 591146"/>
              <a:gd name="connsiteY16" fmla="*/ 29559 h 110081"/>
              <a:gd name="connsiteX17" fmla="*/ 89340 w 591146"/>
              <a:gd name="connsiteY17" fmla="*/ 29559 h 110081"/>
              <a:gd name="connsiteX18" fmla="*/ 89340 w 591146"/>
              <a:gd name="connsiteY18" fmla="*/ 40012 h 110081"/>
              <a:gd name="connsiteX19" fmla="*/ 70516 w 591146"/>
              <a:gd name="connsiteY19" fmla="*/ 40012 h 110081"/>
              <a:gd name="connsiteX20" fmla="*/ 64988 w 591146"/>
              <a:gd name="connsiteY20" fmla="*/ 67206 h 110081"/>
              <a:gd name="connsiteX21" fmla="*/ 85306 w 591146"/>
              <a:gd name="connsiteY21" fmla="*/ 67206 h 110081"/>
              <a:gd name="connsiteX22" fmla="*/ 85306 w 591146"/>
              <a:gd name="connsiteY22" fmla="*/ 77661 h 110081"/>
              <a:gd name="connsiteX23" fmla="*/ 62747 w 591146"/>
              <a:gd name="connsiteY23" fmla="*/ 77661 h 110081"/>
              <a:gd name="connsiteX24" fmla="*/ 56472 w 591146"/>
              <a:gd name="connsiteY24" fmla="*/ 108588 h 110081"/>
              <a:gd name="connsiteX25" fmla="*/ 44520 w 591146"/>
              <a:gd name="connsiteY25" fmla="*/ 108588 h 110081"/>
              <a:gd name="connsiteX26" fmla="*/ 50795 w 591146"/>
              <a:gd name="connsiteY26" fmla="*/ 77661 h 110081"/>
              <a:gd name="connsiteX27" fmla="*/ 28386 w 591146"/>
              <a:gd name="connsiteY27" fmla="*/ 77661 h 110081"/>
              <a:gd name="connsiteX28" fmla="*/ 22111 w 591146"/>
              <a:gd name="connsiteY28" fmla="*/ 108588 h 110081"/>
              <a:gd name="connsiteX29" fmla="*/ 30626 w 591146"/>
              <a:gd name="connsiteY29" fmla="*/ 67206 h 110081"/>
              <a:gd name="connsiteX30" fmla="*/ 53036 w 591146"/>
              <a:gd name="connsiteY30" fmla="*/ 67206 h 110081"/>
              <a:gd name="connsiteX31" fmla="*/ 58564 w 591146"/>
              <a:gd name="connsiteY31" fmla="*/ 40012 h 110081"/>
              <a:gd name="connsiteX32" fmla="*/ 36154 w 591146"/>
              <a:gd name="connsiteY32" fmla="*/ 40012 h 110081"/>
              <a:gd name="connsiteX33" fmla="*/ 30626 w 591146"/>
              <a:gd name="connsiteY33" fmla="*/ 67206 h 110081"/>
              <a:gd name="connsiteX34" fmla="*/ 107827 w 591146"/>
              <a:gd name="connsiteY34" fmla="*/ 1493 h 110081"/>
              <a:gd name="connsiteX35" fmla="*/ 173264 w 591146"/>
              <a:gd name="connsiteY35" fmla="*/ 1493 h 110081"/>
              <a:gd name="connsiteX36" fmla="*/ 173264 w 591146"/>
              <a:gd name="connsiteY36" fmla="*/ 14374 h 110081"/>
              <a:gd name="connsiteX37" fmla="*/ 121871 w 591146"/>
              <a:gd name="connsiteY37" fmla="*/ 14374 h 110081"/>
              <a:gd name="connsiteX38" fmla="*/ 121871 w 591146"/>
              <a:gd name="connsiteY38" fmla="*/ 49907 h 110081"/>
              <a:gd name="connsiteX39" fmla="*/ 165495 w 591146"/>
              <a:gd name="connsiteY39" fmla="*/ 49907 h 110081"/>
              <a:gd name="connsiteX40" fmla="*/ 165495 w 591146"/>
              <a:gd name="connsiteY40" fmla="*/ 62601 h 110081"/>
              <a:gd name="connsiteX41" fmla="*/ 121871 w 591146"/>
              <a:gd name="connsiteY41" fmla="*/ 62601 h 110081"/>
              <a:gd name="connsiteX42" fmla="*/ 121871 w 591146"/>
              <a:gd name="connsiteY42" fmla="*/ 108588 h 110081"/>
              <a:gd name="connsiteX43" fmla="*/ 107827 w 591146"/>
              <a:gd name="connsiteY43" fmla="*/ 108588 h 110081"/>
              <a:gd name="connsiteX44" fmla="*/ 107827 w 591146"/>
              <a:gd name="connsiteY44" fmla="*/ 1493 h 110081"/>
              <a:gd name="connsiteX45" fmla="*/ 192735 w 591146"/>
              <a:gd name="connsiteY45" fmla="*/ 1493 h 110081"/>
              <a:gd name="connsiteX46" fmla="*/ 258171 w 591146"/>
              <a:gd name="connsiteY46" fmla="*/ 1493 h 110081"/>
              <a:gd name="connsiteX47" fmla="*/ 258171 w 591146"/>
              <a:gd name="connsiteY47" fmla="*/ 14374 h 110081"/>
              <a:gd name="connsiteX48" fmla="*/ 206778 w 591146"/>
              <a:gd name="connsiteY48" fmla="*/ 14374 h 110081"/>
              <a:gd name="connsiteX49" fmla="*/ 206778 w 591146"/>
              <a:gd name="connsiteY49" fmla="*/ 49907 h 110081"/>
              <a:gd name="connsiteX50" fmla="*/ 250402 w 591146"/>
              <a:gd name="connsiteY50" fmla="*/ 49907 h 110081"/>
              <a:gd name="connsiteX51" fmla="*/ 250402 w 591146"/>
              <a:gd name="connsiteY51" fmla="*/ 62601 h 110081"/>
              <a:gd name="connsiteX52" fmla="*/ 206778 w 591146"/>
              <a:gd name="connsiteY52" fmla="*/ 62601 h 110081"/>
              <a:gd name="connsiteX53" fmla="*/ 206778 w 591146"/>
              <a:gd name="connsiteY53" fmla="*/ 108588 h 110081"/>
              <a:gd name="connsiteX54" fmla="*/ 192735 w 591146"/>
              <a:gd name="connsiteY54" fmla="*/ 108588 h 110081"/>
              <a:gd name="connsiteX55" fmla="*/ 192735 w 591146"/>
              <a:gd name="connsiteY55" fmla="*/ 1493 h 110081"/>
              <a:gd name="connsiteX56" fmla="*/ 289899 w 591146"/>
              <a:gd name="connsiteY56" fmla="*/ 58992 h 110081"/>
              <a:gd name="connsiteX57" fmla="*/ 289899 w 591146"/>
              <a:gd name="connsiteY57" fmla="*/ 46298 h 110081"/>
              <a:gd name="connsiteX58" fmla="*/ 304242 w 591146"/>
              <a:gd name="connsiteY58" fmla="*/ 46298 h 110081"/>
              <a:gd name="connsiteX59" fmla="*/ 317837 w 591146"/>
              <a:gd name="connsiteY59" fmla="*/ 41817 h 110081"/>
              <a:gd name="connsiteX60" fmla="*/ 323215 w 591146"/>
              <a:gd name="connsiteY60" fmla="*/ 28812 h 110081"/>
              <a:gd name="connsiteX61" fmla="*/ 318285 w 591146"/>
              <a:gd name="connsiteY61" fmla="*/ 16864 h 110081"/>
              <a:gd name="connsiteX62" fmla="*/ 304092 w 591146"/>
              <a:gd name="connsiteY62" fmla="*/ 12383 h 110081"/>
              <a:gd name="connsiteX63" fmla="*/ 289451 w 591146"/>
              <a:gd name="connsiteY63" fmla="*/ 15246 h 110081"/>
              <a:gd name="connsiteX64" fmla="*/ 275408 w 591146"/>
              <a:gd name="connsiteY64" fmla="*/ 24331 h 110081"/>
              <a:gd name="connsiteX65" fmla="*/ 275408 w 591146"/>
              <a:gd name="connsiteY65" fmla="*/ 9707 h 110081"/>
              <a:gd name="connsiteX66" fmla="*/ 304242 w 591146"/>
              <a:gd name="connsiteY66" fmla="*/ 0 h 110081"/>
              <a:gd name="connsiteX67" fmla="*/ 328294 w 591146"/>
              <a:gd name="connsiteY67" fmla="*/ 7779 h 110081"/>
              <a:gd name="connsiteX68" fmla="*/ 337109 w 591146"/>
              <a:gd name="connsiteY68" fmla="*/ 28065 h 110081"/>
              <a:gd name="connsiteX69" fmla="*/ 331432 w 591146"/>
              <a:gd name="connsiteY69" fmla="*/ 44244 h 110081"/>
              <a:gd name="connsiteX70" fmla="*/ 318136 w 591146"/>
              <a:gd name="connsiteY70" fmla="*/ 52147 h 110081"/>
              <a:gd name="connsiteX71" fmla="*/ 329639 w 591146"/>
              <a:gd name="connsiteY71" fmla="*/ 56441 h 110081"/>
              <a:gd name="connsiteX72" fmla="*/ 338304 w 591146"/>
              <a:gd name="connsiteY72" fmla="*/ 65153 h 110081"/>
              <a:gd name="connsiteX73" fmla="*/ 341591 w 591146"/>
              <a:gd name="connsiteY73" fmla="*/ 77661 h 110081"/>
              <a:gd name="connsiteX74" fmla="*/ 336661 w 591146"/>
              <a:gd name="connsiteY74" fmla="*/ 94836 h 110081"/>
              <a:gd name="connsiteX75" fmla="*/ 323066 w 591146"/>
              <a:gd name="connsiteY75" fmla="*/ 106224 h 110081"/>
              <a:gd name="connsiteX76" fmla="*/ 303196 w 591146"/>
              <a:gd name="connsiteY76" fmla="*/ 110082 h 110081"/>
              <a:gd name="connsiteX77" fmla="*/ 272719 w 591146"/>
              <a:gd name="connsiteY77" fmla="*/ 100997 h 110081"/>
              <a:gd name="connsiteX78" fmla="*/ 272719 w 591146"/>
              <a:gd name="connsiteY78" fmla="*/ 86062 h 110081"/>
              <a:gd name="connsiteX79" fmla="*/ 286463 w 591146"/>
              <a:gd name="connsiteY79" fmla="*/ 94711 h 110081"/>
              <a:gd name="connsiteX80" fmla="*/ 303345 w 591146"/>
              <a:gd name="connsiteY80" fmla="*/ 97823 h 110081"/>
              <a:gd name="connsiteX81" fmla="*/ 320675 w 591146"/>
              <a:gd name="connsiteY81" fmla="*/ 92596 h 110081"/>
              <a:gd name="connsiteX82" fmla="*/ 327100 w 591146"/>
              <a:gd name="connsiteY82" fmla="*/ 77972 h 110081"/>
              <a:gd name="connsiteX83" fmla="*/ 321273 w 591146"/>
              <a:gd name="connsiteY83" fmla="*/ 64095 h 110081"/>
              <a:gd name="connsiteX84" fmla="*/ 303644 w 591146"/>
              <a:gd name="connsiteY84" fmla="*/ 58992 h 110081"/>
              <a:gd name="connsiteX85" fmla="*/ 289899 w 591146"/>
              <a:gd name="connsiteY85" fmla="*/ 58992 h 110081"/>
              <a:gd name="connsiteX86" fmla="*/ 422832 w 591146"/>
              <a:gd name="connsiteY86" fmla="*/ 108588 h 110081"/>
              <a:gd name="connsiteX87" fmla="*/ 354558 w 591146"/>
              <a:gd name="connsiteY87" fmla="*/ 108588 h 110081"/>
              <a:gd name="connsiteX88" fmla="*/ 354558 w 591146"/>
              <a:gd name="connsiteY88" fmla="*/ 94400 h 110081"/>
              <a:gd name="connsiteX89" fmla="*/ 380702 w 591146"/>
              <a:gd name="connsiteY89" fmla="*/ 72433 h 110081"/>
              <a:gd name="connsiteX90" fmla="*/ 396687 w 591146"/>
              <a:gd name="connsiteY90" fmla="*/ 56628 h 110081"/>
              <a:gd name="connsiteX91" fmla="*/ 404755 w 591146"/>
              <a:gd name="connsiteY91" fmla="*/ 43933 h 110081"/>
              <a:gd name="connsiteX92" fmla="*/ 407146 w 591146"/>
              <a:gd name="connsiteY92" fmla="*/ 32109 h 110081"/>
              <a:gd name="connsiteX93" fmla="*/ 401618 w 591146"/>
              <a:gd name="connsiteY93" fmla="*/ 17610 h 110081"/>
              <a:gd name="connsiteX94" fmla="*/ 386379 w 591146"/>
              <a:gd name="connsiteY94" fmla="*/ 12383 h 110081"/>
              <a:gd name="connsiteX95" fmla="*/ 357396 w 591146"/>
              <a:gd name="connsiteY95" fmla="*/ 27194 h 110081"/>
              <a:gd name="connsiteX96" fmla="*/ 357396 w 591146"/>
              <a:gd name="connsiteY96" fmla="*/ 12134 h 110081"/>
              <a:gd name="connsiteX97" fmla="*/ 386827 w 591146"/>
              <a:gd name="connsiteY97" fmla="*/ 0 h 110081"/>
              <a:gd name="connsiteX98" fmla="*/ 412225 w 591146"/>
              <a:gd name="connsiteY98" fmla="*/ 8401 h 110081"/>
              <a:gd name="connsiteX99" fmla="*/ 421637 w 591146"/>
              <a:gd name="connsiteY99" fmla="*/ 30803 h 110081"/>
              <a:gd name="connsiteX100" fmla="*/ 419247 w 591146"/>
              <a:gd name="connsiteY100" fmla="*/ 44804 h 110081"/>
              <a:gd name="connsiteX101" fmla="*/ 411179 w 591146"/>
              <a:gd name="connsiteY101" fmla="*/ 58681 h 110081"/>
              <a:gd name="connsiteX102" fmla="*/ 395492 w 591146"/>
              <a:gd name="connsiteY102" fmla="*/ 74860 h 110081"/>
              <a:gd name="connsiteX103" fmla="*/ 370095 w 591146"/>
              <a:gd name="connsiteY103" fmla="*/ 95769 h 110081"/>
              <a:gd name="connsiteX104" fmla="*/ 422832 w 591146"/>
              <a:gd name="connsiteY104" fmla="*/ 95769 h 110081"/>
              <a:gd name="connsiteX105" fmla="*/ 422832 w 591146"/>
              <a:gd name="connsiteY105" fmla="*/ 108588 h 110081"/>
              <a:gd name="connsiteX106" fmla="*/ 507366 w 591146"/>
              <a:gd name="connsiteY106" fmla="*/ 73491 h 110081"/>
              <a:gd name="connsiteX107" fmla="*/ 502585 w 591146"/>
              <a:gd name="connsiteY107" fmla="*/ 92782 h 110081"/>
              <a:gd name="connsiteX108" fmla="*/ 489887 w 591146"/>
              <a:gd name="connsiteY108" fmla="*/ 105601 h 110081"/>
              <a:gd name="connsiteX109" fmla="*/ 471810 w 591146"/>
              <a:gd name="connsiteY109" fmla="*/ 110082 h 110081"/>
              <a:gd name="connsiteX110" fmla="*/ 450147 w 591146"/>
              <a:gd name="connsiteY110" fmla="*/ 104108 h 110081"/>
              <a:gd name="connsiteX111" fmla="*/ 438046 w 591146"/>
              <a:gd name="connsiteY111" fmla="*/ 87555 h 110081"/>
              <a:gd name="connsiteX112" fmla="*/ 434305 w 591146"/>
              <a:gd name="connsiteY112" fmla="*/ 63161 h 110081"/>
              <a:gd name="connsiteX113" fmla="*/ 438793 w 591146"/>
              <a:gd name="connsiteY113" fmla="*/ 30181 h 110081"/>
              <a:gd name="connsiteX114" fmla="*/ 452836 w 591146"/>
              <a:gd name="connsiteY114" fmla="*/ 8089 h 110081"/>
              <a:gd name="connsiteX115" fmla="*/ 477337 w 591146"/>
              <a:gd name="connsiteY115" fmla="*/ 0 h 110081"/>
              <a:gd name="connsiteX116" fmla="*/ 499896 w 591146"/>
              <a:gd name="connsiteY116" fmla="*/ 5538 h 110081"/>
              <a:gd name="connsiteX117" fmla="*/ 499896 w 591146"/>
              <a:gd name="connsiteY117" fmla="*/ 18855 h 110081"/>
              <a:gd name="connsiteX118" fmla="*/ 477337 w 591146"/>
              <a:gd name="connsiteY118" fmla="*/ 12259 h 110081"/>
              <a:gd name="connsiteX119" fmla="*/ 461800 w 591146"/>
              <a:gd name="connsiteY119" fmla="*/ 17361 h 110081"/>
              <a:gd name="connsiteX120" fmla="*/ 451940 w 591146"/>
              <a:gd name="connsiteY120" fmla="*/ 31238 h 110081"/>
              <a:gd name="connsiteX121" fmla="*/ 447757 w 591146"/>
              <a:gd name="connsiteY121" fmla="*/ 50778 h 110081"/>
              <a:gd name="connsiteX122" fmla="*/ 459111 w 591146"/>
              <a:gd name="connsiteY122" fmla="*/ 40759 h 110081"/>
              <a:gd name="connsiteX123" fmla="*/ 473154 w 591146"/>
              <a:gd name="connsiteY123" fmla="*/ 37523 h 110081"/>
              <a:gd name="connsiteX124" fmla="*/ 490484 w 591146"/>
              <a:gd name="connsiteY124" fmla="*/ 41693 h 110081"/>
              <a:gd name="connsiteX125" fmla="*/ 502735 w 591146"/>
              <a:gd name="connsiteY125" fmla="*/ 53952 h 110081"/>
              <a:gd name="connsiteX126" fmla="*/ 507366 w 591146"/>
              <a:gd name="connsiteY126" fmla="*/ 73491 h 110081"/>
              <a:gd name="connsiteX127" fmla="*/ 471361 w 591146"/>
              <a:gd name="connsiteY127" fmla="*/ 98134 h 110081"/>
              <a:gd name="connsiteX128" fmla="*/ 482118 w 591146"/>
              <a:gd name="connsiteY128" fmla="*/ 95458 h 110081"/>
              <a:gd name="connsiteX129" fmla="*/ 490036 w 591146"/>
              <a:gd name="connsiteY129" fmla="*/ 87244 h 110081"/>
              <a:gd name="connsiteX130" fmla="*/ 493173 w 591146"/>
              <a:gd name="connsiteY130" fmla="*/ 73803 h 110081"/>
              <a:gd name="connsiteX131" fmla="*/ 490185 w 591146"/>
              <a:gd name="connsiteY131" fmla="*/ 60174 h 110081"/>
              <a:gd name="connsiteX132" fmla="*/ 482566 w 591146"/>
              <a:gd name="connsiteY132" fmla="*/ 51961 h 110081"/>
              <a:gd name="connsiteX133" fmla="*/ 472855 w 591146"/>
              <a:gd name="connsiteY133" fmla="*/ 49160 h 110081"/>
              <a:gd name="connsiteX134" fmla="*/ 456272 w 591146"/>
              <a:gd name="connsiteY134" fmla="*/ 55570 h 110081"/>
              <a:gd name="connsiteX135" fmla="*/ 449699 w 591146"/>
              <a:gd name="connsiteY135" fmla="*/ 74114 h 110081"/>
              <a:gd name="connsiteX136" fmla="*/ 455525 w 591146"/>
              <a:gd name="connsiteY136" fmla="*/ 91538 h 110081"/>
              <a:gd name="connsiteX137" fmla="*/ 471361 w 591146"/>
              <a:gd name="connsiteY137" fmla="*/ 98134 h 110081"/>
              <a:gd name="connsiteX138" fmla="*/ 524067 w 591146"/>
              <a:gd name="connsiteY138" fmla="*/ 1493 h 110081"/>
              <a:gd name="connsiteX139" fmla="*/ 590400 w 591146"/>
              <a:gd name="connsiteY139" fmla="*/ 1493 h 110081"/>
              <a:gd name="connsiteX140" fmla="*/ 590400 w 591146"/>
              <a:gd name="connsiteY140" fmla="*/ 14374 h 110081"/>
              <a:gd name="connsiteX141" fmla="*/ 538111 w 591146"/>
              <a:gd name="connsiteY141" fmla="*/ 14374 h 110081"/>
              <a:gd name="connsiteX142" fmla="*/ 538111 w 591146"/>
              <a:gd name="connsiteY142" fmla="*/ 46734 h 110081"/>
              <a:gd name="connsiteX143" fmla="*/ 582482 w 591146"/>
              <a:gd name="connsiteY143" fmla="*/ 46734 h 110081"/>
              <a:gd name="connsiteX144" fmla="*/ 582482 w 591146"/>
              <a:gd name="connsiteY144" fmla="*/ 59428 h 110081"/>
              <a:gd name="connsiteX145" fmla="*/ 538111 w 591146"/>
              <a:gd name="connsiteY145" fmla="*/ 59428 h 110081"/>
              <a:gd name="connsiteX146" fmla="*/ 538111 w 591146"/>
              <a:gd name="connsiteY146" fmla="*/ 95893 h 110081"/>
              <a:gd name="connsiteX147" fmla="*/ 591147 w 591146"/>
              <a:gd name="connsiteY147" fmla="*/ 95893 h 110081"/>
              <a:gd name="connsiteX148" fmla="*/ 591147 w 591146"/>
              <a:gd name="connsiteY148" fmla="*/ 108588 h 110081"/>
              <a:gd name="connsiteX149" fmla="*/ 524067 w 591146"/>
              <a:gd name="connsiteY149" fmla="*/ 108588 h 110081"/>
              <a:gd name="connsiteX150" fmla="*/ 524067 w 591146"/>
              <a:gd name="connsiteY150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59114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89899" y="58992"/>
                </a:moveTo>
                <a:lnTo>
                  <a:pt x="289899" y="46298"/>
                </a:lnTo>
                <a:lnTo>
                  <a:pt x="304242" y="46298"/>
                </a:lnTo>
                <a:cubicBezTo>
                  <a:pt x="309819" y="46298"/>
                  <a:pt x="314351" y="44804"/>
                  <a:pt x="317837" y="41817"/>
                </a:cubicBezTo>
                <a:cubicBezTo>
                  <a:pt x="321422" y="38768"/>
                  <a:pt x="323215" y="34412"/>
                  <a:pt x="323215" y="28812"/>
                </a:cubicBezTo>
                <a:cubicBezTo>
                  <a:pt x="323215" y="23771"/>
                  <a:pt x="321572" y="19788"/>
                  <a:pt x="318285" y="16864"/>
                </a:cubicBezTo>
                <a:cubicBezTo>
                  <a:pt x="314998" y="13877"/>
                  <a:pt x="310267" y="12383"/>
                  <a:pt x="304092" y="12383"/>
                </a:cubicBezTo>
                <a:cubicBezTo>
                  <a:pt x="298913" y="12383"/>
                  <a:pt x="294033" y="13379"/>
                  <a:pt x="289451" y="15246"/>
                </a:cubicBezTo>
                <a:cubicBezTo>
                  <a:pt x="284969" y="17113"/>
                  <a:pt x="280288" y="20162"/>
                  <a:pt x="275408" y="24331"/>
                </a:cubicBezTo>
                <a:lnTo>
                  <a:pt x="275408" y="9707"/>
                </a:lnTo>
                <a:cubicBezTo>
                  <a:pt x="283376" y="3235"/>
                  <a:pt x="292987" y="0"/>
                  <a:pt x="304242" y="0"/>
                </a:cubicBezTo>
                <a:cubicBezTo>
                  <a:pt x="314500" y="0"/>
                  <a:pt x="322518" y="2613"/>
                  <a:pt x="328294" y="7779"/>
                </a:cubicBezTo>
                <a:cubicBezTo>
                  <a:pt x="334171" y="12943"/>
                  <a:pt x="337109" y="19726"/>
                  <a:pt x="337109" y="28065"/>
                </a:cubicBezTo>
                <a:cubicBezTo>
                  <a:pt x="337109" y="34848"/>
                  <a:pt x="335217" y="40262"/>
                  <a:pt x="331432" y="44244"/>
                </a:cubicBezTo>
                <a:cubicBezTo>
                  <a:pt x="327747" y="48227"/>
                  <a:pt x="323315" y="50840"/>
                  <a:pt x="318136" y="52147"/>
                </a:cubicBezTo>
                <a:cubicBezTo>
                  <a:pt x="322319" y="52707"/>
                  <a:pt x="326153" y="54201"/>
                  <a:pt x="329639" y="56441"/>
                </a:cubicBezTo>
                <a:cubicBezTo>
                  <a:pt x="333225" y="58681"/>
                  <a:pt x="336113" y="61543"/>
                  <a:pt x="338304" y="65153"/>
                </a:cubicBezTo>
                <a:cubicBezTo>
                  <a:pt x="340495" y="68700"/>
                  <a:pt x="341591" y="72869"/>
                  <a:pt x="341591" y="77661"/>
                </a:cubicBezTo>
                <a:cubicBezTo>
                  <a:pt x="341591" y="84257"/>
                  <a:pt x="339948" y="89982"/>
                  <a:pt x="336661" y="94836"/>
                </a:cubicBezTo>
                <a:cubicBezTo>
                  <a:pt x="333374" y="99752"/>
                  <a:pt x="328842" y="103486"/>
                  <a:pt x="323066" y="106224"/>
                </a:cubicBezTo>
                <a:cubicBezTo>
                  <a:pt x="317389" y="108775"/>
                  <a:pt x="310765" y="110082"/>
                  <a:pt x="303196" y="110082"/>
                </a:cubicBezTo>
                <a:cubicBezTo>
                  <a:pt x="290049" y="110082"/>
                  <a:pt x="279890" y="107033"/>
                  <a:pt x="272719" y="100997"/>
                </a:cubicBezTo>
                <a:lnTo>
                  <a:pt x="272719" y="86062"/>
                </a:lnTo>
                <a:cubicBezTo>
                  <a:pt x="276504" y="89733"/>
                  <a:pt x="281085" y="92596"/>
                  <a:pt x="286463" y="94711"/>
                </a:cubicBezTo>
                <a:cubicBezTo>
                  <a:pt x="291842" y="96765"/>
                  <a:pt x="297469" y="97823"/>
                  <a:pt x="303345" y="97823"/>
                </a:cubicBezTo>
                <a:cubicBezTo>
                  <a:pt x="310716" y="97823"/>
                  <a:pt x="316492" y="96080"/>
                  <a:pt x="320675" y="92596"/>
                </a:cubicBezTo>
                <a:cubicBezTo>
                  <a:pt x="324958" y="89048"/>
                  <a:pt x="327100" y="84132"/>
                  <a:pt x="327100" y="77972"/>
                </a:cubicBezTo>
                <a:cubicBezTo>
                  <a:pt x="327100" y="71998"/>
                  <a:pt x="325157" y="67393"/>
                  <a:pt x="321273" y="64095"/>
                </a:cubicBezTo>
                <a:cubicBezTo>
                  <a:pt x="317488" y="60673"/>
                  <a:pt x="311612" y="58992"/>
                  <a:pt x="303644" y="58992"/>
                </a:cubicBezTo>
                <a:lnTo>
                  <a:pt x="289899" y="58992"/>
                </a:lnTo>
                <a:close/>
                <a:moveTo>
                  <a:pt x="422832" y="108588"/>
                </a:moveTo>
                <a:lnTo>
                  <a:pt x="354558" y="108588"/>
                </a:lnTo>
                <a:lnTo>
                  <a:pt x="354558" y="94400"/>
                </a:lnTo>
                <a:cubicBezTo>
                  <a:pt x="365214" y="85812"/>
                  <a:pt x="373929" y="78532"/>
                  <a:pt x="380702" y="72433"/>
                </a:cubicBezTo>
                <a:cubicBezTo>
                  <a:pt x="387574" y="66397"/>
                  <a:pt x="392903" y="61108"/>
                  <a:pt x="396687" y="56628"/>
                </a:cubicBezTo>
                <a:cubicBezTo>
                  <a:pt x="400572" y="52023"/>
                  <a:pt x="403261" y="47791"/>
                  <a:pt x="404755" y="43933"/>
                </a:cubicBezTo>
                <a:cubicBezTo>
                  <a:pt x="406348" y="40012"/>
                  <a:pt x="407146" y="36092"/>
                  <a:pt x="407146" y="32109"/>
                </a:cubicBezTo>
                <a:cubicBezTo>
                  <a:pt x="407146" y="25949"/>
                  <a:pt x="405303" y="21095"/>
                  <a:pt x="401618" y="17610"/>
                </a:cubicBezTo>
                <a:cubicBezTo>
                  <a:pt x="397932" y="14125"/>
                  <a:pt x="392853" y="12383"/>
                  <a:pt x="386379" y="12383"/>
                </a:cubicBezTo>
                <a:cubicBezTo>
                  <a:pt x="376021" y="12383"/>
                  <a:pt x="366360" y="17361"/>
                  <a:pt x="357396" y="27194"/>
                </a:cubicBezTo>
                <a:lnTo>
                  <a:pt x="357396" y="12134"/>
                </a:lnTo>
                <a:cubicBezTo>
                  <a:pt x="365663" y="4044"/>
                  <a:pt x="375473" y="0"/>
                  <a:pt x="386827" y="0"/>
                </a:cubicBezTo>
                <a:cubicBezTo>
                  <a:pt x="397584" y="0"/>
                  <a:pt x="406050" y="2800"/>
                  <a:pt x="412225" y="8401"/>
                </a:cubicBezTo>
                <a:cubicBezTo>
                  <a:pt x="418500" y="13877"/>
                  <a:pt x="421637" y="21344"/>
                  <a:pt x="421637" y="30803"/>
                </a:cubicBezTo>
                <a:cubicBezTo>
                  <a:pt x="421637" y="35657"/>
                  <a:pt x="420840" y="40324"/>
                  <a:pt x="419247" y="44804"/>
                </a:cubicBezTo>
                <a:cubicBezTo>
                  <a:pt x="417753" y="49222"/>
                  <a:pt x="415063" y="53827"/>
                  <a:pt x="411179" y="58681"/>
                </a:cubicBezTo>
                <a:cubicBezTo>
                  <a:pt x="407394" y="63473"/>
                  <a:pt x="402165" y="68887"/>
                  <a:pt x="395492" y="74860"/>
                </a:cubicBezTo>
                <a:cubicBezTo>
                  <a:pt x="388819" y="80835"/>
                  <a:pt x="380353" y="87804"/>
                  <a:pt x="370095" y="95769"/>
                </a:cubicBezTo>
                <a:lnTo>
                  <a:pt x="422832" y="95769"/>
                </a:lnTo>
                <a:lnTo>
                  <a:pt x="422832" y="108588"/>
                </a:lnTo>
                <a:close/>
                <a:moveTo>
                  <a:pt x="507366" y="73491"/>
                </a:moveTo>
                <a:cubicBezTo>
                  <a:pt x="507366" y="80772"/>
                  <a:pt x="505773" y="87182"/>
                  <a:pt x="502585" y="92782"/>
                </a:cubicBezTo>
                <a:cubicBezTo>
                  <a:pt x="499498" y="98258"/>
                  <a:pt x="495265" y="102490"/>
                  <a:pt x="489887" y="105601"/>
                </a:cubicBezTo>
                <a:cubicBezTo>
                  <a:pt x="484508" y="108588"/>
                  <a:pt x="478483" y="110082"/>
                  <a:pt x="471810" y="110082"/>
                </a:cubicBezTo>
                <a:cubicBezTo>
                  <a:pt x="462846" y="110082"/>
                  <a:pt x="455625" y="108091"/>
                  <a:pt x="450147" y="104108"/>
                </a:cubicBezTo>
                <a:cubicBezTo>
                  <a:pt x="444669" y="100125"/>
                  <a:pt x="440635" y="94587"/>
                  <a:pt x="438046" y="87555"/>
                </a:cubicBezTo>
                <a:cubicBezTo>
                  <a:pt x="435556" y="80461"/>
                  <a:pt x="434305" y="72372"/>
                  <a:pt x="434305" y="63161"/>
                </a:cubicBezTo>
                <a:cubicBezTo>
                  <a:pt x="434305" y="50653"/>
                  <a:pt x="435805" y="39639"/>
                  <a:pt x="438793" y="30181"/>
                </a:cubicBezTo>
                <a:cubicBezTo>
                  <a:pt x="441880" y="20722"/>
                  <a:pt x="446561" y="13379"/>
                  <a:pt x="452836" y="8089"/>
                </a:cubicBezTo>
                <a:cubicBezTo>
                  <a:pt x="459210" y="2675"/>
                  <a:pt x="467377" y="0"/>
                  <a:pt x="477337" y="0"/>
                </a:cubicBezTo>
                <a:cubicBezTo>
                  <a:pt x="485903" y="0"/>
                  <a:pt x="493422" y="1866"/>
                  <a:pt x="499896" y="5538"/>
                </a:cubicBezTo>
                <a:lnTo>
                  <a:pt x="499896" y="18855"/>
                </a:lnTo>
                <a:cubicBezTo>
                  <a:pt x="493422" y="14437"/>
                  <a:pt x="485903" y="12259"/>
                  <a:pt x="477337" y="12259"/>
                </a:cubicBezTo>
                <a:cubicBezTo>
                  <a:pt x="471162" y="12259"/>
                  <a:pt x="465983" y="13939"/>
                  <a:pt x="461800" y="17361"/>
                </a:cubicBezTo>
                <a:cubicBezTo>
                  <a:pt x="457617" y="20722"/>
                  <a:pt x="454330" y="25327"/>
                  <a:pt x="451940" y="31238"/>
                </a:cubicBezTo>
                <a:cubicBezTo>
                  <a:pt x="449649" y="37026"/>
                  <a:pt x="448254" y="43498"/>
                  <a:pt x="447757" y="50778"/>
                </a:cubicBezTo>
                <a:cubicBezTo>
                  <a:pt x="451043" y="46298"/>
                  <a:pt x="454828" y="42999"/>
                  <a:pt x="459111" y="40759"/>
                </a:cubicBezTo>
                <a:cubicBezTo>
                  <a:pt x="463393" y="38581"/>
                  <a:pt x="468075" y="37523"/>
                  <a:pt x="473154" y="37523"/>
                </a:cubicBezTo>
                <a:cubicBezTo>
                  <a:pt x="479628" y="37523"/>
                  <a:pt x="485405" y="38893"/>
                  <a:pt x="490484" y="41693"/>
                </a:cubicBezTo>
                <a:cubicBezTo>
                  <a:pt x="495663" y="44493"/>
                  <a:pt x="499747" y="48538"/>
                  <a:pt x="502735" y="53952"/>
                </a:cubicBezTo>
                <a:cubicBezTo>
                  <a:pt x="505822" y="59179"/>
                  <a:pt x="507366" y="65713"/>
                  <a:pt x="507366" y="73491"/>
                </a:cubicBezTo>
                <a:close/>
                <a:moveTo>
                  <a:pt x="471361" y="98134"/>
                </a:moveTo>
                <a:cubicBezTo>
                  <a:pt x="475246" y="98134"/>
                  <a:pt x="478831" y="97263"/>
                  <a:pt x="482118" y="95458"/>
                </a:cubicBezTo>
                <a:cubicBezTo>
                  <a:pt x="485405" y="93529"/>
                  <a:pt x="488044" y="90791"/>
                  <a:pt x="490036" y="87244"/>
                </a:cubicBezTo>
                <a:cubicBezTo>
                  <a:pt x="492128" y="83635"/>
                  <a:pt x="493173" y="79154"/>
                  <a:pt x="493173" y="73803"/>
                </a:cubicBezTo>
                <a:cubicBezTo>
                  <a:pt x="493173" y="68389"/>
                  <a:pt x="492177" y="63908"/>
                  <a:pt x="490185" y="60174"/>
                </a:cubicBezTo>
                <a:cubicBezTo>
                  <a:pt x="488193" y="56503"/>
                  <a:pt x="485654" y="53765"/>
                  <a:pt x="482566" y="51961"/>
                </a:cubicBezTo>
                <a:cubicBezTo>
                  <a:pt x="479479" y="50093"/>
                  <a:pt x="476242" y="49160"/>
                  <a:pt x="472855" y="49160"/>
                </a:cubicBezTo>
                <a:cubicBezTo>
                  <a:pt x="466282" y="49160"/>
                  <a:pt x="460754" y="51276"/>
                  <a:pt x="456272" y="55570"/>
                </a:cubicBezTo>
                <a:cubicBezTo>
                  <a:pt x="451890" y="59739"/>
                  <a:pt x="449699" y="65900"/>
                  <a:pt x="449699" y="74114"/>
                </a:cubicBezTo>
                <a:cubicBezTo>
                  <a:pt x="449699" y="81270"/>
                  <a:pt x="451641" y="87058"/>
                  <a:pt x="455525" y="91538"/>
                </a:cubicBezTo>
                <a:cubicBezTo>
                  <a:pt x="459410" y="95956"/>
                  <a:pt x="464688" y="98134"/>
                  <a:pt x="471361" y="98134"/>
                </a:cubicBezTo>
                <a:close/>
                <a:moveTo>
                  <a:pt x="524067" y="1493"/>
                </a:moveTo>
                <a:lnTo>
                  <a:pt x="590400" y="1493"/>
                </a:lnTo>
                <a:lnTo>
                  <a:pt x="590400" y="14374"/>
                </a:lnTo>
                <a:lnTo>
                  <a:pt x="538111" y="14374"/>
                </a:lnTo>
                <a:lnTo>
                  <a:pt x="538111" y="46734"/>
                </a:lnTo>
                <a:lnTo>
                  <a:pt x="582482" y="46734"/>
                </a:lnTo>
                <a:lnTo>
                  <a:pt x="582482" y="59428"/>
                </a:lnTo>
                <a:lnTo>
                  <a:pt x="538111" y="59428"/>
                </a:lnTo>
                <a:lnTo>
                  <a:pt x="538111" y="95893"/>
                </a:lnTo>
                <a:lnTo>
                  <a:pt x="591147" y="95893"/>
                </a:lnTo>
                <a:lnTo>
                  <a:pt x="591147" y="108588"/>
                </a:lnTo>
                <a:lnTo>
                  <a:pt x="524067" y="108588"/>
                </a:lnTo>
                <a:lnTo>
                  <a:pt x="52406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3" name="Полилиния 1012">
            <a:extLst>
              <a:ext uri="{FF2B5EF4-FFF2-40B4-BE49-F238E27FC236}">
                <a16:creationId xmlns:a16="http://schemas.microsoft.com/office/drawing/2014/main" id="{57F0F071-FB7F-BD64-A74A-9046B544A6C8}"/>
              </a:ext>
            </a:extLst>
          </p:cNvPr>
          <p:cNvSpPr/>
          <p:nvPr userDrawn="1"/>
        </p:nvSpPr>
        <p:spPr>
          <a:xfrm>
            <a:off x="18445574" y="8144980"/>
            <a:ext cx="1398954" cy="726227"/>
          </a:xfrm>
          <a:custGeom>
            <a:avLst/>
            <a:gdLst>
              <a:gd name="connsiteX0" fmla="*/ 850 w 1198727"/>
              <a:gd name="connsiteY0" fmla="*/ 1622 h 622284"/>
              <a:gd name="connsiteX1" fmla="*/ 1199578 w 1198727"/>
              <a:gd name="connsiteY1" fmla="*/ 1622 h 622284"/>
              <a:gd name="connsiteX2" fmla="*/ 1199578 w 1198727"/>
              <a:gd name="connsiteY2" fmla="*/ 623906 h 622284"/>
              <a:gd name="connsiteX3" fmla="*/ 850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622"/>
                </a:moveTo>
                <a:lnTo>
                  <a:pt x="1199578" y="1622"/>
                </a:lnTo>
                <a:lnTo>
                  <a:pt x="1199578" y="623906"/>
                </a:lnTo>
                <a:lnTo>
                  <a:pt x="850" y="623906"/>
                </a:lnTo>
                <a:close/>
              </a:path>
            </a:pathLst>
          </a:custGeom>
          <a:solidFill>
            <a:srgbClr val="FF64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4" name="Полилиния 1013">
            <a:extLst>
              <a:ext uri="{FF2B5EF4-FFF2-40B4-BE49-F238E27FC236}">
                <a16:creationId xmlns:a16="http://schemas.microsoft.com/office/drawing/2014/main" id="{43FBCFAE-C9AE-0E6A-0E97-48A1116EFED3}"/>
              </a:ext>
            </a:extLst>
          </p:cNvPr>
          <p:cNvSpPr/>
          <p:nvPr userDrawn="1"/>
        </p:nvSpPr>
        <p:spPr>
          <a:xfrm>
            <a:off x="18568782" y="8446726"/>
            <a:ext cx="687970" cy="128468"/>
          </a:xfrm>
          <a:custGeom>
            <a:avLst/>
            <a:gdLst>
              <a:gd name="connsiteX0" fmla="*/ 22111 w 589503"/>
              <a:gd name="connsiteY0" fmla="*/ 108588 h 110081"/>
              <a:gd name="connsiteX1" fmla="*/ 10159 w 589503"/>
              <a:gd name="connsiteY1" fmla="*/ 108588 h 110081"/>
              <a:gd name="connsiteX2" fmla="*/ 16433 w 589503"/>
              <a:gd name="connsiteY2" fmla="*/ 77661 h 110081"/>
              <a:gd name="connsiteX3" fmla="*/ 0 w 589503"/>
              <a:gd name="connsiteY3" fmla="*/ 77661 h 110081"/>
              <a:gd name="connsiteX4" fmla="*/ 0 w 589503"/>
              <a:gd name="connsiteY4" fmla="*/ 67206 h 110081"/>
              <a:gd name="connsiteX5" fmla="*/ 18675 w 589503"/>
              <a:gd name="connsiteY5" fmla="*/ 67206 h 110081"/>
              <a:gd name="connsiteX6" fmla="*/ 24202 w 589503"/>
              <a:gd name="connsiteY6" fmla="*/ 40012 h 110081"/>
              <a:gd name="connsiteX7" fmla="*/ 4033 w 589503"/>
              <a:gd name="connsiteY7" fmla="*/ 40012 h 110081"/>
              <a:gd name="connsiteX8" fmla="*/ 4033 w 589503"/>
              <a:gd name="connsiteY8" fmla="*/ 29559 h 110081"/>
              <a:gd name="connsiteX9" fmla="*/ 26294 w 589503"/>
              <a:gd name="connsiteY9" fmla="*/ 29559 h 110081"/>
              <a:gd name="connsiteX10" fmla="*/ 32120 w 589503"/>
              <a:gd name="connsiteY10" fmla="*/ 1493 h 110081"/>
              <a:gd name="connsiteX11" fmla="*/ 44072 w 589503"/>
              <a:gd name="connsiteY11" fmla="*/ 1493 h 110081"/>
              <a:gd name="connsiteX12" fmla="*/ 38246 w 589503"/>
              <a:gd name="connsiteY12" fmla="*/ 29559 h 110081"/>
              <a:gd name="connsiteX13" fmla="*/ 60655 w 589503"/>
              <a:gd name="connsiteY13" fmla="*/ 29559 h 110081"/>
              <a:gd name="connsiteX14" fmla="*/ 66482 w 589503"/>
              <a:gd name="connsiteY14" fmla="*/ 1493 h 110081"/>
              <a:gd name="connsiteX15" fmla="*/ 78434 w 589503"/>
              <a:gd name="connsiteY15" fmla="*/ 1493 h 110081"/>
              <a:gd name="connsiteX16" fmla="*/ 72607 w 589503"/>
              <a:gd name="connsiteY16" fmla="*/ 29559 h 110081"/>
              <a:gd name="connsiteX17" fmla="*/ 89340 w 589503"/>
              <a:gd name="connsiteY17" fmla="*/ 29559 h 110081"/>
              <a:gd name="connsiteX18" fmla="*/ 89340 w 589503"/>
              <a:gd name="connsiteY18" fmla="*/ 40012 h 110081"/>
              <a:gd name="connsiteX19" fmla="*/ 70516 w 589503"/>
              <a:gd name="connsiteY19" fmla="*/ 40012 h 110081"/>
              <a:gd name="connsiteX20" fmla="*/ 64988 w 589503"/>
              <a:gd name="connsiteY20" fmla="*/ 67206 h 110081"/>
              <a:gd name="connsiteX21" fmla="*/ 85306 w 589503"/>
              <a:gd name="connsiteY21" fmla="*/ 67206 h 110081"/>
              <a:gd name="connsiteX22" fmla="*/ 85306 w 589503"/>
              <a:gd name="connsiteY22" fmla="*/ 77661 h 110081"/>
              <a:gd name="connsiteX23" fmla="*/ 62747 w 589503"/>
              <a:gd name="connsiteY23" fmla="*/ 77661 h 110081"/>
              <a:gd name="connsiteX24" fmla="*/ 56472 w 589503"/>
              <a:gd name="connsiteY24" fmla="*/ 108588 h 110081"/>
              <a:gd name="connsiteX25" fmla="*/ 44520 w 589503"/>
              <a:gd name="connsiteY25" fmla="*/ 108588 h 110081"/>
              <a:gd name="connsiteX26" fmla="*/ 50795 w 589503"/>
              <a:gd name="connsiteY26" fmla="*/ 77661 h 110081"/>
              <a:gd name="connsiteX27" fmla="*/ 28386 w 589503"/>
              <a:gd name="connsiteY27" fmla="*/ 77661 h 110081"/>
              <a:gd name="connsiteX28" fmla="*/ 22111 w 589503"/>
              <a:gd name="connsiteY28" fmla="*/ 108588 h 110081"/>
              <a:gd name="connsiteX29" fmla="*/ 30626 w 589503"/>
              <a:gd name="connsiteY29" fmla="*/ 67206 h 110081"/>
              <a:gd name="connsiteX30" fmla="*/ 53036 w 589503"/>
              <a:gd name="connsiteY30" fmla="*/ 67206 h 110081"/>
              <a:gd name="connsiteX31" fmla="*/ 58564 w 589503"/>
              <a:gd name="connsiteY31" fmla="*/ 40012 h 110081"/>
              <a:gd name="connsiteX32" fmla="*/ 36154 w 589503"/>
              <a:gd name="connsiteY32" fmla="*/ 40012 h 110081"/>
              <a:gd name="connsiteX33" fmla="*/ 30626 w 589503"/>
              <a:gd name="connsiteY33" fmla="*/ 67206 h 110081"/>
              <a:gd name="connsiteX34" fmla="*/ 107827 w 589503"/>
              <a:gd name="connsiteY34" fmla="*/ 1493 h 110081"/>
              <a:gd name="connsiteX35" fmla="*/ 173264 w 589503"/>
              <a:gd name="connsiteY35" fmla="*/ 1493 h 110081"/>
              <a:gd name="connsiteX36" fmla="*/ 173264 w 589503"/>
              <a:gd name="connsiteY36" fmla="*/ 14374 h 110081"/>
              <a:gd name="connsiteX37" fmla="*/ 121871 w 589503"/>
              <a:gd name="connsiteY37" fmla="*/ 14374 h 110081"/>
              <a:gd name="connsiteX38" fmla="*/ 121871 w 589503"/>
              <a:gd name="connsiteY38" fmla="*/ 49907 h 110081"/>
              <a:gd name="connsiteX39" fmla="*/ 165495 w 589503"/>
              <a:gd name="connsiteY39" fmla="*/ 49907 h 110081"/>
              <a:gd name="connsiteX40" fmla="*/ 165495 w 589503"/>
              <a:gd name="connsiteY40" fmla="*/ 62601 h 110081"/>
              <a:gd name="connsiteX41" fmla="*/ 121871 w 589503"/>
              <a:gd name="connsiteY41" fmla="*/ 62601 h 110081"/>
              <a:gd name="connsiteX42" fmla="*/ 121871 w 589503"/>
              <a:gd name="connsiteY42" fmla="*/ 108588 h 110081"/>
              <a:gd name="connsiteX43" fmla="*/ 107827 w 589503"/>
              <a:gd name="connsiteY43" fmla="*/ 108588 h 110081"/>
              <a:gd name="connsiteX44" fmla="*/ 107827 w 589503"/>
              <a:gd name="connsiteY44" fmla="*/ 1493 h 110081"/>
              <a:gd name="connsiteX45" fmla="*/ 192735 w 589503"/>
              <a:gd name="connsiteY45" fmla="*/ 1493 h 110081"/>
              <a:gd name="connsiteX46" fmla="*/ 258171 w 589503"/>
              <a:gd name="connsiteY46" fmla="*/ 1493 h 110081"/>
              <a:gd name="connsiteX47" fmla="*/ 258171 w 589503"/>
              <a:gd name="connsiteY47" fmla="*/ 14374 h 110081"/>
              <a:gd name="connsiteX48" fmla="*/ 206778 w 589503"/>
              <a:gd name="connsiteY48" fmla="*/ 14374 h 110081"/>
              <a:gd name="connsiteX49" fmla="*/ 206778 w 589503"/>
              <a:gd name="connsiteY49" fmla="*/ 49907 h 110081"/>
              <a:gd name="connsiteX50" fmla="*/ 250402 w 589503"/>
              <a:gd name="connsiteY50" fmla="*/ 49907 h 110081"/>
              <a:gd name="connsiteX51" fmla="*/ 250402 w 589503"/>
              <a:gd name="connsiteY51" fmla="*/ 62601 h 110081"/>
              <a:gd name="connsiteX52" fmla="*/ 206778 w 589503"/>
              <a:gd name="connsiteY52" fmla="*/ 62601 h 110081"/>
              <a:gd name="connsiteX53" fmla="*/ 206778 w 589503"/>
              <a:gd name="connsiteY53" fmla="*/ 108588 h 110081"/>
              <a:gd name="connsiteX54" fmla="*/ 192735 w 589503"/>
              <a:gd name="connsiteY54" fmla="*/ 108588 h 110081"/>
              <a:gd name="connsiteX55" fmla="*/ 192735 w 589503"/>
              <a:gd name="connsiteY55" fmla="*/ 1493 h 110081"/>
              <a:gd name="connsiteX56" fmla="*/ 343085 w 589503"/>
              <a:gd name="connsiteY56" fmla="*/ 73491 h 110081"/>
              <a:gd name="connsiteX57" fmla="*/ 338304 w 589503"/>
              <a:gd name="connsiteY57" fmla="*/ 92782 h 110081"/>
              <a:gd name="connsiteX58" fmla="*/ 325606 w 589503"/>
              <a:gd name="connsiteY58" fmla="*/ 105601 h 110081"/>
              <a:gd name="connsiteX59" fmla="*/ 307528 w 589503"/>
              <a:gd name="connsiteY59" fmla="*/ 110082 h 110081"/>
              <a:gd name="connsiteX60" fmla="*/ 285866 w 589503"/>
              <a:gd name="connsiteY60" fmla="*/ 104108 h 110081"/>
              <a:gd name="connsiteX61" fmla="*/ 273765 w 589503"/>
              <a:gd name="connsiteY61" fmla="*/ 87555 h 110081"/>
              <a:gd name="connsiteX62" fmla="*/ 270030 w 589503"/>
              <a:gd name="connsiteY62" fmla="*/ 63161 h 110081"/>
              <a:gd name="connsiteX63" fmla="*/ 274512 w 589503"/>
              <a:gd name="connsiteY63" fmla="*/ 30181 h 110081"/>
              <a:gd name="connsiteX64" fmla="*/ 288555 w 589503"/>
              <a:gd name="connsiteY64" fmla="*/ 8089 h 110081"/>
              <a:gd name="connsiteX65" fmla="*/ 313056 w 589503"/>
              <a:gd name="connsiteY65" fmla="*/ 0 h 110081"/>
              <a:gd name="connsiteX66" fmla="*/ 335615 w 589503"/>
              <a:gd name="connsiteY66" fmla="*/ 5538 h 110081"/>
              <a:gd name="connsiteX67" fmla="*/ 335615 w 589503"/>
              <a:gd name="connsiteY67" fmla="*/ 18855 h 110081"/>
              <a:gd name="connsiteX68" fmla="*/ 313056 w 589503"/>
              <a:gd name="connsiteY68" fmla="*/ 12259 h 110081"/>
              <a:gd name="connsiteX69" fmla="*/ 297519 w 589503"/>
              <a:gd name="connsiteY69" fmla="*/ 17361 h 110081"/>
              <a:gd name="connsiteX70" fmla="*/ 287659 w 589503"/>
              <a:gd name="connsiteY70" fmla="*/ 31238 h 110081"/>
              <a:gd name="connsiteX71" fmla="*/ 283476 w 589503"/>
              <a:gd name="connsiteY71" fmla="*/ 50778 h 110081"/>
              <a:gd name="connsiteX72" fmla="*/ 294830 w 589503"/>
              <a:gd name="connsiteY72" fmla="*/ 40759 h 110081"/>
              <a:gd name="connsiteX73" fmla="*/ 308873 w 589503"/>
              <a:gd name="connsiteY73" fmla="*/ 37523 h 110081"/>
              <a:gd name="connsiteX74" fmla="*/ 326203 w 589503"/>
              <a:gd name="connsiteY74" fmla="*/ 41693 h 110081"/>
              <a:gd name="connsiteX75" fmla="*/ 338454 w 589503"/>
              <a:gd name="connsiteY75" fmla="*/ 53952 h 110081"/>
              <a:gd name="connsiteX76" fmla="*/ 343085 w 589503"/>
              <a:gd name="connsiteY76" fmla="*/ 73491 h 110081"/>
              <a:gd name="connsiteX77" fmla="*/ 307080 w 589503"/>
              <a:gd name="connsiteY77" fmla="*/ 98134 h 110081"/>
              <a:gd name="connsiteX78" fmla="*/ 317837 w 589503"/>
              <a:gd name="connsiteY78" fmla="*/ 95458 h 110081"/>
              <a:gd name="connsiteX79" fmla="*/ 325755 w 589503"/>
              <a:gd name="connsiteY79" fmla="*/ 87244 h 110081"/>
              <a:gd name="connsiteX80" fmla="*/ 328892 w 589503"/>
              <a:gd name="connsiteY80" fmla="*/ 73803 h 110081"/>
              <a:gd name="connsiteX81" fmla="*/ 325904 w 589503"/>
              <a:gd name="connsiteY81" fmla="*/ 60174 h 110081"/>
              <a:gd name="connsiteX82" fmla="*/ 318285 w 589503"/>
              <a:gd name="connsiteY82" fmla="*/ 51961 h 110081"/>
              <a:gd name="connsiteX83" fmla="*/ 308574 w 589503"/>
              <a:gd name="connsiteY83" fmla="*/ 49160 h 110081"/>
              <a:gd name="connsiteX84" fmla="*/ 291991 w 589503"/>
              <a:gd name="connsiteY84" fmla="*/ 55570 h 110081"/>
              <a:gd name="connsiteX85" fmla="*/ 285417 w 589503"/>
              <a:gd name="connsiteY85" fmla="*/ 74114 h 110081"/>
              <a:gd name="connsiteX86" fmla="*/ 291244 w 589503"/>
              <a:gd name="connsiteY86" fmla="*/ 91538 h 110081"/>
              <a:gd name="connsiteX87" fmla="*/ 307080 w 589503"/>
              <a:gd name="connsiteY87" fmla="*/ 98134 h 110081"/>
              <a:gd name="connsiteX88" fmla="*/ 410731 w 589503"/>
              <a:gd name="connsiteY88" fmla="*/ 108588 h 110081"/>
              <a:gd name="connsiteX89" fmla="*/ 397584 w 589503"/>
              <a:gd name="connsiteY89" fmla="*/ 108588 h 110081"/>
              <a:gd name="connsiteX90" fmla="*/ 397584 w 589503"/>
              <a:gd name="connsiteY90" fmla="*/ 83199 h 110081"/>
              <a:gd name="connsiteX91" fmla="*/ 351271 w 589503"/>
              <a:gd name="connsiteY91" fmla="*/ 83199 h 110081"/>
              <a:gd name="connsiteX92" fmla="*/ 351271 w 589503"/>
              <a:gd name="connsiteY92" fmla="*/ 73927 h 110081"/>
              <a:gd name="connsiteX93" fmla="*/ 393102 w 589503"/>
              <a:gd name="connsiteY93" fmla="*/ 1493 h 110081"/>
              <a:gd name="connsiteX94" fmla="*/ 410731 w 589503"/>
              <a:gd name="connsiteY94" fmla="*/ 1493 h 110081"/>
              <a:gd name="connsiteX95" fmla="*/ 410731 w 589503"/>
              <a:gd name="connsiteY95" fmla="*/ 71873 h 110081"/>
              <a:gd name="connsiteX96" fmla="*/ 425223 w 589503"/>
              <a:gd name="connsiteY96" fmla="*/ 71873 h 110081"/>
              <a:gd name="connsiteX97" fmla="*/ 425223 w 589503"/>
              <a:gd name="connsiteY97" fmla="*/ 83199 h 110081"/>
              <a:gd name="connsiteX98" fmla="*/ 410731 w 589503"/>
              <a:gd name="connsiteY98" fmla="*/ 83199 h 110081"/>
              <a:gd name="connsiteX99" fmla="*/ 410731 w 589503"/>
              <a:gd name="connsiteY99" fmla="*/ 108588 h 110081"/>
              <a:gd name="connsiteX100" fmla="*/ 364866 w 589503"/>
              <a:gd name="connsiteY100" fmla="*/ 71873 h 110081"/>
              <a:gd name="connsiteX101" fmla="*/ 397584 w 589503"/>
              <a:gd name="connsiteY101" fmla="*/ 71873 h 110081"/>
              <a:gd name="connsiteX102" fmla="*/ 397584 w 589503"/>
              <a:gd name="connsiteY102" fmla="*/ 16117 h 110081"/>
              <a:gd name="connsiteX103" fmla="*/ 364866 w 589503"/>
              <a:gd name="connsiteY103" fmla="*/ 71873 h 110081"/>
              <a:gd name="connsiteX104" fmla="*/ 434305 w 589503"/>
              <a:gd name="connsiteY104" fmla="*/ 35844 h 110081"/>
              <a:gd name="connsiteX105" fmla="*/ 438942 w 589503"/>
              <a:gd name="connsiteY105" fmla="*/ 17051 h 110081"/>
              <a:gd name="connsiteX106" fmla="*/ 451790 w 589503"/>
              <a:gd name="connsiteY106" fmla="*/ 4480 h 110081"/>
              <a:gd name="connsiteX107" fmla="*/ 469867 w 589503"/>
              <a:gd name="connsiteY107" fmla="*/ 0 h 110081"/>
              <a:gd name="connsiteX108" fmla="*/ 491530 w 589503"/>
              <a:gd name="connsiteY108" fmla="*/ 5849 h 110081"/>
              <a:gd name="connsiteX109" fmla="*/ 503631 w 589503"/>
              <a:gd name="connsiteY109" fmla="*/ 21842 h 110081"/>
              <a:gd name="connsiteX110" fmla="*/ 507366 w 589503"/>
              <a:gd name="connsiteY110" fmla="*/ 45426 h 110081"/>
              <a:gd name="connsiteX111" fmla="*/ 502735 w 589503"/>
              <a:gd name="connsiteY111" fmla="*/ 80088 h 110081"/>
              <a:gd name="connsiteX112" fmla="*/ 488393 w 589503"/>
              <a:gd name="connsiteY112" fmla="*/ 102303 h 110081"/>
              <a:gd name="connsiteX113" fmla="*/ 463891 w 589503"/>
              <a:gd name="connsiteY113" fmla="*/ 110082 h 110081"/>
              <a:gd name="connsiteX114" fmla="*/ 440884 w 589503"/>
              <a:gd name="connsiteY114" fmla="*/ 104543 h 110081"/>
              <a:gd name="connsiteX115" fmla="*/ 440884 w 589503"/>
              <a:gd name="connsiteY115" fmla="*/ 91413 h 110081"/>
              <a:gd name="connsiteX116" fmla="*/ 463891 w 589503"/>
              <a:gd name="connsiteY116" fmla="*/ 98010 h 110081"/>
              <a:gd name="connsiteX117" fmla="*/ 479429 w 589503"/>
              <a:gd name="connsiteY117" fmla="*/ 92907 h 110081"/>
              <a:gd name="connsiteX118" fmla="*/ 489140 w 589503"/>
              <a:gd name="connsiteY118" fmla="*/ 79154 h 110081"/>
              <a:gd name="connsiteX119" fmla="*/ 493472 w 589503"/>
              <a:gd name="connsiteY119" fmla="*/ 59739 h 110081"/>
              <a:gd name="connsiteX120" fmla="*/ 482417 w 589503"/>
              <a:gd name="connsiteY120" fmla="*/ 68389 h 110081"/>
              <a:gd name="connsiteX121" fmla="*/ 468523 w 589503"/>
              <a:gd name="connsiteY121" fmla="*/ 71127 h 110081"/>
              <a:gd name="connsiteX122" fmla="*/ 451193 w 589503"/>
              <a:gd name="connsiteY122" fmla="*/ 67082 h 110081"/>
              <a:gd name="connsiteX123" fmla="*/ 438793 w 589503"/>
              <a:gd name="connsiteY123" fmla="*/ 55134 h 110081"/>
              <a:gd name="connsiteX124" fmla="*/ 434305 w 589503"/>
              <a:gd name="connsiteY124" fmla="*/ 35844 h 110081"/>
              <a:gd name="connsiteX125" fmla="*/ 470315 w 589503"/>
              <a:gd name="connsiteY125" fmla="*/ 12134 h 110081"/>
              <a:gd name="connsiteX126" fmla="*/ 459559 w 589503"/>
              <a:gd name="connsiteY126" fmla="*/ 14810 h 110081"/>
              <a:gd name="connsiteX127" fmla="*/ 451491 w 589503"/>
              <a:gd name="connsiteY127" fmla="*/ 22589 h 110081"/>
              <a:gd name="connsiteX128" fmla="*/ 448504 w 589503"/>
              <a:gd name="connsiteY128" fmla="*/ 35532 h 110081"/>
              <a:gd name="connsiteX129" fmla="*/ 451491 w 589503"/>
              <a:gd name="connsiteY129" fmla="*/ 48725 h 110081"/>
              <a:gd name="connsiteX130" fmla="*/ 459111 w 589503"/>
              <a:gd name="connsiteY130" fmla="*/ 56752 h 110081"/>
              <a:gd name="connsiteX131" fmla="*/ 468815 w 589503"/>
              <a:gd name="connsiteY131" fmla="*/ 59428 h 110081"/>
              <a:gd name="connsiteX132" fmla="*/ 485255 w 589503"/>
              <a:gd name="connsiteY132" fmla="*/ 53329 h 110081"/>
              <a:gd name="connsiteX133" fmla="*/ 491978 w 589503"/>
              <a:gd name="connsiteY133" fmla="*/ 35283 h 110081"/>
              <a:gd name="connsiteX134" fmla="*/ 486152 w 589503"/>
              <a:gd name="connsiteY134" fmla="*/ 18544 h 110081"/>
              <a:gd name="connsiteX135" fmla="*/ 470315 w 589503"/>
              <a:gd name="connsiteY135" fmla="*/ 12134 h 110081"/>
              <a:gd name="connsiteX136" fmla="*/ 589504 w 589503"/>
              <a:gd name="connsiteY136" fmla="*/ 73491 h 110081"/>
              <a:gd name="connsiteX137" fmla="*/ 584723 w 589503"/>
              <a:gd name="connsiteY137" fmla="*/ 92782 h 110081"/>
              <a:gd name="connsiteX138" fmla="*/ 572024 w 589503"/>
              <a:gd name="connsiteY138" fmla="*/ 105601 h 110081"/>
              <a:gd name="connsiteX139" fmla="*/ 553947 w 589503"/>
              <a:gd name="connsiteY139" fmla="*/ 110082 h 110081"/>
              <a:gd name="connsiteX140" fmla="*/ 532284 w 589503"/>
              <a:gd name="connsiteY140" fmla="*/ 104108 h 110081"/>
              <a:gd name="connsiteX141" fmla="*/ 520183 w 589503"/>
              <a:gd name="connsiteY141" fmla="*/ 87555 h 110081"/>
              <a:gd name="connsiteX142" fmla="*/ 516448 w 589503"/>
              <a:gd name="connsiteY142" fmla="*/ 63161 h 110081"/>
              <a:gd name="connsiteX143" fmla="*/ 520930 w 589503"/>
              <a:gd name="connsiteY143" fmla="*/ 30181 h 110081"/>
              <a:gd name="connsiteX144" fmla="*/ 534974 w 589503"/>
              <a:gd name="connsiteY144" fmla="*/ 8089 h 110081"/>
              <a:gd name="connsiteX145" fmla="*/ 559475 w 589503"/>
              <a:gd name="connsiteY145" fmla="*/ 0 h 110081"/>
              <a:gd name="connsiteX146" fmla="*/ 582034 w 589503"/>
              <a:gd name="connsiteY146" fmla="*/ 5538 h 110081"/>
              <a:gd name="connsiteX147" fmla="*/ 582034 w 589503"/>
              <a:gd name="connsiteY147" fmla="*/ 18855 h 110081"/>
              <a:gd name="connsiteX148" fmla="*/ 559475 w 589503"/>
              <a:gd name="connsiteY148" fmla="*/ 12259 h 110081"/>
              <a:gd name="connsiteX149" fmla="*/ 543937 w 589503"/>
              <a:gd name="connsiteY149" fmla="*/ 17361 h 110081"/>
              <a:gd name="connsiteX150" fmla="*/ 534077 w 589503"/>
              <a:gd name="connsiteY150" fmla="*/ 31238 h 110081"/>
              <a:gd name="connsiteX151" fmla="*/ 529894 w 589503"/>
              <a:gd name="connsiteY151" fmla="*/ 50778 h 110081"/>
              <a:gd name="connsiteX152" fmla="*/ 541248 w 589503"/>
              <a:gd name="connsiteY152" fmla="*/ 40759 h 110081"/>
              <a:gd name="connsiteX153" fmla="*/ 555291 w 589503"/>
              <a:gd name="connsiteY153" fmla="*/ 37523 h 110081"/>
              <a:gd name="connsiteX154" fmla="*/ 572622 w 589503"/>
              <a:gd name="connsiteY154" fmla="*/ 41693 h 110081"/>
              <a:gd name="connsiteX155" fmla="*/ 584872 w 589503"/>
              <a:gd name="connsiteY155" fmla="*/ 53952 h 110081"/>
              <a:gd name="connsiteX156" fmla="*/ 589504 w 589503"/>
              <a:gd name="connsiteY156" fmla="*/ 73491 h 110081"/>
              <a:gd name="connsiteX157" fmla="*/ 553499 w 589503"/>
              <a:gd name="connsiteY157" fmla="*/ 98134 h 110081"/>
              <a:gd name="connsiteX158" fmla="*/ 564255 w 589503"/>
              <a:gd name="connsiteY158" fmla="*/ 95458 h 110081"/>
              <a:gd name="connsiteX159" fmla="*/ 572174 w 589503"/>
              <a:gd name="connsiteY159" fmla="*/ 87244 h 110081"/>
              <a:gd name="connsiteX160" fmla="*/ 575311 w 589503"/>
              <a:gd name="connsiteY160" fmla="*/ 73803 h 110081"/>
              <a:gd name="connsiteX161" fmla="*/ 572323 w 589503"/>
              <a:gd name="connsiteY161" fmla="*/ 60174 h 110081"/>
              <a:gd name="connsiteX162" fmla="*/ 564704 w 589503"/>
              <a:gd name="connsiteY162" fmla="*/ 51961 h 110081"/>
              <a:gd name="connsiteX163" fmla="*/ 554993 w 589503"/>
              <a:gd name="connsiteY163" fmla="*/ 49160 h 110081"/>
              <a:gd name="connsiteX164" fmla="*/ 538410 w 589503"/>
              <a:gd name="connsiteY164" fmla="*/ 55570 h 110081"/>
              <a:gd name="connsiteX165" fmla="*/ 531836 w 589503"/>
              <a:gd name="connsiteY165" fmla="*/ 74114 h 110081"/>
              <a:gd name="connsiteX166" fmla="*/ 537663 w 589503"/>
              <a:gd name="connsiteY166" fmla="*/ 91538 h 110081"/>
              <a:gd name="connsiteX167" fmla="*/ 553499 w 589503"/>
              <a:gd name="connsiteY167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58950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343085" y="73491"/>
                </a:moveTo>
                <a:cubicBezTo>
                  <a:pt x="343085" y="80772"/>
                  <a:pt x="341491" y="87182"/>
                  <a:pt x="338304" y="92782"/>
                </a:cubicBezTo>
                <a:cubicBezTo>
                  <a:pt x="335217" y="98258"/>
                  <a:pt x="330984" y="102490"/>
                  <a:pt x="325606" y="105601"/>
                </a:cubicBezTo>
                <a:cubicBezTo>
                  <a:pt x="320227" y="108588"/>
                  <a:pt x="314201" y="110082"/>
                  <a:pt x="307528" y="110082"/>
                </a:cubicBezTo>
                <a:cubicBezTo>
                  <a:pt x="298564" y="110082"/>
                  <a:pt x="291344" y="108091"/>
                  <a:pt x="285866" y="104108"/>
                </a:cubicBezTo>
                <a:cubicBezTo>
                  <a:pt x="280388" y="100125"/>
                  <a:pt x="276354" y="94587"/>
                  <a:pt x="273765" y="87555"/>
                </a:cubicBezTo>
                <a:cubicBezTo>
                  <a:pt x="271275" y="80461"/>
                  <a:pt x="270030" y="72372"/>
                  <a:pt x="270030" y="63161"/>
                </a:cubicBezTo>
                <a:cubicBezTo>
                  <a:pt x="270030" y="50653"/>
                  <a:pt x="271523" y="39639"/>
                  <a:pt x="274512" y="30181"/>
                </a:cubicBezTo>
                <a:cubicBezTo>
                  <a:pt x="277599" y="20722"/>
                  <a:pt x="282280" y="13379"/>
                  <a:pt x="288555" y="8089"/>
                </a:cubicBezTo>
                <a:cubicBezTo>
                  <a:pt x="294929" y="2675"/>
                  <a:pt x="303096" y="0"/>
                  <a:pt x="313056" y="0"/>
                </a:cubicBezTo>
                <a:cubicBezTo>
                  <a:pt x="321622" y="0"/>
                  <a:pt x="329141" y="1866"/>
                  <a:pt x="335615" y="5538"/>
                </a:cubicBezTo>
                <a:lnTo>
                  <a:pt x="335615" y="18855"/>
                </a:lnTo>
                <a:cubicBezTo>
                  <a:pt x="329141" y="14437"/>
                  <a:pt x="321622" y="12259"/>
                  <a:pt x="313056" y="12259"/>
                </a:cubicBezTo>
                <a:cubicBezTo>
                  <a:pt x="306881" y="12259"/>
                  <a:pt x="301702" y="13939"/>
                  <a:pt x="297519" y="17361"/>
                </a:cubicBezTo>
                <a:cubicBezTo>
                  <a:pt x="293336" y="20722"/>
                  <a:pt x="290049" y="25327"/>
                  <a:pt x="287659" y="31238"/>
                </a:cubicBezTo>
                <a:cubicBezTo>
                  <a:pt x="285368" y="37026"/>
                  <a:pt x="283973" y="43498"/>
                  <a:pt x="283476" y="50778"/>
                </a:cubicBezTo>
                <a:cubicBezTo>
                  <a:pt x="286762" y="46298"/>
                  <a:pt x="290547" y="42999"/>
                  <a:pt x="294830" y="40759"/>
                </a:cubicBezTo>
                <a:cubicBezTo>
                  <a:pt x="299112" y="38581"/>
                  <a:pt x="303793" y="37523"/>
                  <a:pt x="308873" y="37523"/>
                </a:cubicBezTo>
                <a:cubicBezTo>
                  <a:pt x="315347" y="37523"/>
                  <a:pt x="321124" y="38893"/>
                  <a:pt x="326203" y="41693"/>
                </a:cubicBezTo>
                <a:cubicBezTo>
                  <a:pt x="331382" y="44493"/>
                  <a:pt x="335466" y="48538"/>
                  <a:pt x="338454" y="53952"/>
                </a:cubicBezTo>
                <a:cubicBezTo>
                  <a:pt x="341541" y="59179"/>
                  <a:pt x="343085" y="65713"/>
                  <a:pt x="343085" y="73491"/>
                </a:cubicBezTo>
                <a:close/>
                <a:moveTo>
                  <a:pt x="307080" y="98134"/>
                </a:moveTo>
                <a:cubicBezTo>
                  <a:pt x="310964" y="98134"/>
                  <a:pt x="314550" y="97263"/>
                  <a:pt x="317837" y="95458"/>
                </a:cubicBezTo>
                <a:cubicBezTo>
                  <a:pt x="321124" y="93529"/>
                  <a:pt x="323763" y="90791"/>
                  <a:pt x="325755" y="87244"/>
                </a:cubicBezTo>
                <a:cubicBezTo>
                  <a:pt x="327847" y="83635"/>
                  <a:pt x="328892" y="79154"/>
                  <a:pt x="328892" y="73803"/>
                </a:cubicBezTo>
                <a:cubicBezTo>
                  <a:pt x="328892" y="68389"/>
                  <a:pt x="327896" y="63908"/>
                  <a:pt x="325904" y="60174"/>
                </a:cubicBezTo>
                <a:cubicBezTo>
                  <a:pt x="323912" y="56503"/>
                  <a:pt x="321372" y="53765"/>
                  <a:pt x="318285" y="51961"/>
                </a:cubicBezTo>
                <a:cubicBezTo>
                  <a:pt x="315197" y="50093"/>
                  <a:pt x="311961" y="49160"/>
                  <a:pt x="308574" y="49160"/>
                </a:cubicBezTo>
                <a:cubicBezTo>
                  <a:pt x="302000" y="49160"/>
                  <a:pt x="296473" y="51276"/>
                  <a:pt x="291991" y="55570"/>
                </a:cubicBezTo>
                <a:cubicBezTo>
                  <a:pt x="287609" y="59739"/>
                  <a:pt x="285417" y="65900"/>
                  <a:pt x="285417" y="74114"/>
                </a:cubicBezTo>
                <a:cubicBezTo>
                  <a:pt x="285417" y="81270"/>
                  <a:pt x="287360" y="87058"/>
                  <a:pt x="291244" y="91538"/>
                </a:cubicBezTo>
                <a:cubicBezTo>
                  <a:pt x="295128" y="95956"/>
                  <a:pt x="300407" y="98134"/>
                  <a:pt x="307080" y="98134"/>
                </a:cubicBezTo>
                <a:close/>
                <a:moveTo>
                  <a:pt x="410731" y="108588"/>
                </a:moveTo>
                <a:lnTo>
                  <a:pt x="397584" y="108588"/>
                </a:lnTo>
                <a:lnTo>
                  <a:pt x="397584" y="83199"/>
                </a:lnTo>
                <a:lnTo>
                  <a:pt x="351271" y="83199"/>
                </a:lnTo>
                <a:lnTo>
                  <a:pt x="351271" y="73927"/>
                </a:lnTo>
                <a:lnTo>
                  <a:pt x="393102" y="1493"/>
                </a:lnTo>
                <a:lnTo>
                  <a:pt x="410731" y="1493"/>
                </a:lnTo>
                <a:lnTo>
                  <a:pt x="410731" y="71873"/>
                </a:lnTo>
                <a:lnTo>
                  <a:pt x="425223" y="71873"/>
                </a:lnTo>
                <a:lnTo>
                  <a:pt x="425223" y="83199"/>
                </a:lnTo>
                <a:lnTo>
                  <a:pt x="410731" y="83199"/>
                </a:lnTo>
                <a:lnTo>
                  <a:pt x="410731" y="108588"/>
                </a:lnTo>
                <a:close/>
                <a:moveTo>
                  <a:pt x="364866" y="71873"/>
                </a:moveTo>
                <a:lnTo>
                  <a:pt x="397584" y="71873"/>
                </a:lnTo>
                <a:lnTo>
                  <a:pt x="397584" y="16117"/>
                </a:lnTo>
                <a:lnTo>
                  <a:pt x="364866" y="71873"/>
                </a:lnTo>
                <a:close/>
                <a:moveTo>
                  <a:pt x="434305" y="35844"/>
                </a:moveTo>
                <a:cubicBezTo>
                  <a:pt x="434305" y="28687"/>
                  <a:pt x="435855" y="22402"/>
                  <a:pt x="438942" y="17051"/>
                </a:cubicBezTo>
                <a:cubicBezTo>
                  <a:pt x="442129" y="11637"/>
                  <a:pt x="446412" y="7467"/>
                  <a:pt x="451790" y="4480"/>
                </a:cubicBezTo>
                <a:cubicBezTo>
                  <a:pt x="457168" y="1493"/>
                  <a:pt x="463194" y="0"/>
                  <a:pt x="469867" y="0"/>
                </a:cubicBezTo>
                <a:cubicBezTo>
                  <a:pt x="478831" y="0"/>
                  <a:pt x="486052" y="1929"/>
                  <a:pt x="491530" y="5849"/>
                </a:cubicBezTo>
                <a:cubicBezTo>
                  <a:pt x="497107" y="9645"/>
                  <a:pt x="501141" y="14934"/>
                  <a:pt x="503631" y="21842"/>
                </a:cubicBezTo>
                <a:cubicBezTo>
                  <a:pt x="506121" y="28563"/>
                  <a:pt x="507366" y="36466"/>
                  <a:pt x="507366" y="45426"/>
                </a:cubicBezTo>
                <a:cubicBezTo>
                  <a:pt x="507366" y="58868"/>
                  <a:pt x="505822" y="70380"/>
                  <a:pt x="502735" y="80088"/>
                </a:cubicBezTo>
                <a:cubicBezTo>
                  <a:pt x="499647" y="89733"/>
                  <a:pt x="494867" y="97138"/>
                  <a:pt x="488393" y="102303"/>
                </a:cubicBezTo>
                <a:cubicBezTo>
                  <a:pt x="482018" y="107468"/>
                  <a:pt x="473851" y="110082"/>
                  <a:pt x="463891" y="110082"/>
                </a:cubicBezTo>
                <a:cubicBezTo>
                  <a:pt x="454928" y="110082"/>
                  <a:pt x="447259" y="108215"/>
                  <a:pt x="440884" y="104543"/>
                </a:cubicBezTo>
                <a:lnTo>
                  <a:pt x="440884" y="91413"/>
                </a:lnTo>
                <a:cubicBezTo>
                  <a:pt x="447657" y="95769"/>
                  <a:pt x="455326" y="98010"/>
                  <a:pt x="463891" y="98010"/>
                </a:cubicBezTo>
                <a:cubicBezTo>
                  <a:pt x="470067" y="98010"/>
                  <a:pt x="475246" y="96267"/>
                  <a:pt x="479429" y="92907"/>
                </a:cubicBezTo>
                <a:cubicBezTo>
                  <a:pt x="483612" y="89546"/>
                  <a:pt x="486849" y="84941"/>
                  <a:pt x="489140" y="79154"/>
                </a:cubicBezTo>
                <a:cubicBezTo>
                  <a:pt x="491530" y="73367"/>
                  <a:pt x="492974" y="66896"/>
                  <a:pt x="493472" y="59739"/>
                </a:cubicBezTo>
                <a:cubicBezTo>
                  <a:pt x="490384" y="63660"/>
                  <a:pt x="486699" y="66522"/>
                  <a:pt x="482417" y="68389"/>
                </a:cubicBezTo>
                <a:cubicBezTo>
                  <a:pt x="478134" y="70193"/>
                  <a:pt x="473503" y="71127"/>
                  <a:pt x="468523" y="71127"/>
                </a:cubicBezTo>
                <a:cubicBezTo>
                  <a:pt x="462149" y="71127"/>
                  <a:pt x="456372" y="69758"/>
                  <a:pt x="451193" y="67082"/>
                </a:cubicBezTo>
                <a:cubicBezTo>
                  <a:pt x="446013" y="64406"/>
                  <a:pt x="441880" y="60424"/>
                  <a:pt x="438793" y="55134"/>
                </a:cubicBezTo>
                <a:cubicBezTo>
                  <a:pt x="435805" y="49845"/>
                  <a:pt x="434305" y="43435"/>
                  <a:pt x="434305" y="35844"/>
                </a:cubicBezTo>
                <a:close/>
                <a:moveTo>
                  <a:pt x="470315" y="12134"/>
                </a:moveTo>
                <a:cubicBezTo>
                  <a:pt x="466531" y="12134"/>
                  <a:pt x="462945" y="13006"/>
                  <a:pt x="459559" y="14810"/>
                </a:cubicBezTo>
                <a:cubicBezTo>
                  <a:pt x="456272" y="16490"/>
                  <a:pt x="453583" y="19104"/>
                  <a:pt x="451491" y="22589"/>
                </a:cubicBezTo>
                <a:cubicBezTo>
                  <a:pt x="449499" y="25949"/>
                  <a:pt x="448504" y="30305"/>
                  <a:pt x="448504" y="35532"/>
                </a:cubicBezTo>
                <a:cubicBezTo>
                  <a:pt x="448504" y="40759"/>
                  <a:pt x="449499" y="45116"/>
                  <a:pt x="451491" y="48725"/>
                </a:cubicBezTo>
                <a:cubicBezTo>
                  <a:pt x="453483" y="52271"/>
                  <a:pt x="456023" y="54947"/>
                  <a:pt x="459111" y="56752"/>
                </a:cubicBezTo>
                <a:cubicBezTo>
                  <a:pt x="462198" y="58556"/>
                  <a:pt x="465435" y="59428"/>
                  <a:pt x="468815" y="59428"/>
                </a:cubicBezTo>
                <a:cubicBezTo>
                  <a:pt x="475395" y="59428"/>
                  <a:pt x="480873" y="57437"/>
                  <a:pt x="485255" y="53329"/>
                </a:cubicBezTo>
                <a:cubicBezTo>
                  <a:pt x="489737" y="49160"/>
                  <a:pt x="491978" y="43124"/>
                  <a:pt x="491978" y="35283"/>
                </a:cubicBezTo>
                <a:cubicBezTo>
                  <a:pt x="491978" y="28313"/>
                  <a:pt x="490036" y="22713"/>
                  <a:pt x="486152" y="18544"/>
                </a:cubicBezTo>
                <a:cubicBezTo>
                  <a:pt x="482268" y="14250"/>
                  <a:pt x="476989" y="12134"/>
                  <a:pt x="470315" y="12134"/>
                </a:cubicBezTo>
                <a:close/>
                <a:moveTo>
                  <a:pt x="589504" y="73491"/>
                </a:moveTo>
                <a:cubicBezTo>
                  <a:pt x="589504" y="80772"/>
                  <a:pt x="587910" y="87182"/>
                  <a:pt x="584723" y="92782"/>
                </a:cubicBezTo>
                <a:cubicBezTo>
                  <a:pt x="581635" y="98258"/>
                  <a:pt x="577402" y="102490"/>
                  <a:pt x="572024" y="105601"/>
                </a:cubicBezTo>
                <a:cubicBezTo>
                  <a:pt x="566646" y="108588"/>
                  <a:pt x="560620" y="110082"/>
                  <a:pt x="553947" y="110082"/>
                </a:cubicBezTo>
                <a:cubicBezTo>
                  <a:pt x="544983" y="110082"/>
                  <a:pt x="537762" y="108091"/>
                  <a:pt x="532284" y="104108"/>
                </a:cubicBezTo>
                <a:cubicBezTo>
                  <a:pt x="526806" y="100125"/>
                  <a:pt x="522773" y="94587"/>
                  <a:pt x="520183" y="87555"/>
                </a:cubicBezTo>
                <a:cubicBezTo>
                  <a:pt x="517693" y="80461"/>
                  <a:pt x="516448" y="72372"/>
                  <a:pt x="516448" y="63161"/>
                </a:cubicBezTo>
                <a:cubicBezTo>
                  <a:pt x="516448" y="50653"/>
                  <a:pt x="517942" y="39639"/>
                  <a:pt x="520930" y="30181"/>
                </a:cubicBezTo>
                <a:cubicBezTo>
                  <a:pt x="524018" y="20722"/>
                  <a:pt x="528699" y="13379"/>
                  <a:pt x="534974" y="8089"/>
                </a:cubicBezTo>
                <a:cubicBezTo>
                  <a:pt x="541348" y="2675"/>
                  <a:pt x="549515" y="0"/>
                  <a:pt x="559475" y="0"/>
                </a:cubicBezTo>
                <a:cubicBezTo>
                  <a:pt x="568040" y="0"/>
                  <a:pt x="575560" y="1866"/>
                  <a:pt x="582034" y="5538"/>
                </a:cubicBezTo>
                <a:lnTo>
                  <a:pt x="582034" y="18855"/>
                </a:lnTo>
                <a:cubicBezTo>
                  <a:pt x="575560" y="14437"/>
                  <a:pt x="568040" y="12259"/>
                  <a:pt x="559475" y="12259"/>
                </a:cubicBezTo>
                <a:cubicBezTo>
                  <a:pt x="553299" y="12259"/>
                  <a:pt x="548121" y="13939"/>
                  <a:pt x="543937" y="17361"/>
                </a:cubicBezTo>
                <a:cubicBezTo>
                  <a:pt x="539754" y="20722"/>
                  <a:pt x="536467" y="25327"/>
                  <a:pt x="534077" y="31238"/>
                </a:cubicBezTo>
                <a:cubicBezTo>
                  <a:pt x="531786" y="37026"/>
                  <a:pt x="530392" y="43498"/>
                  <a:pt x="529894" y="50778"/>
                </a:cubicBezTo>
                <a:cubicBezTo>
                  <a:pt x="533181" y="46298"/>
                  <a:pt x="536966" y="42999"/>
                  <a:pt x="541248" y="40759"/>
                </a:cubicBezTo>
                <a:cubicBezTo>
                  <a:pt x="545531" y="38581"/>
                  <a:pt x="550212" y="37523"/>
                  <a:pt x="555291" y="37523"/>
                </a:cubicBezTo>
                <a:cubicBezTo>
                  <a:pt x="561766" y="37523"/>
                  <a:pt x="567542" y="38893"/>
                  <a:pt x="572622" y="41693"/>
                </a:cubicBezTo>
                <a:cubicBezTo>
                  <a:pt x="577801" y="44493"/>
                  <a:pt x="581884" y="48538"/>
                  <a:pt x="584872" y="53952"/>
                </a:cubicBezTo>
                <a:cubicBezTo>
                  <a:pt x="587960" y="59179"/>
                  <a:pt x="589504" y="65713"/>
                  <a:pt x="589504" y="73491"/>
                </a:cubicBezTo>
                <a:close/>
                <a:moveTo>
                  <a:pt x="553499" y="98134"/>
                </a:moveTo>
                <a:cubicBezTo>
                  <a:pt x="557383" y="98134"/>
                  <a:pt x="560969" y="97263"/>
                  <a:pt x="564255" y="95458"/>
                </a:cubicBezTo>
                <a:cubicBezTo>
                  <a:pt x="567542" y="93529"/>
                  <a:pt x="570182" y="90791"/>
                  <a:pt x="572174" y="87244"/>
                </a:cubicBezTo>
                <a:cubicBezTo>
                  <a:pt x="574265" y="83635"/>
                  <a:pt x="575311" y="79154"/>
                  <a:pt x="575311" y="73803"/>
                </a:cubicBezTo>
                <a:cubicBezTo>
                  <a:pt x="575311" y="68389"/>
                  <a:pt x="574315" y="63908"/>
                  <a:pt x="572323" y="60174"/>
                </a:cubicBezTo>
                <a:cubicBezTo>
                  <a:pt x="570331" y="56503"/>
                  <a:pt x="567791" y="53765"/>
                  <a:pt x="564704" y="51961"/>
                </a:cubicBezTo>
                <a:cubicBezTo>
                  <a:pt x="561616" y="50093"/>
                  <a:pt x="558379" y="49160"/>
                  <a:pt x="554993" y="49160"/>
                </a:cubicBezTo>
                <a:cubicBezTo>
                  <a:pt x="548419" y="49160"/>
                  <a:pt x="542891" y="51276"/>
                  <a:pt x="538410" y="55570"/>
                </a:cubicBezTo>
                <a:cubicBezTo>
                  <a:pt x="534028" y="59739"/>
                  <a:pt x="531836" y="65900"/>
                  <a:pt x="531836" y="74114"/>
                </a:cubicBezTo>
                <a:cubicBezTo>
                  <a:pt x="531836" y="81270"/>
                  <a:pt x="533778" y="87058"/>
                  <a:pt x="537663" y="91538"/>
                </a:cubicBezTo>
                <a:cubicBezTo>
                  <a:pt x="541547" y="95956"/>
                  <a:pt x="546826" y="98134"/>
                  <a:pt x="553499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5" name="Полилиния 1014">
            <a:extLst>
              <a:ext uri="{FF2B5EF4-FFF2-40B4-BE49-F238E27FC236}">
                <a16:creationId xmlns:a16="http://schemas.microsoft.com/office/drawing/2014/main" id="{7C6E3AA4-042A-DE8A-7540-CB0B4C0B248E}"/>
              </a:ext>
            </a:extLst>
          </p:cNvPr>
          <p:cNvSpPr/>
          <p:nvPr userDrawn="1"/>
        </p:nvSpPr>
        <p:spPr>
          <a:xfrm>
            <a:off x="18445574" y="8871205"/>
            <a:ext cx="1398954" cy="726227"/>
          </a:xfrm>
          <a:custGeom>
            <a:avLst/>
            <a:gdLst>
              <a:gd name="connsiteX0" fmla="*/ 850 w 1198727"/>
              <a:gd name="connsiteY0" fmla="*/ 1722 h 622284"/>
              <a:gd name="connsiteX1" fmla="*/ 1199578 w 1198727"/>
              <a:gd name="connsiteY1" fmla="*/ 1722 h 622284"/>
              <a:gd name="connsiteX2" fmla="*/ 1199578 w 1198727"/>
              <a:gd name="connsiteY2" fmla="*/ 624006 h 622284"/>
              <a:gd name="connsiteX3" fmla="*/ 850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722"/>
                </a:moveTo>
                <a:lnTo>
                  <a:pt x="1199578" y="1722"/>
                </a:lnTo>
                <a:lnTo>
                  <a:pt x="1199578" y="624006"/>
                </a:lnTo>
                <a:lnTo>
                  <a:pt x="850" y="624006"/>
                </a:lnTo>
                <a:close/>
              </a:path>
            </a:pathLst>
          </a:custGeom>
          <a:solidFill>
            <a:srgbClr val="FF8C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6" name="Полилиния 1015">
            <a:extLst>
              <a:ext uri="{FF2B5EF4-FFF2-40B4-BE49-F238E27FC236}">
                <a16:creationId xmlns:a16="http://schemas.microsoft.com/office/drawing/2014/main" id="{E4BFB07F-C93F-EC68-3EB8-B13B3014677E}"/>
              </a:ext>
            </a:extLst>
          </p:cNvPr>
          <p:cNvSpPr/>
          <p:nvPr userDrawn="1"/>
        </p:nvSpPr>
        <p:spPr>
          <a:xfrm>
            <a:off x="18568782" y="9173169"/>
            <a:ext cx="732241" cy="128252"/>
          </a:xfrm>
          <a:custGeom>
            <a:avLst/>
            <a:gdLst>
              <a:gd name="connsiteX0" fmla="*/ 22111 w 627438"/>
              <a:gd name="connsiteY0" fmla="*/ 108402 h 109895"/>
              <a:gd name="connsiteX1" fmla="*/ 10159 w 627438"/>
              <a:gd name="connsiteY1" fmla="*/ 108402 h 109895"/>
              <a:gd name="connsiteX2" fmla="*/ 16433 w 627438"/>
              <a:gd name="connsiteY2" fmla="*/ 77475 h 109895"/>
              <a:gd name="connsiteX3" fmla="*/ 0 w 627438"/>
              <a:gd name="connsiteY3" fmla="*/ 77475 h 109895"/>
              <a:gd name="connsiteX4" fmla="*/ 0 w 627438"/>
              <a:gd name="connsiteY4" fmla="*/ 67020 h 109895"/>
              <a:gd name="connsiteX5" fmla="*/ 18675 w 627438"/>
              <a:gd name="connsiteY5" fmla="*/ 67020 h 109895"/>
              <a:gd name="connsiteX6" fmla="*/ 24202 w 627438"/>
              <a:gd name="connsiteY6" fmla="*/ 39826 h 109895"/>
              <a:gd name="connsiteX7" fmla="*/ 4033 w 627438"/>
              <a:gd name="connsiteY7" fmla="*/ 39826 h 109895"/>
              <a:gd name="connsiteX8" fmla="*/ 4033 w 627438"/>
              <a:gd name="connsiteY8" fmla="*/ 29372 h 109895"/>
              <a:gd name="connsiteX9" fmla="*/ 26294 w 627438"/>
              <a:gd name="connsiteY9" fmla="*/ 29372 h 109895"/>
              <a:gd name="connsiteX10" fmla="*/ 32120 w 627438"/>
              <a:gd name="connsiteY10" fmla="*/ 1307 h 109895"/>
              <a:gd name="connsiteX11" fmla="*/ 44072 w 627438"/>
              <a:gd name="connsiteY11" fmla="*/ 1307 h 109895"/>
              <a:gd name="connsiteX12" fmla="*/ 38246 w 627438"/>
              <a:gd name="connsiteY12" fmla="*/ 29372 h 109895"/>
              <a:gd name="connsiteX13" fmla="*/ 60655 w 627438"/>
              <a:gd name="connsiteY13" fmla="*/ 29372 h 109895"/>
              <a:gd name="connsiteX14" fmla="*/ 66482 w 627438"/>
              <a:gd name="connsiteY14" fmla="*/ 1307 h 109895"/>
              <a:gd name="connsiteX15" fmla="*/ 78434 w 627438"/>
              <a:gd name="connsiteY15" fmla="*/ 1307 h 109895"/>
              <a:gd name="connsiteX16" fmla="*/ 72607 w 627438"/>
              <a:gd name="connsiteY16" fmla="*/ 29372 h 109895"/>
              <a:gd name="connsiteX17" fmla="*/ 89340 w 627438"/>
              <a:gd name="connsiteY17" fmla="*/ 29372 h 109895"/>
              <a:gd name="connsiteX18" fmla="*/ 89340 w 627438"/>
              <a:gd name="connsiteY18" fmla="*/ 39826 h 109895"/>
              <a:gd name="connsiteX19" fmla="*/ 70516 w 627438"/>
              <a:gd name="connsiteY19" fmla="*/ 39826 h 109895"/>
              <a:gd name="connsiteX20" fmla="*/ 64988 w 627438"/>
              <a:gd name="connsiteY20" fmla="*/ 67020 h 109895"/>
              <a:gd name="connsiteX21" fmla="*/ 85306 w 627438"/>
              <a:gd name="connsiteY21" fmla="*/ 67020 h 109895"/>
              <a:gd name="connsiteX22" fmla="*/ 85306 w 627438"/>
              <a:gd name="connsiteY22" fmla="*/ 77475 h 109895"/>
              <a:gd name="connsiteX23" fmla="*/ 62747 w 627438"/>
              <a:gd name="connsiteY23" fmla="*/ 77475 h 109895"/>
              <a:gd name="connsiteX24" fmla="*/ 56472 w 627438"/>
              <a:gd name="connsiteY24" fmla="*/ 108402 h 109895"/>
              <a:gd name="connsiteX25" fmla="*/ 44520 w 627438"/>
              <a:gd name="connsiteY25" fmla="*/ 108402 h 109895"/>
              <a:gd name="connsiteX26" fmla="*/ 50795 w 627438"/>
              <a:gd name="connsiteY26" fmla="*/ 77475 h 109895"/>
              <a:gd name="connsiteX27" fmla="*/ 28386 w 627438"/>
              <a:gd name="connsiteY27" fmla="*/ 77475 h 109895"/>
              <a:gd name="connsiteX28" fmla="*/ 22111 w 627438"/>
              <a:gd name="connsiteY28" fmla="*/ 108402 h 109895"/>
              <a:gd name="connsiteX29" fmla="*/ 30626 w 627438"/>
              <a:gd name="connsiteY29" fmla="*/ 67020 h 109895"/>
              <a:gd name="connsiteX30" fmla="*/ 53036 w 627438"/>
              <a:gd name="connsiteY30" fmla="*/ 67020 h 109895"/>
              <a:gd name="connsiteX31" fmla="*/ 58564 w 627438"/>
              <a:gd name="connsiteY31" fmla="*/ 39826 h 109895"/>
              <a:gd name="connsiteX32" fmla="*/ 36154 w 627438"/>
              <a:gd name="connsiteY32" fmla="*/ 39826 h 109895"/>
              <a:gd name="connsiteX33" fmla="*/ 30626 w 627438"/>
              <a:gd name="connsiteY33" fmla="*/ 67020 h 109895"/>
              <a:gd name="connsiteX34" fmla="*/ 107827 w 627438"/>
              <a:gd name="connsiteY34" fmla="*/ 1307 h 109895"/>
              <a:gd name="connsiteX35" fmla="*/ 173264 w 627438"/>
              <a:gd name="connsiteY35" fmla="*/ 1307 h 109895"/>
              <a:gd name="connsiteX36" fmla="*/ 173264 w 627438"/>
              <a:gd name="connsiteY36" fmla="*/ 14188 h 109895"/>
              <a:gd name="connsiteX37" fmla="*/ 121871 w 627438"/>
              <a:gd name="connsiteY37" fmla="*/ 14188 h 109895"/>
              <a:gd name="connsiteX38" fmla="*/ 121871 w 627438"/>
              <a:gd name="connsiteY38" fmla="*/ 49720 h 109895"/>
              <a:gd name="connsiteX39" fmla="*/ 165495 w 627438"/>
              <a:gd name="connsiteY39" fmla="*/ 49720 h 109895"/>
              <a:gd name="connsiteX40" fmla="*/ 165495 w 627438"/>
              <a:gd name="connsiteY40" fmla="*/ 62415 h 109895"/>
              <a:gd name="connsiteX41" fmla="*/ 121871 w 627438"/>
              <a:gd name="connsiteY41" fmla="*/ 62415 h 109895"/>
              <a:gd name="connsiteX42" fmla="*/ 121871 w 627438"/>
              <a:gd name="connsiteY42" fmla="*/ 108402 h 109895"/>
              <a:gd name="connsiteX43" fmla="*/ 107827 w 627438"/>
              <a:gd name="connsiteY43" fmla="*/ 108402 h 109895"/>
              <a:gd name="connsiteX44" fmla="*/ 107827 w 627438"/>
              <a:gd name="connsiteY44" fmla="*/ 1307 h 109895"/>
              <a:gd name="connsiteX45" fmla="*/ 192735 w 627438"/>
              <a:gd name="connsiteY45" fmla="*/ 1307 h 109895"/>
              <a:gd name="connsiteX46" fmla="*/ 258171 w 627438"/>
              <a:gd name="connsiteY46" fmla="*/ 1307 h 109895"/>
              <a:gd name="connsiteX47" fmla="*/ 258171 w 627438"/>
              <a:gd name="connsiteY47" fmla="*/ 14188 h 109895"/>
              <a:gd name="connsiteX48" fmla="*/ 206778 w 627438"/>
              <a:gd name="connsiteY48" fmla="*/ 14188 h 109895"/>
              <a:gd name="connsiteX49" fmla="*/ 206778 w 627438"/>
              <a:gd name="connsiteY49" fmla="*/ 49720 h 109895"/>
              <a:gd name="connsiteX50" fmla="*/ 250402 w 627438"/>
              <a:gd name="connsiteY50" fmla="*/ 49720 h 109895"/>
              <a:gd name="connsiteX51" fmla="*/ 250402 w 627438"/>
              <a:gd name="connsiteY51" fmla="*/ 62415 h 109895"/>
              <a:gd name="connsiteX52" fmla="*/ 206778 w 627438"/>
              <a:gd name="connsiteY52" fmla="*/ 62415 h 109895"/>
              <a:gd name="connsiteX53" fmla="*/ 206778 w 627438"/>
              <a:gd name="connsiteY53" fmla="*/ 108402 h 109895"/>
              <a:gd name="connsiteX54" fmla="*/ 192735 w 627438"/>
              <a:gd name="connsiteY54" fmla="*/ 108402 h 109895"/>
              <a:gd name="connsiteX55" fmla="*/ 192735 w 627438"/>
              <a:gd name="connsiteY55" fmla="*/ 1307 h 109895"/>
              <a:gd name="connsiteX56" fmla="*/ 306632 w 627438"/>
              <a:gd name="connsiteY56" fmla="*/ 109896 h 109895"/>
              <a:gd name="connsiteX57" fmla="*/ 287957 w 627438"/>
              <a:gd name="connsiteY57" fmla="*/ 106287 h 109895"/>
              <a:gd name="connsiteX58" fmla="*/ 275259 w 627438"/>
              <a:gd name="connsiteY58" fmla="*/ 96019 h 109895"/>
              <a:gd name="connsiteX59" fmla="*/ 270627 w 627438"/>
              <a:gd name="connsiteY59" fmla="*/ 79590 h 109895"/>
              <a:gd name="connsiteX60" fmla="*/ 276006 w 627438"/>
              <a:gd name="connsiteY60" fmla="*/ 62105 h 109895"/>
              <a:gd name="connsiteX61" fmla="*/ 290796 w 627438"/>
              <a:gd name="connsiteY61" fmla="*/ 51525 h 109895"/>
              <a:gd name="connsiteX62" fmla="*/ 278844 w 627438"/>
              <a:gd name="connsiteY62" fmla="*/ 42378 h 109895"/>
              <a:gd name="connsiteX63" fmla="*/ 274512 w 627438"/>
              <a:gd name="connsiteY63" fmla="*/ 27318 h 109895"/>
              <a:gd name="connsiteX64" fmla="*/ 278695 w 627438"/>
              <a:gd name="connsiteY64" fmla="*/ 12383 h 109895"/>
              <a:gd name="connsiteX65" fmla="*/ 290198 w 627438"/>
              <a:gd name="connsiteY65" fmla="*/ 3111 h 109895"/>
              <a:gd name="connsiteX66" fmla="*/ 306632 w 627438"/>
              <a:gd name="connsiteY66" fmla="*/ 0 h 109895"/>
              <a:gd name="connsiteX67" fmla="*/ 322767 w 627438"/>
              <a:gd name="connsiteY67" fmla="*/ 3111 h 109895"/>
              <a:gd name="connsiteX68" fmla="*/ 334121 w 627438"/>
              <a:gd name="connsiteY68" fmla="*/ 12073 h 109895"/>
              <a:gd name="connsiteX69" fmla="*/ 338454 w 627438"/>
              <a:gd name="connsiteY69" fmla="*/ 27008 h 109895"/>
              <a:gd name="connsiteX70" fmla="*/ 333972 w 627438"/>
              <a:gd name="connsiteY70" fmla="*/ 42253 h 109895"/>
              <a:gd name="connsiteX71" fmla="*/ 322169 w 627438"/>
              <a:gd name="connsiteY71" fmla="*/ 51525 h 109895"/>
              <a:gd name="connsiteX72" fmla="*/ 336511 w 627438"/>
              <a:gd name="connsiteY72" fmla="*/ 61669 h 109895"/>
              <a:gd name="connsiteX73" fmla="*/ 342039 w 627438"/>
              <a:gd name="connsiteY73" fmla="*/ 79155 h 109895"/>
              <a:gd name="connsiteX74" fmla="*/ 337408 w 627438"/>
              <a:gd name="connsiteY74" fmla="*/ 95707 h 109895"/>
              <a:gd name="connsiteX75" fmla="*/ 324709 w 627438"/>
              <a:gd name="connsiteY75" fmla="*/ 106287 h 109895"/>
              <a:gd name="connsiteX76" fmla="*/ 306632 w 627438"/>
              <a:gd name="connsiteY76" fmla="*/ 109896 h 109895"/>
              <a:gd name="connsiteX77" fmla="*/ 306632 w 627438"/>
              <a:gd name="connsiteY77" fmla="*/ 46111 h 109895"/>
              <a:gd name="connsiteX78" fmla="*/ 319630 w 627438"/>
              <a:gd name="connsiteY78" fmla="*/ 41631 h 109895"/>
              <a:gd name="connsiteX79" fmla="*/ 324858 w 627438"/>
              <a:gd name="connsiteY79" fmla="*/ 28936 h 109895"/>
              <a:gd name="connsiteX80" fmla="*/ 319630 w 627438"/>
              <a:gd name="connsiteY80" fmla="*/ 16428 h 109895"/>
              <a:gd name="connsiteX81" fmla="*/ 306632 w 627438"/>
              <a:gd name="connsiteY81" fmla="*/ 11761 h 109895"/>
              <a:gd name="connsiteX82" fmla="*/ 293336 w 627438"/>
              <a:gd name="connsiteY82" fmla="*/ 16428 h 109895"/>
              <a:gd name="connsiteX83" fmla="*/ 288107 w 627438"/>
              <a:gd name="connsiteY83" fmla="*/ 28936 h 109895"/>
              <a:gd name="connsiteX84" fmla="*/ 293336 w 627438"/>
              <a:gd name="connsiteY84" fmla="*/ 41631 h 109895"/>
              <a:gd name="connsiteX85" fmla="*/ 306632 w 627438"/>
              <a:gd name="connsiteY85" fmla="*/ 46111 h 109895"/>
              <a:gd name="connsiteX86" fmla="*/ 306632 w 627438"/>
              <a:gd name="connsiteY86" fmla="*/ 98072 h 109895"/>
              <a:gd name="connsiteX87" fmla="*/ 322020 w 627438"/>
              <a:gd name="connsiteY87" fmla="*/ 92721 h 109895"/>
              <a:gd name="connsiteX88" fmla="*/ 328294 w 627438"/>
              <a:gd name="connsiteY88" fmla="*/ 77350 h 109895"/>
              <a:gd name="connsiteX89" fmla="*/ 322020 w 627438"/>
              <a:gd name="connsiteY89" fmla="*/ 62105 h 109895"/>
              <a:gd name="connsiteX90" fmla="*/ 306632 w 627438"/>
              <a:gd name="connsiteY90" fmla="*/ 56566 h 109895"/>
              <a:gd name="connsiteX91" fmla="*/ 290646 w 627438"/>
              <a:gd name="connsiteY91" fmla="*/ 62105 h 109895"/>
              <a:gd name="connsiteX92" fmla="*/ 284372 w 627438"/>
              <a:gd name="connsiteY92" fmla="*/ 77350 h 109895"/>
              <a:gd name="connsiteX93" fmla="*/ 290646 w 627438"/>
              <a:gd name="connsiteY93" fmla="*/ 92721 h 109895"/>
              <a:gd name="connsiteX94" fmla="*/ 306632 w 627438"/>
              <a:gd name="connsiteY94" fmla="*/ 98072 h 109895"/>
              <a:gd name="connsiteX95" fmla="*/ 406249 w 627438"/>
              <a:gd name="connsiteY95" fmla="*/ 109896 h 109895"/>
              <a:gd name="connsiteX96" fmla="*/ 378461 w 627438"/>
              <a:gd name="connsiteY96" fmla="*/ 103300 h 109895"/>
              <a:gd name="connsiteX97" fmla="*/ 360085 w 627438"/>
              <a:gd name="connsiteY97" fmla="*/ 84507 h 109895"/>
              <a:gd name="connsiteX98" fmla="*/ 353512 w 627438"/>
              <a:gd name="connsiteY98" fmla="*/ 54948 h 109895"/>
              <a:gd name="connsiteX99" fmla="*/ 367107 w 627438"/>
              <a:gd name="connsiteY99" fmla="*/ 14624 h 109895"/>
              <a:gd name="connsiteX100" fmla="*/ 405950 w 627438"/>
              <a:gd name="connsiteY100" fmla="*/ 0 h 109895"/>
              <a:gd name="connsiteX101" fmla="*/ 423878 w 627438"/>
              <a:gd name="connsiteY101" fmla="*/ 2054 h 109895"/>
              <a:gd name="connsiteX102" fmla="*/ 438519 w 627438"/>
              <a:gd name="connsiteY102" fmla="*/ 7716 h 109895"/>
              <a:gd name="connsiteX103" fmla="*/ 438519 w 627438"/>
              <a:gd name="connsiteY103" fmla="*/ 21158 h 109895"/>
              <a:gd name="connsiteX104" fmla="*/ 423430 w 627438"/>
              <a:gd name="connsiteY104" fmla="*/ 14935 h 109895"/>
              <a:gd name="connsiteX105" fmla="*/ 405801 w 627438"/>
              <a:gd name="connsiteY105" fmla="*/ 12695 h 109895"/>
              <a:gd name="connsiteX106" fmla="*/ 377863 w 627438"/>
              <a:gd name="connsiteY106" fmla="*/ 23273 h 109895"/>
              <a:gd name="connsiteX107" fmla="*/ 368750 w 627438"/>
              <a:gd name="connsiteY107" fmla="*/ 54948 h 109895"/>
              <a:gd name="connsiteX108" fmla="*/ 378610 w 627438"/>
              <a:gd name="connsiteY108" fmla="*/ 86747 h 109895"/>
              <a:gd name="connsiteX109" fmla="*/ 407444 w 627438"/>
              <a:gd name="connsiteY109" fmla="*/ 97201 h 109895"/>
              <a:gd name="connsiteX110" fmla="*/ 438519 w 627438"/>
              <a:gd name="connsiteY110" fmla="*/ 87369 h 109895"/>
              <a:gd name="connsiteX111" fmla="*/ 438519 w 627438"/>
              <a:gd name="connsiteY111" fmla="*/ 100811 h 109895"/>
              <a:gd name="connsiteX112" fmla="*/ 424625 w 627438"/>
              <a:gd name="connsiteY112" fmla="*/ 107531 h 109895"/>
              <a:gd name="connsiteX113" fmla="*/ 406249 w 627438"/>
              <a:gd name="connsiteY113" fmla="*/ 109896 h 109895"/>
              <a:gd name="connsiteX114" fmla="*/ 546402 w 627438"/>
              <a:gd name="connsiteY114" fmla="*/ 108402 h 109895"/>
              <a:gd name="connsiteX115" fmla="*/ 531463 w 627438"/>
              <a:gd name="connsiteY115" fmla="*/ 108402 h 109895"/>
              <a:gd name="connsiteX116" fmla="*/ 520407 w 627438"/>
              <a:gd name="connsiteY116" fmla="*/ 77786 h 109895"/>
              <a:gd name="connsiteX117" fmla="*/ 473048 w 627438"/>
              <a:gd name="connsiteY117" fmla="*/ 77786 h 109895"/>
              <a:gd name="connsiteX118" fmla="*/ 462142 w 627438"/>
              <a:gd name="connsiteY118" fmla="*/ 108402 h 109895"/>
              <a:gd name="connsiteX119" fmla="*/ 448995 w 627438"/>
              <a:gd name="connsiteY119" fmla="*/ 108402 h 109895"/>
              <a:gd name="connsiteX120" fmla="*/ 487092 w 627438"/>
              <a:gd name="connsiteY120" fmla="*/ 1307 h 109895"/>
              <a:gd name="connsiteX121" fmla="*/ 508007 w 627438"/>
              <a:gd name="connsiteY121" fmla="*/ 1307 h 109895"/>
              <a:gd name="connsiteX122" fmla="*/ 546402 w 627438"/>
              <a:gd name="connsiteY122" fmla="*/ 108402 h 109895"/>
              <a:gd name="connsiteX123" fmla="*/ 477680 w 627438"/>
              <a:gd name="connsiteY123" fmla="*/ 65091 h 109895"/>
              <a:gd name="connsiteX124" fmla="*/ 515925 w 627438"/>
              <a:gd name="connsiteY124" fmla="*/ 65091 h 109895"/>
              <a:gd name="connsiteX125" fmla="*/ 496802 w 627438"/>
              <a:gd name="connsiteY125" fmla="*/ 11761 h 109895"/>
              <a:gd name="connsiteX126" fmla="*/ 477680 w 627438"/>
              <a:gd name="connsiteY126" fmla="*/ 65091 h 109895"/>
              <a:gd name="connsiteX127" fmla="*/ 562002 w 627438"/>
              <a:gd name="connsiteY127" fmla="*/ 1307 h 109895"/>
              <a:gd name="connsiteX128" fmla="*/ 627438 w 627438"/>
              <a:gd name="connsiteY128" fmla="*/ 1307 h 109895"/>
              <a:gd name="connsiteX129" fmla="*/ 627438 w 627438"/>
              <a:gd name="connsiteY129" fmla="*/ 14188 h 109895"/>
              <a:gd name="connsiteX130" fmla="*/ 576046 w 627438"/>
              <a:gd name="connsiteY130" fmla="*/ 14188 h 109895"/>
              <a:gd name="connsiteX131" fmla="*/ 576046 w 627438"/>
              <a:gd name="connsiteY131" fmla="*/ 49720 h 109895"/>
              <a:gd name="connsiteX132" fmla="*/ 619670 w 627438"/>
              <a:gd name="connsiteY132" fmla="*/ 49720 h 109895"/>
              <a:gd name="connsiteX133" fmla="*/ 619670 w 627438"/>
              <a:gd name="connsiteY133" fmla="*/ 62415 h 109895"/>
              <a:gd name="connsiteX134" fmla="*/ 576046 w 627438"/>
              <a:gd name="connsiteY134" fmla="*/ 62415 h 109895"/>
              <a:gd name="connsiteX135" fmla="*/ 576046 w 627438"/>
              <a:gd name="connsiteY135" fmla="*/ 108402 h 109895"/>
              <a:gd name="connsiteX136" fmla="*/ 562002 w 627438"/>
              <a:gd name="connsiteY136" fmla="*/ 108402 h 109895"/>
              <a:gd name="connsiteX137" fmla="*/ 562002 w 627438"/>
              <a:gd name="connsiteY13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627438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306632" y="109896"/>
                </a:moveTo>
                <a:cubicBezTo>
                  <a:pt x="299660" y="109896"/>
                  <a:pt x="293435" y="108714"/>
                  <a:pt x="287957" y="106287"/>
                </a:cubicBezTo>
                <a:cubicBezTo>
                  <a:pt x="282579" y="103922"/>
                  <a:pt x="278346" y="100499"/>
                  <a:pt x="275259" y="96019"/>
                </a:cubicBezTo>
                <a:cubicBezTo>
                  <a:pt x="272171" y="91414"/>
                  <a:pt x="270627" y="85938"/>
                  <a:pt x="270627" y="79590"/>
                </a:cubicBezTo>
                <a:cubicBezTo>
                  <a:pt x="270627" y="72683"/>
                  <a:pt x="272420" y="66896"/>
                  <a:pt x="276006" y="62105"/>
                </a:cubicBezTo>
                <a:cubicBezTo>
                  <a:pt x="279691" y="57251"/>
                  <a:pt x="284621" y="53703"/>
                  <a:pt x="290796" y="51525"/>
                </a:cubicBezTo>
                <a:cubicBezTo>
                  <a:pt x="285816" y="49534"/>
                  <a:pt x="281832" y="46485"/>
                  <a:pt x="278844" y="42378"/>
                </a:cubicBezTo>
                <a:cubicBezTo>
                  <a:pt x="275956" y="38333"/>
                  <a:pt x="274512" y="33293"/>
                  <a:pt x="274512" y="27318"/>
                </a:cubicBezTo>
                <a:cubicBezTo>
                  <a:pt x="274512" y="21407"/>
                  <a:pt x="275906" y="16428"/>
                  <a:pt x="278695" y="12383"/>
                </a:cubicBezTo>
                <a:cubicBezTo>
                  <a:pt x="281483" y="8277"/>
                  <a:pt x="285318" y="5228"/>
                  <a:pt x="290198" y="3111"/>
                </a:cubicBezTo>
                <a:cubicBezTo>
                  <a:pt x="295078" y="996"/>
                  <a:pt x="300556" y="0"/>
                  <a:pt x="306632" y="0"/>
                </a:cubicBezTo>
                <a:cubicBezTo>
                  <a:pt x="312608" y="0"/>
                  <a:pt x="317986" y="996"/>
                  <a:pt x="322767" y="3111"/>
                </a:cubicBezTo>
                <a:cubicBezTo>
                  <a:pt x="327547" y="5103"/>
                  <a:pt x="331332" y="8090"/>
                  <a:pt x="334121" y="12073"/>
                </a:cubicBezTo>
                <a:cubicBezTo>
                  <a:pt x="337009" y="16055"/>
                  <a:pt x="338454" y="21033"/>
                  <a:pt x="338454" y="27008"/>
                </a:cubicBezTo>
                <a:cubicBezTo>
                  <a:pt x="338454" y="33106"/>
                  <a:pt x="336960" y="38146"/>
                  <a:pt x="333972" y="42253"/>
                </a:cubicBezTo>
                <a:cubicBezTo>
                  <a:pt x="330984" y="46298"/>
                  <a:pt x="327050" y="49410"/>
                  <a:pt x="322169" y="51525"/>
                </a:cubicBezTo>
                <a:cubicBezTo>
                  <a:pt x="328145" y="53579"/>
                  <a:pt x="332926" y="57001"/>
                  <a:pt x="336511" y="61669"/>
                </a:cubicBezTo>
                <a:cubicBezTo>
                  <a:pt x="340197" y="66336"/>
                  <a:pt x="342039" y="72186"/>
                  <a:pt x="342039" y="79155"/>
                </a:cubicBezTo>
                <a:cubicBezTo>
                  <a:pt x="342039" y="85502"/>
                  <a:pt x="340495" y="91040"/>
                  <a:pt x="337408" y="95707"/>
                </a:cubicBezTo>
                <a:cubicBezTo>
                  <a:pt x="334320" y="100312"/>
                  <a:pt x="330087" y="103797"/>
                  <a:pt x="324709" y="106287"/>
                </a:cubicBezTo>
                <a:cubicBezTo>
                  <a:pt x="319431" y="108714"/>
                  <a:pt x="313405" y="109896"/>
                  <a:pt x="306632" y="109896"/>
                </a:cubicBezTo>
                <a:close/>
                <a:moveTo>
                  <a:pt x="306632" y="46111"/>
                </a:moveTo>
                <a:cubicBezTo>
                  <a:pt x="311911" y="46111"/>
                  <a:pt x="316243" y="44618"/>
                  <a:pt x="319630" y="41631"/>
                </a:cubicBezTo>
                <a:cubicBezTo>
                  <a:pt x="323116" y="38582"/>
                  <a:pt x="324858" y="34350"/>
                  <a:pt x="324858" y="28936"/>
                </a:cubicBezTo>
                <a:cubicBezTo>
                  <a:pt x="324858" y="23585"/>
                  <a:pt x="323116" y="19415"/>
                  <a:pt x="319630" y="16428"/>
                </a:cubicBezTo>
                <a:cubicBezTo>
                  <a:pt x="316243" y="13317"/>
                  <a:pt x="311911" y="11761"/>
                  <a:pt x="306632" y="11761"/>
                </a:cubicBezTo>
                <a:cubicBezTo>
                  <a:pt x="301353" y="11761"/>
                  <a:pt x="296921" y="13317"/>
                  <a:pt x="293336" y="16428"/>
                </a:cubicBezTo>
                <a:cubicBezTo>
                  <a:pt x="289850" y="19415"/>
                  <a:pt x="288107" y="23585"/>
                  <a:pt x="288107" y="28936"/>
                </a:cubicBezTo>
                <a:cubicBezTo>
                  <a:pt x="288107" y="34350"/>
                  <a:pt x="289850" y="38582"/>
                  <a:pt x="293336" y="41631"/>
                </a:cubicBezTo>
                <a:cubicBezTo>
                  <a:pt x="296921" y="44618"/>
                  <a:pt x="301353" y="46111"/>
                  <a:pt x="306632" y="46111"/>
                </a:cubicBezTo>
                <a:close/>
                <a:moveTo>
                  <a:pt x="306632" y="98072"/>
                </a:moveTo>
                <a:cubicBezTo>
                  <a:pt x="312807" y="98072"/>
                  <a:pt x="317936" y="96330"/>
                  <a:pt x="322020" y="92721"/>
                </a:cubicBezTo>
                <a:cubicBezTo>
                  <a:pt x="326203" y="89049"/>
                  <a:pt x="328294" y="83885"/>
                  <a:pt x="328294" y="77350"/>
                </a:cubicBezTo>
                <a:cubicBezTo>
                  <a:pt x="328294" y="70754"/>
                  <a:pt x="326203" y="65714"/>
                  <a:pt x="322020" y="62105"/>
                </a:cubicBezTo>
                <a:cubicBezTo>
                  <a:pt x="317936" y="58433"/>
                  <a:pt x="312807" y="56566"/>
                  <a:pt x="306632" y="56566"/>
                </a:cubicBezTo>
                <a:cubicBezTo>
                  <a:pt x="300258" y="56566"/>
                  <a:pt x="294929" y="58433"/>
                  <a:pt x="290646" y="62105"/>
                </a:cubicBezTo>
                <a:cubicBezTo>
                  <a:pt x="286463" y="65714"/>
                  <a:pt x="284372" y="70754"/>
                  <a:pt x="284372" y="77350"/>
                </a:cubicBezTo>
                <a:cubicBezTo>
                  <a:pt x="284372" y="83885"/>
                  <a:pt x="286463" y="89049"/>
                  <a:pt x="290646" y="92721"/>
                </a:cubicBezTo>
                <a:cubicBezTo>
                  <a:pt x="294929" y="96330"/>
                  <a:pt x="300258" y="98072"/>
                  <a:pt x="306632" y="98072"/>
                </a:cubicBezTo>
                <a:close/>
                <a:moveTo>
                  <a:pt x="406249" y="109896"/>
                </a:moveTo>
                <a:cubicBezTo>
                  <a:pt x="395692" y="109896"/>
                  <a:pt x="386429" y="107718"/>
                  <a:pt x="378461" y="103300"/>
                </a:cubicBezTo>
                <a:cubicBezTo>
                  <a:pt x="370593" y="98943"/>
                  <a:pt x="364468" y="92658"/>
                  <a:pt x="360085" y="84507"/>
                </a:cubicBezTo>
                <a:cubicBezTo>
                  <a:pt x="355703" y="76230"/>
                  <a:pt x="353512" y="66398"/>
                  <a:pt x="353512" y="54948"/>
                </a:cubicBezTo>
                <a:cubicBezTo>
                  <a:pt x="353512" y="37711"/>
                  <a:pt x="358044" y="24269"/>
                  <a:pt x="367107" y="14624"/>
                </a:cubicBezTo>
                <a:cubicBezTo>
                  <a:pt x="376170" y="4854"/>
                  <a:pt x="389118" y="0"/>
                  <a:pt x="405950" y="0"/>
                </a:cubicBezTo>
                <a:cubicBezTo>
                  <a:pt x="412225" y="0"/>
                  <a:pt x="418201" y="684"/>
                  <a:pt x="423878" y="2054"/>
                </a:cubicBezTo>
                <a:cubicBezTo>
                  <a:pt x="429655" y="3361"/>
                  <a:pt x="434535" y="5228"/>
                  <a:pt x="438519" y="7716"/>
                </a:cubicBezTo>
                <a:lnTo>
                  <a:pt x="438519" y="21158"/>
                </a:lnTo>
                <a:cubicBezTo>
                  <a:pt x="434236" y="18482"/>
                  <a:pt x="429206" y="16428"/>
                  <a:pt x="423430" y="14935"/>
                </a:cubicBezTo>
                <a:cubicBezTo>
                  <a:pt x="417753" y="13442"/>
                  <a:pt x="411876" y="12695"/>
                  <a:pt x="405801" y="12695"/>
                </a:cubicBezTo>
                <a:cubicBezTo>
                  <a:pt x="393251" y="12695"/>
                  <a:pt x="383939" y="16180"/>
                  <a:pt x="377863" y="23273"/>
                </a:cubicBezTo>
                <a:cubicBezTo>
                  <a:pt x="371788" y="30368"/>
                  <a:pt x="368750" y="40885"/>
                  <a:pt x="368750" y="54948"/>
                </a:cubicBezTo>
                <a:cubicBezTo>
                  <a:pt x="368750" y="69074"/>
                  <a:pt x="372037" y="79653"/>
                  <a:pt x="378610" y="86747"/>
                </a:cubicBezTo>
                <a:cubicBezTo>
                  <a:pt x="385184" y="93716"/>
                  <a:pt x="394795" y="97201"/>
                  <a:pt x="407444" y="97201"/>
                </a:cubicBezTo>
                <a:cubicBezTo>
                  <a:pt x="419396" y="97201"/>
                  <a:pt x="429754" y="93903"/>
                  <a:pt x="438519" y="87369"/>
                </a:cubicBezTo>
                <a:lnTo>
                  <a:pt x="438519" y="100811"/>
                </a:lnTo>
                <a:cubicBezTo>
                  <a:pt x="435033" y="103548"/>
                  <a:pt x="430401" y="105788"/>
                  <a:pt x="424625" y="107531"/>
                </a:cubicBezTo>
                <a:cubicBezTo>
                  <a:pt x="418848" y="109087"/>
                  <a:pt x="412723" y="109896"/>
                  <a:pt x="406249" y="109896"/>
                </a:cubicBezTo>
                <a:close/>
                <a:moveTo>
                  <a:pt x="546402" y="108402"/>
                </a:moveTo>
                <a:lnTo>
                  <a:pt x="531463" y="108402"/>
                </a:lnTo>
                <a:lnTo>
                  <a:pt x="520407" y="77786"/>
                </a:lnTo>
                <a:lnTo>
                  <a:pt x="473048" y="77786"/>
                </a:lnTo>
                <a:lnTo>
                  <a:pt x="462142" y="108402"/>
                </a:lnTo>
                <a:lnTo>
                  <a:pt x="448995" y="108402"/>
                </a:lnTo>
                <a:lnTo>
                  <a:pt x="487092" y="1307"/>
                </a:lnTo>
                <a:lnTo>
                  <a:pt x="508007" y="1307"/>
                </a:lnTo>
                <a:lnTo>
                  <a:pt x="546402" y="108402"/>
                </a:lnTo>
                <a:close/>
                <a:moveTo>
                  <a:pt x="477680" y="65091"/>
                </a:moveTo>
                <a:lnTo>
                  <a:pt x="515925" y="65091"/>
                </a:lnTo>
                <a:lnTo>
                  <a:pt x="496802" y="11761"/>
                </a:lnTo>
                <a:lnTo>
                  <a:pt x="477680" y="65091"/>
                </a:lnTo>
                <a:close/>
                <a:moveTo>
                  <a:pt x="562002" y="1307"/>
                </a:moveTo>
                <a:lnTo>
                  <a:pt x="627438" y="1307"/>
                </a:lnTo>
                <a:lnTo>
                  <a:pt x="627438" y="14188"/>
                </a:lnTo>
                <a:lnTo>
                  <a:pt x="576046" y="14188"/>
                </a:lnTo>
                <a:lnTo>
                  <a:pt x="576046" y="49720"/>
                </a:lnTo>
                <a:lnTo>
                  <a:pt x="619670" y="49720"/>
                </a:lnTo>
                <a:lnTo>
                  <a:pt x="619670" y="62415"/>
                </a:lnTo>
                <a:lnTo>
                  <a:pt x="576046" y="62415"/>
                </a:lnTo>
                <a:lnTo>
                  <a:pt x="576046" y="108402"/>
                </a:lnTo>
                <a:lnTo>
                  <a:pt x="562002" y="108402"/>
                </a:lnTo>
                <a:lnTo>
                  <a:pt x="562002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7" name="Полилиния 1016">
            <a:extLst>
              <a:ext uri="{FF2B5EF4-FFF2-40B4-BE49-F238E27FC236}">
                <a16:creationId xmlns:a16="http://schemas.microsoft.com/office/drawing/2014/main" id="{B72D511D-5CC8-13CA-6F03-B65C2B602E02}"/>
              </a:ext>
            </a:extLst>
          </p:cNvPr>
          <p:cNvSpPr/>
          <p:nvPr userDrawn="1"/>
        </p:nvSpPr>
        <p:spPr>
          <a:xfrm>
            <a:off x="18445574" y="9597431"/>
            <a:ext cx="1398954" cy="726227"/>
          </a:xfrm>
          <a:custGeom>
            <a:avLst/>
            <a:gdLst>
              <a:gd name="connsiteX0" fmla="*/ 850 w 1198727"/>
              <a:gd name="connsiteY0" fmla="*/ 1822 h 622284"/>
              <a:gd name="connsiteX1" fmla="*/ 1199578 w 1198727"/>
              <a:gd name="connsiteY1" fmla="*/ 1822 h 622284"/>
              <a:gd name="connsiteX2" fmla="*/ 1199578 w 1198727"/>
              <a:gd name="connsiteY2" fmla="*/ 624106 h 622284"/>
              <a:gd name="connsiteX3" fmla="*/ 850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822"/>
                </a:moveTo>
                <a:lnTo>
                  <a:pt x="1199578" y="1822"/>
                </a:lnTo>
                <a:lnTo>
                  <a:pt x="1199578" y="624106"/>
                </a:lnTo>
                <a:lnTo>
                  <a:pt x="850" y="624106"/>
                </a:lnTo>
                <a:close/>
              </a:path>
            </a:pathLst>
          </a:custGeom>
          <a:solidFill>
            <a:srgbClr val="FFBED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8" name="Полилиния 1017">
            <a:extLst>
              <a:ext uri="{FF2B5EF4-FFF2-40B4-BE49-F238E27FC236}">
                <a16:creationId xmlns:a16="http://schemas.microsoft.com/office/drawing/2014/main" id="{DF9A153B-C4A9-A2DE-E4C1-4717D6AE5F80}"/>
              </a:ext>
            </a:extLst>
          </p:cNvPr>
          <p:cNvSpPr/>
          <p:nvPr userDrawn="1"/>
        </p:nvSpPr>
        <p:spPr>
          <a:xfrm>
            <a:off x="18568782" y="9900922"/>
            <a:ext cx="737283" cy="124982"/>
          </a:xfrm>
          <a:custGeom>
            <a:avLst/>
            <a:gdLst>
              <a:gd name="connsiteX0" fmla="*/ 22111 w 631758"/>
              <a:gd name="connsiteY0" fmla="*/ 107095 h 107094"/>
              <a:gd name="connsiteX1" fmla="*/ 10159 w 631758"/>
              <a:gd name="connsiteY1" fmla="*/ 107095 h 107094"/>
              <a:gd name="connsiteX2" fmla="*/ 16433 w 631758"/>
              <a:gd name="connsiteY2" fmla="*/ 76168 h 107094"/>
              <a:gd name="connsiteX3" fmla="*/ 0 w 631758"/>
              <a:gd name="connsiteY3" fmla="*/ 76168 h 107094"/>
              <a:gd name="connsiteX4" fmla="*/ 0 w 631758"/>
              <a:gd name="connsiteY4" fmla="*/ 65713 h 107094"/>
              <a:gd name="connsiteX5" fmla="*/ 18675 w 631758"/>
              <a:gd name="connsiteY5" fmla="*/ 65713 h 107094"/>
              <a:gd name="connsiteX6" fmla="*/ 24202 w 631758"/>
              <a:gd name="connsiteY6" fmla="*/ 38519 h 107094"/>
              <a:gd name="connsiteX7" fmla="*/ 4033 w 631758"/>
              <a:gd name="connsiteY7" fmla="*/ 38519 h 107094"/>
              <a:gd name="connsiteX8" fmla="*/ 4033 w 631758"/>
              <a:gd name="connsiteY8" fmla="*/ 28065 h 107094"/>
              <a:gd name="connsiteX9" fmla="*/ 26294 w 631758"/>
              <a:gd name="connsiteY9" fmla="*/ 28065 h 107094"/>
              <a:gd name="connsiteX10" fmla="*/ 32120 w 631758"/>
              <a:gd name="connsiteY10" fmla="*/ 0 h 107094"/>
              <a:gd name="connsiteX11" fmla="*/ 44072 w 631758"/>
              <a:gd name="connsiteY11" fmla="*/ 0 h 107094"/>
              <a:gd name="connsiteX12" fmla="*/ 38246 w 631758"/>
              <a:gd name="connsiteY12" fmla="*/ 28065 h 107094"/>
              <a:gd name="connsiteX13" fmla="*/ 60655 w 631758"/>
              <a:gd name="connsiteY13" fmla="*/ 28065 h 107094"/>
              <a:gd name="connsiteX14" fmla="*/ 66482 w 631758"/>
              <a:gd name="connsiteY14" fmla="*/ 0 h 107094"/>
              <a:gd name="connsiteX15" fmla="*/ 78434 w 631758"/>
              <a:gd name="connsiteY15" fmla="*/ 0 h 107094"/>
              <a:gd name="connsiteX16" fmla="*/ 72607 w 631758"/>
              <a:gd name="connsiteY16" fmla="*/ 28065 h 107094"/>
              <a:gd name="connsiteX17" fmla="*/ 89340 w 631758"/>
              <a:gd name="connsiteY17" fmla="*/ 28065 h 107094"/>
              <a:gd name="connsiteX18" fmla="*/ 89340 w 631758"/>
              <a:gd name="connsiteY18" fmla="*/ 38519 h 107094"/>
              <a:gd name="connsiteX19" fmla="*/ 70516 w 631758"/>
              <a:gd name="connsiteY19" fmla="*/ 38519 h 107094"/>
              <a:gd name="connsiteX20" fmla="*/ 64988 w 631758"/>
              <a:gd name="connsiteY20" fmla="*/ 65713 h 107094"/>
              <a:gd name="connsiteX21" fmla="*/ 85306 w 631758"/>
              <a:gd name="connsiteY21" fmla="*/ 65713 h 107094"/>
              <a:gd name="connsiteX22" fmla="*/ 85306 w 631758"/>
              <a:gd name="connsiteY22" fmla="*/ 76168 h 107094"/>
              <a:gd name="connsiteX23" fmla="*/ 62747 w 631758"/>
              <a:gd name="connsiteY23" fmla="*/ 76168 h 107094"/>
              <a:gd name="connsiteX24" fmla="*/ 56472 w 631758"/>
              <a:gd name="connsiteY24" fmla="*/ 107095 h 107094"/>
              <a:gd name="connsiteX25" fmla="*/ 44520 w 631758"/>
              <a:gd name="connsiteY25" fmla="*/ 107095 h 107094"/>
              <a:gd name="connsiteX26" fmla="*/ 50795 w 631758"/>
              <a:gd name="connsiteY26" fmla="*/ 76168 h 107094"/>
              <a:gd name="connsiteX27" fmla="*/ 28386 w 631758"/>
              <a:gd name="connsiteY27" fmla="*/ 76168 h 107094"/>
              <a:gd name="connsiteX28" fmla="*/ 22111 w 631758"/>
              <a:gd name="connsiteY28" fmla="*/ 107095 h 107094"/>
              <a:gd name="connsiteX29" fmla="*/ 30626 w 631758"/>
              <a:gd name="connsiteY29" fmla="*/ 65713 h 107094"/>
              <a:gd name="connsiteX30" fmla="*/ 53036 w 631758"/>
              <a:gd name="connsiteY30" fmla="*/ 65713 h 107094"/>
              <a:gd name="connsiteX31" fmla="*/ 58564 w 631758"/>
              <a:gd name="connsiteY31" fmla="*/ 38519 h 107094"/>
              <a:gd name="connsiteX32" fmla="*/ 36154 w 631758"/>
              <a:gd name="connsiteY32" fmla="*/ 38519 h 107094"/>
              <a:gd name="connsiteX33" fmla="*/ 30626 w 631758"/>
              <a:gd name="connsiteY33" fmla="*/ 65713 h 107094"/>
              <a:gd name="connsiteX34" fmla="*/ 107827 w 631758"/>
              <a:gd name="connsiteY34" fmla="*/ 0 h 107094"/>
              <a:gd name="connsiteX35" fmla="*/ 173264 w 631758"/>
              <a:gd name="connsiteY35" fmla="*/ 0 h 107094"/>
              <a:gd name="connsiteX36" fmla="*/ 173264 w 631758"/>
              <a:gd name="connsiteY36" fmla="*/ 12881 h 107094"/>
              <a:gd name="connsiteX37" fmla="*/ 121871 w 631758"/>
              <a:gd name="connsiteY37" fmla="*/ 12881 h 107094"/>
              <a:gd name="connsiteX38" fmla="*/ 121871 w 631758"/>
              <a:gd name="connsiteY38" fmla="*/ 48413 h 107094"/>
              <a:gd name="connsiteX39" fmla="*/ 165495 w 631758"/>
              <a:gd name="connsiteY39" fmla="*/ 48413 h 107094"/>
              <a:gd name="connsiteX40" fmla="*/ 165495 w 631758"/>
              <a:gd name="connsiteY40" fmla="*/ 61108 h 107094"/>
              <a:gd name="connsiteX41" fmla="*/ 121871 w 631758"/>
              <a:gd name="connsiteY41" fmla="*/ 61108 h 107094"/>
              <a:gd name="connsiteX42" fmla="*/ 121871 w 631758"/>
              <a:gd name="connsiteY42" fmla="*/ 107095 h 107094"/>
              <a:gd name="connsiteX43" fmla="*/ 107827 w 631758"/>
              <a:gd name="connsiteY43" fmla="*/ 107095 h 107094"/>
              <a:gd name="connsiteX44" fmla="*/ 107827 w 631758"/>
              <a:gd name="connsiteY44" fmla="*/ 0 h 107094"/>
              <a:gd name="connsiteX45" fmla="*/ 192735 w 631758"/>
              <a:gd name="connsiteY45" fmla="*/ 0 h 107094"/>
              <a:gd name="connsiteX46" fmla="*/ 258171 w 631758"/>
              <a:gd name="connsiteY46" fmla="*/ 0 h 107094"/>
              <a:gd name="connsiteX47" fmla="*/ 258171 w 631758"/>
              <a:gd name="connsiteY47" fmla="*/ 12881 h 107094"/>
              <a:gd name="connsiteX48" fmla="*/ 206778 w 631758"/>
              <a:gd name="connsiteY48" fmla="*/ 12881 h 107094"/>
              <a:gd name="connsiteX49" fmla="*/ 206778 w 631758"/>
              <a:gd name="connsiteY49" fmla="*/ 48413 h 107094"/>
              <a:gd name="connsiteX50" fmla="*/ 250402 w 631758"/>
              <a:gd name="connsiteY50" fmla="*/ 48413 h 107094"/>
              <a:gd name="connsiteX51" fmla="*/ 250402 w 631758"/>
              <a:gd name="connsiteY51" fmla="*/ 61108 h 107094"/>
              <a:gd name="connsiteX52" fmla="*/ 206778 w 631758"/>
              <a:gd name="connsiteY52" fmla="*/ 61108 h 107094"/>
              <a:gd name="connsiteX53" fmla="*/ 206778 w 631758"/>
              <a:gd name="connsiteY53" fmla="*/ 107095 h 107094"/>
              <a:gd name="connsiteX54" fmla="*/ 192735 w 631758"/>
              <a:gd name="connsiteY54" fmla="*/ 107095 h 107094"/>
              <a:gd name="connsiteX55" fmla="*/ 192735 w 631758"/>
              <a:gd name="connsiteY55" fmla="*/ 0 h 107094"/>
              <a:gd name="connsiteX56" fmla="*/ 277649 w 631758"/>
              <a:gd name="connsiteY56" fmla="*/ 0 h 107094"/>
              <a:gd name="connsiteX57" fmla="*/ 313953 w 631758"/>
              <a:gd name="connsiteY57" fmla="*/ 0 h 107094"/>
              <a:gd name="connsiteX58" fmla="*/ 340694 w 631758"/>
              <a:gd name="connsiteY58" fmla="*/ 5974 h 107094"/>
              <a:gd name="connsiteX59" fmla="*/ 349957 w 631758"/>
              <a:gd name="connsiteY59" fmla="*/ 26136 h 107094"/>
              <a:gd name="connsiteX60" fmla="*/ 344131 w 631758"/>
              <a:gd name="connsiteY60" fmla="*/ 43622 h 107094"/>
              <a:gd name="connsiteX61" fmla="*/ 328593 w 631758"/>
              <a:gd name="connsiteY61" fmla="*/ 51525 h 107094"/>
              <a:gd name="connsiteX62" fmla="*/ 347417 w 631758"/>
              <a:gd name="connsiteY62" fmla="*/ 58868 h 107094"/>
              <a:gd name="connsiteX63" fmla="*/ 353841 w 631758"/>
              <a:gd name="connsiteY63" fmla="*/ 76168 h 107094"/>
              <a:gd name="connsiteX64" fmla="*/ 348613 w 631758"/>
              <a:gd name="connsiteY64" fmla="*/ 94089 h 107094"/>
              <a:gd name="connsiteX65" fmla="*/ 334270 w 631758"/>
              <a:gd name="connsiteY65" fmla="*/ 104108 h 107094"/>
              <a:gd name="connsiteX66" fmla="*/ 313654 w 631758"/>
              <a:gd name="connsiteY66" fmla="*/ 107095 h 107094"/>
              <a:gd name="connsiteX67" fmla="*/ 277649 w 631758"/>
              <a:gd name="connsiteY67" fmla="*/ 107095 h 107094"/>
              <a:gd name="connsiteX68" fmla="*/ 277649 w 631758"/>
              <a:gd name="connsiteY68" fmla="*/ 0 h 107094"/>
              <a:gd name="connsiteX69" fmla="*/ 312907 w 631758"/>
              <a:gd name="connsiteY69" fmla="*/ 45738 h 107094"/>
              <a:gd name="connsiteX70" fmla="*/ 329340 w 631758"/>
              <a:gd name="connsiteY70" fmla="*/ 41257 h 107094"/>
              <a:gd name="connsiteX71" fmla="*/ 335764 w 631758"/>
              <a:gd name="connsiteY71" fmla="*/ 26882 h 107094"/>
              <a:gd name="connsiteX72" fmla="*/ 330087 w 631758"/>
              <a:gd name="connsiteY72" fmla="*/ 15868 h 107094"/>
              <a:gd name="connsiteX73" fmla="*/ 313953 w 631758"/>
              <a:gd name="connsiteY73" fmla="*/ 12881 h 107094"/>
              <a:gd name="connsiteX74" fmla="*/ 291692 w 631758"/>
              <a:gd name="connsiteY74" fmla="*/ 12881 h 107094"/>
              <a:gd name="connsiteX75" fmla="*/ 291692 w 631758"/>
              <a:gd name="connsiteY75" fmla="*/ 45738 h 107094"/>
              <a:gd name="connsiteX76" fmla="*/ 312907 w 631758"/>
              <a:gd name="connsiteY76" fmla="*/ 45738 h 107094"/>
              <a:gd name="connsiteX77" fmla="*/ 313654 w 631758"/>
              <a:gd name="connsiteY77" fmla="*/ 94400 h 107094"/>
              <a:gd name="connsiteX78" fmla="*/ 332030 w 631758"/>
              <a:gd name="connsiteY78" fmla="*/ 90542 h 107094"/>
              <a:gd name="connsiteX79" fmla="*/ 339051 w 631758"/>
              <a:gd name="connsiteY79" fmla="*/ 76478 h 107094"/>
              <a:gd name="connsiteX80" fmla="*/ 332478 w 631758"/>
              <a:gd name="connsiteY80" fmla="*/ 62415 h 107094"/>
              <a:gd name="connsiteX81" fmla="*/ 312010 w 631758"/>
              <a:gd name="connsiteY81" fmla="*/ 58433 h 107094"/>
              <a:gd name="connsiteX82" fmla="*/ 291692 w 631758"/>
              <a:gd name="connsiteY82" fmla="*/ 58433 h 107094"/>
              <a:gd name="connsiteX83" fmla="*/ 291692 w 631758"/>
              <a:gd name="connsiteY83" fmla="*/ 94400 h 107094"/>
              <a:gd name="connsiteX84" fmla="*/ 313654 w 631758"/>
              <a:gd name="connsiteY84" fmla="*/ 94400 h 107094"/>
              <a:gd name="connsiteX85" fmla="*/ 373942 w 631758"/>
              <a:gd name="connsiteY85" fmla="*/ 0 h 107094"/>
              <a:gd name="connsiteX86" fmla="*/ 440274 w 631758"/>
              <a:gd name="connsiteY86" fmla="*/ 0 h 107094"/>
              <a:gd name="connsiteX87" fmla="*/ 440274 w 631758"/>
              <a:gd name="connsiteY87" fmla="*/ 12881 h 107094"/>
              <a:gd name="connsiteX88" fmla="*/ 387985 w 631758"/>
              <a:gd name="connsiteY88" fmla="*/ 12881 h 107094"/>
              <a:gd name="connsiteX89" fmla="*/ 387985 w 631758"/>
              <a:gd name="connsiteY89" fmla="*/ 45240 h 107094"/>
              <a:gd name="connsiteX90" fmla="*/ 432356 w 631758"/>
              <a:gd name="connsiteY90" fmla="*/ 45240 h 107094"/>
              <a:gd name="connsiteX91" fmla="*/ 432356 w 631758"/>
              <a:gd name="connsiteY91" fmla="*/ 57934 h 107094"/>
              <a:gd name="connsiteX92" fmla="*/ 387985 w 631758"/>
              <a:gd name="connsiteY92" fmla="*/ 57934 h 107094"/>
              <a:gd name="connsiteX93" fmla="*/ 387985 w 631758"/>
              <a:gd name="connsiteY93" fmla="*/ 94400 h 107094"/>
              <a:gd name="connsiteX94" fmla="*/ 441021 w 631758"/>
              <a:gd name="connsiteY94" fmla="*/ 94400 h 107094"/>
              <a:gd name="connsiteX95" fmla="*/ 441021 w 631758"/>
              <a:gd name="connsiteY95" fmla="*/ 107095 h 107094"/>
              <a:gd name="connsiteX96" fmla="*/ 373942 w 631758"/>
              <a:gd name="connsiteY96" fmla="*/ 107095 h 107094"/>
              <a:gd name="connsiteX97" fmla="*/ 373942 w 631758"/>
              <a:gd name="connsiteY97" fmla="*/ 0 h 107094"/>
              <a:gd name="connsiteX98" fmla="*/ 463225 w 631758"/>
              <a:gd name="connsiteY98" fmla="*/ 0 h 107094"/>
              <a:gd name="connsiteX99" fmla="*/ 499230 w 631758"/>
              <a:gd name="connsiteY99" fmla="*/ 0 h 107094"/>
              <a:gd name="connsiteX100" fmla="*/ 519249 w 631758"/>
              <a:gd name="connsiteY100" fmla="*/ 2551 h 107094"/>
              <a:gd name="connsiteX101" fmla="*/ 535384 w 631758"/>
              <a:gd name="connsiteY101" fmla="*/ 10890 h 107094"/>
              <a:gd name="connsiteX102" fmla="*/ 546141 w 631758"/>
              <a:gd name="connsiteY102" fmla="*/ 26136 h 107094"/>
              <a:gd name="connsiteX103" fmla="*/ 550025 w 631758"/>
              <a:gd name="connsiteY103" fmla="*/ 49907 h 107094"/>
              <a:gd name="connsiteX104" fmla="*/ 543153 w 631758"/>
              <a:gd name="connsiteY104" fmla="*/ 81581 h 107094"/>
              <a:gd name="connsiteX105" fmla="*/ 524628 w 631758"/>
              <a:gd name="connsiteY105" fmla="*/ 100685 h 107094"/>
              <a:gd name="connsiteX106" fmla="*/ 497587 w 631758"/>
              <a:gd name="connsiteY106" fmla="*/ 107095 h 107094"/>
              <a:gd name="connsiteX107" fmla="*/ 463225 w 631758"/>
              <a:gd name="connsiteY107" fmla="*/ 107095 h 107094"/>
              <a:gd name="connsiteX108" fmla="*/ 463225 w 631758"/>
              <a:gd name="connsiteY108" fmla="*/ 0 h 107094"/>
              <a:gd name="connsiteX109" fmla="*/ 497587 w 631758"/>
              <a:gd name="connsiteY109" fmla="*/ 94400 h 107094"/>
              <a:gd name="connsiteX110" fmla="*/ 517009 w 631758"/>
              <a:gd name="connsiteY110" fmla="*/ 89920 h 107094"/>
              <a:gd name="connsiteX111" fmla="*/ 530006 w 631758"/>
              <a:gd name="connsiteY111" fmla="*/ 75732 h 107094"/>
              <a:gd name="connsiteX112" fmla="*/ 534787 w 631758"/>
              <a:gd name="connsiteY112" fmla="*/ 50965 h 107094"/>
              <a:gd name="connsiteX113" fmla="*/ 530156 w 631758"/>
              <a:gd name="connsiteY113" fmla="*/ 27629 h 107094"/>
              <a:gd name="connsiteX114" fmla="*/ 517457 w 631758"/>
              <a:gd name="connsiteY114" fmla="*/ 16117 h 107094"/>
              <a:gd name="connsiteX115" fmla="*/ 499230 w 631758"/>
              <a:gd name="connsiteY115" fmla="*/ 12881 h 107094"/>
              <a:gd name="connsiteX116" fmla="*/ 477269 w 631758"/>
              <a:gd name="connsiteY116" fmla="*/ 12881 h 107094"/>
              <a:gd name="connsiteX117" fmla="*/ 477269 w 631758"/>
              <a:gd name="connsiteY117" fmla="*/ 94400 h 107094"/>
              <a:gd name="connsiteX118" fmla="*/ 497587 w 631758"/>
              <a:gd name="connsiteY118" fmla="*/ 94400 h 107094"/>
              <a:gd name="connsiteX119" fmla="*/ 631758 w 631758"/>
              <a:gd name="connsiteY119" fmla="*/ 12134 h 107094"/>
              <a:gd name="connsiteX120" fmla="*/ 586342 w 631758"/>
              <a:gd name="connsiteY120" fmla="*/ 107095 h 107094"/>
              <a:gd name="connsiteX121" fmla="*/ 571701 w 631758"/>
              <a:gd name="connsiteY121" fmla="*/ 107095 h 107094"/>
              <a:gd name="connsiteX122" fmla="*/ 617416 w 631758"/>
              <a:gd name="connsiteY122" fmla="*/ 12881 h 107094"/>
              <a:gd name="connsiteX123" fmla="*/ 562886 w 631758"/>
              <a:gd name="connsiteY123" fmla="*/ 12881 h 107094"/>
              <a:gd name="connsiteX124" fmla="*/ 562886 w 631758"/>
              <a:gd name="connsiteY124" fmla="*/ 0 h 107094"/>
              <a:gd name="connsiteX125" fmla="*/ 631758 w 631758"/>
              <a:gd name="connsiteY125" fmla="*/ 0 h 107094"/>
              <a:gd name="connsiteX126" fmla="*/ 631758 w 631758"/>
              <a:gd name="connsiteY126" fmla="*/ 12134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631758" h="107094">
                <a:moveTo>
                  <a:pt x="22111" y="107095"/>
                </a:moveTo>
                <a:lnTo>
                  <a:pt x="10159" y="107095"/>
                </a:lnTo>
                <a:lnTo>
                  <a:pt x="16433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3" y="38519"/>
                </a:lnTo>
                <a:lnTo>
                  <a:pt x="4033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7" y="0"/>
                </a:moveTo>
                <a:lnTo>
                  <a:pt x="173264" y="0"/>
                </a:lnTo>
                <a:lnTo>
                  <a:pt x="173264" y="12881"/>
                </a:lnTo>
                <a:lnTo>
                  <a:pt x="121871" y="12881"/>
                </a:lnTo>
                <a:lnTo>
                  <a:pt x="121871" y="48413"/>
                </a:lnTo>
                <a:lnTo>
                  <a:pt x="165495" y="48413"/>
                </a:lnTo>
                <a:lnTo>
                  <a:pt x="165495" y="61108"/>
                </a:lnTo>
                <a:lnTo>
                  <a:pt x="121871" y="61108"/>
                </a:lnTo>
                <a:lnTo>
                  <a:pt x="121871" y="107095"/>
                </a:lnTo>
                <a:lnTo>
                  <a:pt x="107827" y="107095"/>
                </a:lnTo>
                <a:lnTo>
                  <a:pt x="107827" y="0"/>
                </a:lnTo>
                <a:close/>
                <a:moveTo>
                  <a:pt x="192735" y="0"/>
                </a:moveTo>
                <a:lnTo>
                  <a:pt x="258171" y="0"/>
                </a:lnTo>
                <a:lnTo>
                  <a:pt x="258171" y="12881"/>
                </a:lnTo>
                <a:lnTo>
                  <a:pt x="206778" y="12881"/>
                </a:lnTo>
                <a:lnTo>
                  <a:pt x="206778" y="48413"/>
                </a:lnTo>
                <a:lnTo>
                  <a:pt x="250402" y="48413"/>
                </a:lnTo>
                <a:lnTo>
                  <a:pt x="250402" y="61108"/>
                </a:lnTo>
                <a:lnTo>
                  <a:pt x="206778" y="61108"/>
                </a:lnTo>
                <a:lnTo>
                  <a:pt x="206778" y="107095"/>
                </a:lnTo>
                <a:lnTo>
                  <a:pt x="192735" y="107095"/>
                </a:lnTo>
                <a:lnTo>
                  <a:pt x="192735" y="0"/>
                </a:lnTo>
                <a:close/>
                <a:moveTo>
                  <a:pt x="277649" y="0"/>
                </a:moveTo>
                <a:lnTo>
                  <a:pt x="313953" y="0"/>
                </a:lnTo>
                <a:cubicBezTo>
                  <a:pt x="325705" y="0"/>
                  <a:pt x="334619" y="1991"/>
                  <a:pt x="340694" y="5974"/>
                </a:cubicBezTo>
                <a:cubicBezTo>
                  <a:pt x="346870" y="9956"/>
                  <a:pt x="349957" y="16677"/>
                  <a:pt x="349957" y="26136"/>
                </a:cubicBezTo>
                <a:cubicBezTo>
                  <a:pt x="349957" y="33790"/>
                  <a:pt x="348015" y="39639"/>
                  <a:pt x="344131" y="43622"/>
                </a:cubicBezTo>
                <a:cubicBezTo>
                  <a:pt x="340247" y="47480"/>
                  <a:pt x="335067" y="50156"/>
                  <a:pt x="328593" y="51525"/>
                </a:cubicBezTo>
                <a:cubicBezTo>
                  <a:pt x="336860" y="52520"/>
                  <a:pt x="343135" y="54947"/>
                  <a:pt x="347417" y="58868"/>
                </a:cubicBezTo>
                <a:cubicBezTo>
                  <a:pt x="351700" y="62664"/>
                  <a:pt x="353841" y="68389"/>
                  <a:pt x="353841" y="76168"/>
                </a:cubicBezTo>
                <a:cubicBezTo>
                  <a:pt x="353841" y="83572"/>
                  <a:pt x="352099" y="89547"/>
                  <a:pt x="348613" y="94089"/>
                </a:cubicBezTo>
                <a:cubicBezTo>
                  <a:pt x="345127" y="98694"/>
                  <a:pt x="340346" y="101992"/>
                  <a:pt x="334270" y="104108"/>
                </a:cubicBezTo>
                <a:cubicBezTo>
                  <a:pt x="328195" y="106099"/>
                  <a:pt x="321323" y="107095"/>
                  <a:pt x="313654" y="107095"/>
                </a:cubicBezTo>
                <a:lnTo>
                  <a:pt x="277649" y="107095"/>
                </a:lnTo>
                <a:lnTo>
                  <a:pt x="277649" y="0"/>
                </a:lnTo>
                <a:close/>
                <a:moveTo>
                  <a:pt x="312907" y="45738"/>
                </a:moveTo>
                <a:cubicBezTo>
                  <a:pt x="319679" y="45738"/>
                  <a:pt x="325157" y="44244"/>
                  <a:pt x="329340" y="41257"/>
                </a:cubicBezTo>
                <a:cubicBezTo>
                  <a:pt x="333623" y="38146"/>
                  <a:pt x="335764" y="33354"/>
                  <a:pt x="335764" y="26882"/>
                </a:cubicBezTo>
                <a:cubicBezTo>
                  <a:pt x="335764" y="21406"/>
                  <a:pt x="333872" y="17735"/>
                  <a:pt x="330087" y="15868"/>
                </a:cubicBezTo>
                <a:cubicBezTo>
                  <a:pt x="326303" y="13877"/>
                  <a:pt x="320924" y="12881"/>
                  <a:pt x="313953" y="12881"/>
                </a:cubicBezTo>
                <a:lnTo>
                  <a:pt x="291692" y="12881"/>
                </a:lnTo>
                <a:lnTo>
                  <a:pt x="291692" y="45738"/>
                </a:lnTo>
                <a:lnTo>
                  <a:pt x="312907" y="45738"/>
                </a:lnTo>
                <a:close/>
                <a:moveTo>
                  <a:pt x="313654" y="94400"/>
                </a:moveTo>
                <a:cubicBezTo>
                  <a:pt x="321223" y="94400"/>
                  <a:pt x="327348" y="93093"/>
                  <a:pt x="332030" y="90542"/>
                </a:cubicBezTo>
                <a:cubicBezTo>
                  <a:pt x="336711" y="87929"/>
                  <a:pt x="339051" y="83262"/>
                  <a:pt x="339051" y="76478"/>
                </a:cubicBezTo>
                <a:cubicBezTo>
                  <a:pt x="339051" y="69696"/>
                  <a:pt x="336860" y="65028"/>
                  <a:pt x="332478" y="62415"/>
                </a:cubicBezTo>
                <a:cubicBezTo>
                  <a:pt x="328195" y="59739"/>
                  <a:pt x="321372" y="58433"/>
                  <a:pt x="312010" y="58433"/>
                </a:cubicBezTo>
                <a:lnTo>
                  <a:pt x="291692" y="58433"/>
                </a:lnTo>
                <a:lnTo>
                  <a:pt x="291692" y="94400"/>
                </a:lnTo>
                <a:lnTo>
                  <a:pt x="313654" y="94400"/>
                </a:lnTo>
                <a:close/>
                <a:moveTo>
                  <a:pt x="373942" y="0"/>
                </a:moveTo>
                <a:lnTo>
                  <a:pt x="440274" y="0"/>
                </a:lnTo>
                <a:lnTo>
                  <a:pt x="440274" y="12881"/>
                </a:lnTo>
                <a:lnTo>
                  <a:pt x="387985" y="12881"/>
                </a:lnTo>
                <a:lnTo>
                  <a:pt x="387985" y="45240"/>
                </a:lnTo>
                <a:lnTo>
                  <a:pt x="432356" y="45240"/>
                </a:lnTo>
                <a:lnTo>
                  <a:pt x="432356" y="57934"/>
                </a:lnTo>
                <a:lnTo>
                  <a:pt x="387985" y="57934"/>
                </a:lnTo>
                <a:lnTo>
                  <a:pt x="387985" y="94400"/>
                </a:lnTo>
                <a:lnTo>
                  <a:pt x="441021" y="94400"/>
                </a:lnTo>
                <a:lnTo>
                  <a:pt x="441021" y="107095"/>
                </a:lnTo>
                <a:lnTo>
                  <a:pt x="373942" y="107095"/>
                </a:lnTo>
                <a:lnTo>
                  <a:pt x="373942" y="0"/>
                </a:lnTo>
                <a:close/>
                <a:moveTo>
                  <a:pt x="463225" y="0"/>
                </a:moveTo>
                <a:lnTo>
                  <a:pt x="499230" y="0"/>
                </a:lnTo>
                <a:cubicBezTo>
                  <a:pt x="506401" y="0"/>
                  <a:pt x="513074" y="871"/>
                  <a:pt x="519249" y="2551"/>
                </a:cubicBezTo>
                <a:cubicBezTo>
                  <a:pt x="525425" y="4231"/>
                  <a:pt x="530803" y="7032"/>
                  <a:pt x="535384" y="10890"/>
                </a:cubicBezTo>
                <a:cubicBezTo>
                  <a:pt x="539966" y="14686"/>
                  <a:pt x="543551" y="19788"/>
                  <a:pt x="546141" y="26136"/>
                </a:cubicBezTo>
                <a:cubicBezTo>
                  <a:pt x="548731" y="32545"/>
                  <a:pt x="550025" y="40448"/>
                  <a:pt x="550025" y="49907"/>
                </a:cubicBezTo>
                <a:cubicBezTo>
                  <a:pt x="550025" y="62415"/>
                  <a:pt x="547735" y="72994"/>
                  <a:pt x="543153" y="81581"/>
                </a:cubicBezTo>
                <a:cubicBezTo>
                  <a:pt x="538671" y="90044"/>
                  <a:pt x="532496" y="96392"/>
                  <a:pt x="524628" y="100685"/>
                </a:cubicBezTo>
                <a:cubicBezTo>
                  <a:pt x="516759" y="104979"/>
                  <a:pt x="507746" y="107095"/>
                  <a:pt x="497587" y="107095"/>
                </a:cubicBezTo>
                <a:lnTo>
                  <a:pt x="463225" y="107095"/>
                </a:lnTo>
                <a:lnTo>
                  <a:pt x="463225" y="0"/>
                </a:lnTo>
                <a:close/>
                <a:moveTo>
                  <a:pt x="497587" y="94400"/>
                </a:moveTo>
                <a:cubicBezTo>
                  <a:pt x="504957" y="94400"/>
                  <a:pt x="511431" y="92907"/>
                  <a:pt x="517009" y="89920"/>
                </a:cubicBezTo>
                <a:cubicBezTo>
                  <a:pt x="522586" y="86808"/>
                  <a:pt x="526919" y="82079"/>
                  <a:pt x="530006" y="75732"/>
                </a:cubicBezTo>
                <a:cubicBezTo>
                  <a:pt x="533193" y="69260"/>
                  <a:pt x="534787" y="60983"/>
                  <a:pt x="534787" y="50965"/>
                </a:cubicBezTo>
                <a:cubicBezTo>
                  <a:pt x="534787" y="40884"/>
                  <a:pt x="533243" y="33105"/>
                  <a:pt x="530156" y="27629"/>
                </a:cubicBezTo>
                <a:cubicBezTo>
                  <a:pt x="527068" y="22153"/>
                  <a:pt x="522835" y="18357"/>
                  <a:pt x="517457" y="16117"/>
                </a:cubicBezTo>
                <a:cubicBezTo>
                  <a:pt x="512178" y="13939"/>
                  <a:pt x="506103" y="12881"/>
                  <a:pt x="499230" y="12881"/>
                </a:cubicBezTo>
                <a:lnTo>
                  <a:pt x="477269" y="12881"/>
                </a:lnTo>
                <a:lnTo>
                  <a:pt x="477269" y="94400"/>
                </a:lnTo>
                <a:lnTo>
                  <a:pt x="497587" y="94400"/>
                </a:lnTo>
                <a:close/>
                <a:moveTo>
                  <a:pt x="631758" y="12134"/>
                </a:moveTo>
                <a:lnTo>
                  <a:pt x="586342" y="107095"/>
                </a:lnTo>
                <a:lnTo>
                  <a:pt x="571701" y="107095"/>
                </a:lnTo>
                <a:lnTo>
                  <a:pt x="617416" y="12881"/>
                </a:lnTo>
                <a:lnTo>
                  <a:pt x="562886" y="12881"/>
                </a:lnTo>
                <a:lnTo>
                  <a:pt x="562886" y="0"/>
                </a:lnTo>
                <a:lnTo>
                  <a:pt x="631758" y="0"/>
                </a:lnTo>
                <a:lnTo>
                  <a:pt x="631758" y="12134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9" name="Полилиния 1018">
            <a:extLst>
              <a:ext uri="{FF2B5EF4-FFF2-40B4-BE49-F238E27FC236}">
                <a16:creationId xmlns:a16="http://schemas.microsoft.com/office/drawing/2014/main" id="{D84B4BA6-03C0-55E9-1B5A-8D9F796AA41C}"/>
              </a:ext>
            </a:extLst>
          </p:cNvPr>
          <p:cNvSpPr/>
          <p:nvPr userDrawn="1"/>
        </p:nvSpPr>
        <p:spPr>
          <a:xfrm>
            <a:off x="18445574" y="10323656"/>
            <a:ext cx="1398954" cy="726227"/>
          </a:xfrm>
          <a:custGeom>
            <a:avLst/>
            <a:gdLst>
              <a:gd name="connsiteX0" fmla="*/ 0 w 1198727"/>
              <a:gd name="connsiteY0" fmla="*/ 0 h 622284"/>
              <a:gd name="connsiteX1" fmla="*/ 1198728 w 1198727"/>
              <a:gd name="connsiteY1" fmla="*/ 0 h 622284"/>
              <a:gd name="connsiteX2" fmla="*/ 1198728 w 1198727"/>
              <a:gd name="connsiteY2" fmla="*/ 472936 h 622284"/>
              <a:gd name="connsiteX3" fmla="*/ 1049331 w 1198727"/>
              <a:gd name="connsiteY3" fmla="*/ 622284 h 622284"/>
              <a:gd name="connsiteX4" fmla="*/ 149397 w 1198727"/>
              <a:gd name="connsiteY4" fmla="*/ 622284 h 622284"/>
              <a:gd name="connsiteX5" fmla="*/ 0 w 1198727"/>
              <a:gd name="connsiteY5" fmla="*/ 472936 h 622284"/>
              <a:gd name="connsiteX6" fmla="*/ 0 w 1198727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7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10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B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0" name="Полилиния 1019">
            <a:extLst>
              <a:ext uri="{FF2B5EF4-FFF2-40B4-BE49-F238E27FC236}">
                <a16:creationId xmlns:a16="http://schemas.microsoft.com/office/drawing/2014/main" id="{4301425C-5860-E7CF-2F5C-997C6151B89D}"/>
              </a:ext>
            </a:extLst>
          </p:cNvPr>
          <p:cNvSpPr/>
          <p:nvPr userDrawn="1"/>
        </p:nvSpPr>
        <p:spPr>
          <a:xfrm>
            <a:off x="18568782" y="10625622"/>
            <a:ext cx="714143" cy="128252"/>
          </a:xfrm>
          <a:custGeom>
            <a:avLst/>
            <a:gdLst>
              <a:gd name="connsiteX0" fmla="*/ 22111 w 611931"/>
              <a:gd name="connsiteY0" fmla="*/ 108402 h 109895"/>
              <a:gd name="connsiteX1" fmla="*/ 10159 w 611931"/>
              <a:gd name="connsiteY1" fmla="*/ 108402 h 109895"/>
              <a:gd name="connsiteX2" fmla="*/ 16433 w 611931"/>
              <a:gd name="connsiteY2" fmla="*/ 77475 h 109895"/>
              <a:gd name="connsiteX3" fmla="*/ 0 w 611931"/>
              <a:gd name="connsiteY3" fmla="*/ 77475 h 109895"/>
              <a:gd name="connsiteX4" fmla="*/ 0 w 611931"/>
              <a:gd name="connsiteY4" fmla="*/ 67020 h 109895"/>
              <a:gd name="connsiteX5" fmla="*/ 18675 w 611931"/>
              <a:gd name="connsiteY5" fmla="*/ 67020 h 109895"/>
              <a:gd name="connsiteX6" fmla="*/ 24202 w 611931"/>
              <a:gd name="connsiteY6" fmla="*/ 39826 h 109895"/>
              <a:gd name="connsiteX7" fmla="*/ 4033 w 611931"/>
              <a:gd name="connsiteY7" fmla="*/ 39826 h 109895"/>
              <a:gd name="connsiteX8" fmla="*/ 4033 w 611931"/>
              <a:gd name="connsiteY8" fmla="*/ 29372 h 109895"/>
              <a:gd name="connsiteX9" fmla="*/ 26294 w 611931"/>
              <a:gd name="connsiteY9" fmla="*/ 29372 h 109895"/>
              <a:gd name="connsiteX10" fmla="*/ 32120 w 611931"/>
              <a:gd name="connsiteY10" fmla="*/ 1307 h 109895"/>
              <a:gd name="connsiteX11" fmla="*/ 44072 w 611931"/>
              <a:gd name="connsiteY11" fmla="*/ 1307 h 109895"/>
              <a:gd name="connsiteX12" fmla="*/ 38246 w 611931"/>
              <a:gd name="connsiteY12" fmla="*/ 29372 h 109895"/>
              <a:gd name="connsiteX13" fmla="*/ 60655 w 611931"/>
              <a:gd name="connsiteY13" fmla="*/ 29372 h 109895"/>
              <a:gd name="connsiteX14" fmla="*/ 66482 w 611931"/>
              <a:gd name="connsiteY14" fmla="*/ 1307 h 109895"/>
              <a:gd name="connsiteX15" fmla="*/ 78434 w 611931"/>
              <a:gd name="connsiteY15" fmla="*/ 1307 h 109895"/>
              <a:gd name="connsiteX16" fmla="*/ 72607 w 611931"/>
              <a:gd name="connsiteY16" fmla="*/ 29372 h 109895"/>
              <a:gd name="connsiteX17" fmla="*/ 89340 w 611931"/>
              <a:gd name="connsiteY17" fmla="*/ 29372 h 109895"/>
              <a:gd name="connsiteX18" fmla="*/ 89340 w 611931"/>
              <a:gd name="connsiteY18" fmla="*/ 39826 h 109895"/>
              <a:gd name="connsiteX19" fmla="*/ 70516 w 611931"/>
              <a:gd name="connsiteY19" fmla="*/ 39826 h 109895"/>
              <a:gd name="connsiteX20" fmla="*/ 64988 w 611931"/>
              <a:gd name="connsiteY20" fmla="*/ 67020 h 109895"/>
              <a:gd name="connsiteX21" fmla="*/ 85306 w 611931"/>
              <a:gd name="connsiteY21" fmla="*/ 67020 h 109895"/>
              <a:gd name="connsiteX22" fmla="*/ 85306 w 611931"/>
              <a:gd name="connsiteY22" fmla="*/ 77475 h 109895"/>
              <a:gd name="connsiteX23" fmla="*/ 62747 w 611931"/>
              <a:gd name="connsiteY23" fmla="*/ 77475 h 109895"/>
              <a:gd name="connsiteX24" fmla="*/ 56472 w 611931"/>
              <a:gd name="connsiteY24" fmla="*/ 108402 h 109895"/>
              <a:gd name="connsiteX25" fmla="*/ 44520 w 611931"/>
              <a:gd name="connsiteY25" fmla="*/ 108402 h 109895"/>
              <a:gd name="connsiteX26" fmla="*/ 50795 w 611931"/>
              <a:gd name="connsiteY26" fmla="*/ 77475 h 109895"/>
              <a:gd name="connsiteX27" fmla="*/ 28386 w 611931"/>
              <a:gd name="connsiteY27" fmla="*/ 77475 h 109895"/>
              <a:gd name="connsiteX28" fmla="*/ 22111 w 611931"/>
              <a:gd name="connsiteY28" fmla="*/ 108402 h 109895"/>
              <a:gd name="connsiteX29" fmla="*/ 30626 w 611931"/>
              <a:gd name="connsiteY29" fmla="*/ 67020 h 109895"/>
              <a:gd name="connsiteX30" fmla="*/ 53036 w 611931"/>
              <a:gd name="connsiteY30" fmla="*/ 67020 h 109895"/>
              <a:gd name="connsiteX31" fmla="*/ 58564 w 611931"/>
              <a:gd name="connsiteY31" fmla="*/ 39826 h 109895"/>
              <a:gd name="connsiteX32" fmla="*/ 36154 w 611931"/>
              <a:gd name="connsiteY32" fmla="*/ 39826 h 109895"/>
              <a:gd name="connsiteX33" fmla="*/ 30626 w 611931"/>
              <a:gd name="connsiteY33" fmla="*/ 67020 h 109895"/>
              <a:gd name="connsiteX34" fmla="*/ 107827 w 611931"/>
              <a:gd name="connsiteY34" fmla="*/ 1307 h 109895"/>
              <a:gd name="connsiteX35" fmla="*/ 173264 w 611931"/>
              <a:gd name="connsiteY35" fmla="*/ 1307 h 109895"/>
              <a:gd name="connsiteX36" fmla="*/ 173264 w 611931"/>
              <a:gd name="connsiteY36" fmla="*/ 14188 h 109895"/>
              <a:gd name="connsiteX37" fmla="*/ 121871 w 611931"/>
              <a:gd name="connsiteY37" fmla="*/ 14188 h 109895"/>
              <a:gd name="connsiteX38" fmla="*/ 121871 w 611931"/>
              <a:gd name="connsiteY38" fmla="*/ 49720 h 109895"/>
              <a:gd name="connsiteX39" fmla="*/ 165495 w 611931"/>
              <a:gd name="connsiteY39" fmla="*/ 49720 h 109895"/>
              <a:gd name="connsiteX40" fmla="*/ 165495 w 611931"/>
              <a:gd name="connsiteY40" fmla="*/ 62415 h 109895"/>
              <a:gd name="connsiteX41" fmla="*/ 121871 w 611931"/>
              <a:gd name="connsiteY41" fmla="*/ 62415 h 109895"/>
              <a:gd name="connsiteX42" fmla="*/ 121871 w 611931"/>
              <a:gd name="connsiteY42" fmla="*/ 108402 h 109895"/>
              <a:gd name="connsiteX43" fmla="*/ 107827 w 611931"/>
              <a:gd name="connsiteY43" fmla="*/ 108402 h 109895"/>
              <a:gd name="connsiteX44" fmla="*/ 107827 w 611931"/>
              <a:gd name="connsiteY44" fmla="*/ 1307 h 109895"/>
              <a:gd name="connsiteX45" fmla="*/ 192735 w 611931"/>
              <a:gd name="connsiteY45" fmla="*/ 1307 h 109895"/>
              <a:gd name="connsiteX46" fmla="*/ 258171 w 611931"/>
              <a:gd name="connsiteY46" fmla="*/ 1307 h 109895"/>
              <a:gd name="connsiteX47" fmla="*/ 258171 w 611931"/>
              <a:gd name="connsiteY47" fmla="*/ 14188 h 109895"/>
              <a:gd name="connsiteX48" fmla="*/ 206778 w 611931"/>
              <a:gd name="connsiteY48" fmla="*/ 14188 h 109895"/>
              <a:gd name="connsiteX49" fmla="*/ 206778 w 611931"/>
              <a:gd name="connsiteY49" fmla="*/ 49720 h 109895"/>
              <a:gd name="connsiteX50" fmla="*/ 250402 w 611931"/>
              <a:gd name="connsiteY50" fmla="*/ 49720 h 109895"/>
              <a:gd name="connsiteX51" fmla="*/ 250402 w 611931"/>
              <a:gd name="connsiteY51" fmla="*/ 62415 h 109895"/>
              <a:gd name="connsiteX52" fmla="*/ 206778 w 611931"/>
              <a:gd name="connsiteY52" fmla="*/ 62415 h 109895"/>
              <a:gd name="connsiteX53" fmla="*/ 206778 w 611931"/>
              <a:gd name="connsiteY53" fmla="*/ 108402 h 109895"/>
              <a:gd name="connsiteX54" fmla="*/ 192735 w 611931"/>
              <a:gd name="connsiteY54" fmla="*/ 108402 h 109895"/>
              <a:gd name="connsiteX55" fmla="*/ 192735 w 611931"/>
              <a:gd name="connsiteY55" fmla="*/ 1307 h 109895"/>
              <a:gd name="connsiteX56" fmla="*/ 277649 w 611931"/>
              <a:gd name="connsiteY56" fmla="*/ 1307 h 109895"/>
              <a:gd name="connsiteX57" fmla="*/ 343981 w 611931"/>
              <a:gd name="connsiteY57" fmla="*/ 1307 h 109895"/>
              <a:gd name="connsiteX58" fmla="*/ 343981 w 611931"/>
              <a:gd name="connsiteY58" fmla="*/ 14188 h 109895"/>
              <a:gd name="connsiteX59" fmla="*/ 291692 w 611931"/>
              <a:gd name="connsiteY59" fmla="*/ 14188 h 109895"/>
              <a:gd name="connsiteX60" fmla="*/ 291692 w 611931"/>
              <a:gd name="connsiteY60" fmla="*/ 46547 h 109895"/>
              <a:gd name="connsiteX61" fmla="*/ 336063 w 611931"/>
              <a:gd name="connsiteY61" fmla="*/ 46547 h 109895"/>
              <a:gd name="connsiteX62" fmla="*/ 336063 w 611931"/>
              <a:gd name="connsiteY62" fmla="*/ 59242 h 109895"/>
              <a:gd name="connsiteX63" fmla="*/ 291692 w 611931"/>
              <a:gd name="connsiteY63" fmla="*/ 59242 h 109895"/>
              <a:gd name="connsiteX64" fmla="*/ 291692 w 611931"/>
              <a:gd name="connsiteY64" fmla="*/ 95707 h 109895"/>
              <a:gd name="connsiteX65" fmla="*/ 344728 w 611931"/>
              <a:gd name="connsiteY65" fmla="*/ 95707 h 109895"/>
              <a:gd name="connsiteX66" fmla="*/ 344728 w 611931"/>
              <a:gd name="connsiteY66" fmla="*/ 108402 h 109895"/>
              <a:gd name="connsiteX67" fmla="*/ 277649 w 611931"/>
              <a:gd name="connsiteY67" fmla="*/ 108402 h 109895"/>
              <a:gd name="connsiteX68" fmla="*/ 277649 w 611931"/>
              <a:gd name="connsiteY68" fmla="*/ 1307 h 109895"/>
              <a:gd name="connsiteX69" fmla="*/ 366939 w 611931"/>
              <a:gd name="connsiteY69" fmla="*/ 1307 h 109895"/>
              <a:gd name="connsiteX70" fmla="*/ 403242 w 611931"/>
              <a:gd name="connsiteY70" fmla="*/ 1307 h 109895"/>
              <a:gd name="connsiteX71" fmla="*/ 429984 w 611931"/>
              <a:gd name="connsiteY71" fmla="*/ 7281 h 109895"/>
              <a:gd name="connsiteX72" fmla="*/ 439247 w 611931"/>
              <a:gd name="connsiteY72" fmla="*/ 27443 h 109895"/>
              <a:gd name="connsiteX73" fmla="*/ 433420 w 611931"/>
              <a:gd name="connsiteY73" fmla="*/ 44930 h 109895"/>
              <a:gd name="connsiteX74" fmla="*/ 417883 w 611931"/>
              <a:gd name="connsiteY74" fmla="*/ 52832 h 109895"/>
              <a:gd name="connsiteX75" fmla="*/ 436707 w 611931"/>
              <a:gd name="connsiteY75" fmla="*/ 60175 h 109895"/>
              <a:gd name="connsiteX76" fmla="*/ 443131 w 611931"/>
              <a:gd name="connsiteY76" fmla="*/ 77475 h 109895"/>
              <a:gd name="connsiteX77" fmla="*/ 437903 w 611931"/>
              <a:gd name="connsiteY77" fmla="*/ 95397 h 109895"/>
              <a:gd name="connsiteX78" fmla="*/ 423560 w 611931"/>
              <a:gd name="connsiteY78" fmla="*/ 105415 h 109895"/>
              <a:gd name="connsiteX79" fmla="*/ 402943 w 611931"/>
              <a:gd name="connsiteY79" fmla="*/ 108402 h 109895"/>
              <a:gd name="connsiteX80" fmla="*/ 366939 w 611931"/>
              <a:gd name="connsiteY80" fmla="*/ 108402 h 109895"/>
              <a:gd name="connsiteX81" fmla="*/ 366939 w 611931"/>
              <a:gd name="connsiteY81" fmla="*/ 1307 h 109895"/>
              <a:gd name="connsiteX82" fmla="*/ 402196 w 611931"/>
              <a:gd name="connsiteY82" fmla="*/ 47045 h 109895"/>
              <a:gd name="connsiteX83" fmla="*/ 418630 w 611931"/>
              <a:gd name="connsiteY83" fmla="*/ 42565 h 109895"/>
              <a:gd name="connsiteX84" fmla="*/ 425054 w 611931"/>
              <a:gd name="connsiteY84" fmla="*/ 28190 h 109895"/>
              <a:gd name="connsiteX85" fmla="*/ 419377 w 611931"/>
              <a:gd name="connsiteY85" fmla="*/ 17175 h 109895"/>
              <a:gd name="connsiteX86" fmla="*/ 403242 w 611931"/>
              <a:gd name="connsiteY86" fmla="*/ 14188 h 109895"/>
              <a:gd name="connsiteX87" fmla="*/ 380982 w 611931"/>
              <a:gd name="connsiteY87" fmla="*/ 14188 h 109895"/>
              <a:gd name="connsiteX88" fmla="*/ 380982 w 611931"/>
              <a:gd name="connsiteY88" fmla="*/ 47045 h 109895"/>
              <a:gd name="connsiteX89" fmla="*/ 402196 w 611931"/>
              <a:gd name="connsiteY89" fmla="*/ 47045 h 109895"/>
              <a:gd name="connsiteX90" fmla="*/ 402943 w 611931"/>
              <a:gd name="connsiteY90" fmla="*/ 95707 h 109895"/>
              <a:gd name="connsiteX91" fmla="*/ 421319 w 611931"/>
              <a:gd name="connsiteY91" fmla="*/ 91849 h 109895"/>
              <a:gd name="connsiteX92" fmla="*/ 428341 w 611931"/>
              <a:gd name="connsiteY92" fmla="*/ 77786 h 109895"/>
              <a:gd name="connsiteX93" fmla="*/ 421768 w 611931"/>
              <a:gd name="connsiteY93" fmla="*/ 63722 h 109895"/>
              <a:gd name="connsiteX94" fmla="*/ 401300 w 611931"/>
              <a:gd name="connsiteY94" fmla="*/ 59740 h 109895"/>
              <a:gd name="connsiteX95" fmla="*/ 380982 w 611931"/>
              <a:gd name="connsiteY95" fmla="*/ 59740 h 109895"/>
              <a:gd name="connsiteX96" fmla="*/ 380982 w 611931"/>
              <a:gd name="connsiteY96" fmla="*/ 95707 h 109895"/>
              <a:gd name="connsiteX97" fmla="*/ 402943 w 611931"/>
              <a:gd name="connsiteY97" fmla="*/ 95707 h 109895"/>
              <a:gd name="connsiteX98" fmla="*/ 463225 w 611931"/>
              <a:gd name="connsiteY98" fmla="*/ 1307 h 109895"/>
              <a:gd name="connsiteX99" fmla="*/ 528662 w 611931"/>
              <a:gd name="connsiteY99" fmla="*/ 1307 h 109895"/>
              <a:gd name="connsiteX100" fmla="*/ 528662 w 611931"/>
              <a:gd name="connsiteY100" fmla="*/ 14188 h 109895"/>
              <a:gd name="connsiteX101" fmla="*/ 477269 w 611931"/>
              <a:gd name="connsiteY101" fmla="*/ 14188 h 109895"/>
              <a:gd name="connsiteX102" fmla="*/ 477269 w 611931"/>
              <a:gd name="connsiteY102" fmla="*/ 49720 h 109895"/>
              <a:gd name="connsiteX103" fmla="*/ 520893 w 611931"/>
              <a:gd name="connsiteY103" fmla="*/ 49720 h 109895"/>
              <a:gd name="connsiteX104" fmla="*/ 520893 w 611931"/>
              <a:gd name="connsiteY104" fmla="*/ 62415 h 109895"/>
              <a:gd name="connsiteX105" fmla="*/ 477269 w 611931"/>
              <a:gd name="connsiteY105" fmla="*/ 62415 h 109895"/>
              <a:gd name="connsiteX106" fmla="*/ 477269 w 611931"/>
              <a:gd name="connsiteY106" fmla="*/ 108402 h 109895"/>
              <a:gd name="connsiteX107" fmla="*/ 463225 w 611931"/>
              <a:gd name="connsiteY107" fmla="*/ 108402 h 109895"/>
              <a:gd name="connsiteX108" fmla="*/ 463225 w 611931"/>
              <a:gd name="connsiteY108" fmla="*/ 1307 h 109895"/>
              <a:gd name="connsiteX109" fmla="*/ 576973 w 611931"/>
              <a:gd name="connsiteY109" fmla="*/ 109896 h 109895"/>
              <a:gd name="connsiteX110" fmla="*/ 558746 w 611931"/>
              <a:gd name="connsiteY110" fmla="*/ 104047 h 109895"/>
              <a:gd name="connsiteX111" fmla="*/ 546048 w 611931"/>
              <a:gd name="connsiteY111" fmla="*/ 86125 h 109895"/>
              <a:gd name="connsiteX112" fmla="*/ 541566 w 611931"/>
              <a:gd name="connsiteY112" fmla="*/ 54761 h 109895"/>
              <a:gd name="connsiteX113" fmla="*/ 546048 w 611931"/>
              <a:gd name="connsiteY113" fmla="*/ 23398 h 109895"/>
              <a:gd name="connsiteX114" fmla="*/ 558746 w 611931"/>
              <a:gd name="connsiteY114" fmla="*/ 5663 h 109895"/>
              <a:gd name="connsiteX115" fmla="*/ 576973 w 611931"/>
              <a:gd name="connsiteY115" fmla="*/ 0 h 109895"/>
              <a:gd name="connsiteX116" fmla="*/ 595050 w 611931"/>
              <a:gd name="connsiteY116" fmla="*/ 5663 h 109895"/>
              <a:gd name="connsiteX117" fmla="*/ 607450 w 611931"/>
              <a:gd name="connsiteY117" fmla="*/ 23398 h 109895"/>
              <a:gd name="connsiteX118" fmla="*/ 611932 w 611931"/>
              <a:gd name="connsiteY118" fmla="*/ 54512 h 109895"/>
              <a:gd name="connsiteX119" fmla="*/ 607450 w 611931"/>
              <a:gd name="connsiteY119" fmla="*/ 85876 h 109895"/>
              <a:gd name="connsiteX120" fmla="*/ 595050 w 611931"/>
              <a:gd name="connsiteY120" fmla="*/ 104047 h 109895"/>
              <a:gd name="connsiteX121" fmla="*/ 576973 w 611931"/>
              <a:gd name="connsiteY121" fmla="*/ 109896 h 109895"/>
              <a:gd name="connsiteX122" fmla="*/ 576824 w 611931"/>
              <a:gd name="connsiteY122" fmla="*/ 98072 h 109895"/>
              <a:gd name="connsiteX123" fmla="*/ 588178 w 611931"/>
              <a:gd name="connsiteY123" fmla="*/ 94089 h 109895"/>
              <a:gd name="connsiteX124" fmla="*/ 595349 w 611931"/>
              <a:gd name="connsiteY124" fmla="*/ 80462 h 109895"/>
              <a:gd name="connsiteX125" fmla="*/ 597889 w 611931"/>
              <a:gd name="connsiteY125" fmla="*/ 54948 h 109895"/>
              <a:gd name="connsiteX126" fmla="*/ 595498 w 611931"/>
              <a:gd name="connsiteY126" fmla="*/ 29559 h 109895"/>
              <a:gd name="connsiteX127" fmla="*/ 588327 w 611931"/>
              <a:gd name="connsiteY127" fmla="*/ 15931 h 109895"/>
              <a:gd name="connsiteX128" fmla="*/ 576973 w 611931"/>
              <a:gd name="connsiteY128" fmla="*/ 11761 h 109895"/>
              <a:gd name="connsiteX129" fmla="*/ 565469 w 611931"/>
              <a:gd name="connsiteY129" fmla="*/ 15931 h 109895"/>
              <a:gd name="connsiteX130" fmla="*/ 558149 w 611931"/>
              <a:gd name="connsiteY130" fmla="*/ 29559 h 109895"/>
              <a:gd name="connsiteX131" fmla="*/ 555609 w 611931"/>
              <a:gd name="connsiteY131" fmla="*/ 54948 h 109895"/>
              <a:gd name="connsiteX132" fmla="*/ 557999 w 611931"/>
              <a:gd name="connsiteY132" fmla="*/ 80462 h 109895"/>
              <a:gd name="connsiteX133" fmla="*/ 565320 w 611931"/>
              <a:gd name="connsiteY133" fmla="*/ 94089 h 109895"/>
              <a:gd name="connsiteX134" fmla="*/ 576824 w 611931"/>
              <a:gd name="connsiteY13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1931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277649" y="1307"/>
                </a:moveTo>
                <a:lnTo>
                  <a:pt x="343981" y="1307"/>
                </a:lnTo>
                <a:lnTo>
                  <a:pt x="343981" y="14188"/>
                </a:lnTo>
                <a:lnTo>
                  <a:pt x="291692" y="14188"/>
                </a:lnTo>
                <a:lnTo>
                  <a:pt x="291692" y="46547"/>
                </a:lnTo>
                <a:lnTo>
                  <a:pt x="336063" y="46547"/>
                </a:lnTo>
                <a:lnTo>
                  <a:pt x="336063" y="59242"/>
                </a:lnTo>
                <a:lnTo>
                  <a:pt x="291692" y="59242"/>
                </a:lnTo>
                <a:lnTo>
                  <a:pt x="291692" y="95707"/>
                </a:lnTo>
                <a:lnTo>
                  <a:pt x="344728" y="95707"/>
                </a:lnTo>
                <a:lnTo>
                  <a:pt x="344728" y="108402"/>
                </a:lnTo>
                <a:lnTo>
                  <a:pt x="277649" y="108402"/>
                </a:lnTo>
                <a:lnTo>
                  <a:pt x="277649" y="1307"/>
                </a:lnTo>
                <a:close/>
                <a:moveTo>
                  <a:pt x="366939" y="1307"/>
                </a:moveTo>
                <a:lnTo>
                  <a:pt x="403242" y="1307"/>
                </a:lnTo>
                <a:cubicBezTo>
                  <a:pt x="414995" y="1307"/>
                  <a:pt x="423909" y="3298"/>
                  <a:pt x="429984" y="7281"/>
                </a:cubicBezTo>
                <a:cubicBezTo>
                  <a:pt x="436159" y="11264"/>
                  <a:pt x="439247" y="17984"/>
                  <a:pt x="439247" y="27443"/>
                </a:cubicBezTo>
                <a:cubicBezTo>
                  <a:pt x="439247" y="35097"/>
                  <a:pt x="437305" y="40947"/>
                  <a:pt x="433420" y="44930"/>
                </a:cubicBezTo>
                <a:cubicBezTo>
                  <a:pt x="429536" y="48788"/>
                  <a:pt x="424357" y="51463"/>
                  <a:pt x="417883" y="52832"/>
                </a:cubicBezTo>
                <a:cubicBezTo>
                  <a:pt x="426150" y="53828"/>
                  <a:pt x="432425" y="56255"/>
                  <a:pt x="436707" y="60175"/>
                </a:cubicBezTo>
                <a:cubicBezTo>
                  <a:pt x="440990" y="63971"/>
                  <a:pt x="443131" y="69696"/>
                  <a:pt x="443131" y="77475"/>
                </a:cubicBezTo>
                <a:cubicBezTo>
                  <a:pt x="443131" y="84880"/>
                  <a:pt x="441389" y="90854"/>
                  <a:pt x="437903" y="95397"/>
                </a:cubicBezTo>
                <a:cubicBezTo>
                  <a:pt x="434417" y="100002"/>
                  <a:pt x="429636" y="103300"/>
                  <a:pt x="423560" y="105415"/>
                </a:cubicBezTo>
                <a:cubicBezTo>
                  <a:pt x="417485" y="107406"/>
                  <a:pt x="410612" y="108402"/>
                  <a:pt x="402943" y="108402"/>
                </a:cubicBezTo>
                <a:lnTo>
                  <a:pt x="366939" y="108402"/>
                </a:lnTo>
                <a:lnTo>
                  <a:pt x="366939" y="1307"/>
                </a:lnTo>
                <a:close/>
                <a:moveTo>
                  <a:pt x="402196" y="47045"/>
                </a:moveTo>
                <a:cubicBezTo>
                  <a:pt x="408969" y="47045"/>
                  <a:pt x="414447" y="45552"/>
                  <a:pt x="418630" y="42565"/>
                </a:cubicBezTo>
                <a:cubicBezTo>
                  <a:pt x="422913" y="39453"/>
                  <a:pt x="425054" y="34662"/>
                  <a:pt x="425054" y="28190"/>
                </a:cubicBezTo>
                <a:cubicBezTo>
                  <a:pt x="425054" y="22714"/>
                  <a:pt x="423162" y="19042"/>
                  <a:pt x="419377" y="17175"/>
                </a:cubicBezTo>
                <a:cubicBezTo>
                  <a:pt x="415593" y="15184"/>
                  <a:pt x="410214" y="14188"/>
                  <a:pt x="403242" y="14188"/>
                </a:cubicBezTo>
                <a:lnTo>
                  <a:pt x="380982" y="14188"/>
                </a:lnTo>
                <a:lnTo>
                  <a:pt x="380982" y="47045"/>
                </a:lnTo>
                <a:lnTo>
                  <a:pt x="402196" y="47045"/>
                </a:lnTo>
                <a:close/>
                <a:moveTo>
                  <a:pt x="402943" y="95707"/>
                </a:moveTo>
                <a:cubicBezTo>
                  <a:pt x="410513" y="95707"/>
                  <a:pt x="416638" y="94401"/>
                  <a:pt x="421319" y="91849"/>
                </a:cubicBezTo>
                <a:cubicBezTo>
                  <a:pt x="426001" y="89236"/>
                  <a:pt x="428341" y="84569"/>
                  <a:pt x="428341" y="77786"/>
                </a:cubicBezTo>
                <a:cubicBezTo>
                  <a:pt x="428341" y="71003"/>
                  <a:pt x="426150" y="66336"/>
                  <a:pt x="421768" y="63722"/>
                </a:cubicBezTo>
                <a:cubicBezTo>
                  <a:pt x="417485" y="61046"/>
                  <a:pt x="410663" y="59740"/>
                  <a:pt x="401300" y="59740"/>
                </a:cubicBezTo>
                <a:lnTo>
                  <a:pt x="380982" y="59740"/>
                </a:lnTo>
                <a:lnTo>
                  <a:pt x="380982" y="95707"/>
                </a:lnTo>
                <a:lnTo>
                  <a:pt x="402943" y="95707"/>
                </a:lnTo>
                <a:close/>
                <a:moveTo>
                  <a:pt x="463225" y="1307"/>
                </a:moveTo>
                <a:lnTo>
                  <a:pt x="528662" y="1307"/>
                </a:lnTo>
                <a:lnTo>
                  <a:pt x="528662" y="14188"/>
                </a:lnTo>
                <a:lnTo>
                  <a:pt x="477269" y="14188"/>
                </a:lnTo>
                <a:lnTo>
                  <a:pt x="477269" y="49720"/>
                </a:lnTo>
                <a:lnTo>
                  <a:pt x="520893" y="49720"/>
                </a:lnTo>
                <a:lnTo>
                  <a:pt x="520893" y="62415"/>
                </a:lnTo>
                <a:lnTo>
                  <a:pt x="477269" y="62415"/>
                </a:lnTo>
                <a:lnTo>
                  <a:pt x="477269" y="108402"/>
                </a:lnTo>
                <a:lnTo>
                  <a:pt x="463225" y="108402"/>
                </a:lnTo>
                <a:lnTo>
                  <a:pt x="463225" y="1307"/>
                </a:lnTo>
                <a:close/>
                <a:moveTo>
                  <a:pt x="576973" y="109896"/>
                </a:moveTo>
                <a:cubicBezTo>
                  <a:pt x="570200" y="109896"/>
                  <a:pt x="564125" y="107967"/>
                  <a:pt x="558746" y="104047"/>
                </a:cubicBezTo>
                <a:cubicBezTo>
                  <a:pt x="553368" y="100188"/>
                  <a:pt x="549135" y="94214"/>
                  <a:pt x="546048" y="86125"/>
                </a:cubicBezTo>
                <a:cubicBezTo>
                  <a:pt x="543060" y="77972"/>
                  <a:pt x="541566" y="67518"/>
                  <a:pt x="541566" y="54761"/>
                </a:cubicBezTo>
                <a:cubicBezTo>
                  <a:pt x="541566" y="41942"/>
                  <a:pt x="543060" y="31488"/>
                  <a:pt x="546048" y="23398"/>
                </a:cubicBezTo>
                <a:cubicBezTo>
                  <a:pt x="549135" y="15371"/>
                  <a:pt x="553368" y="9459"/>
                  <a:pt x="558746" y="5663"/>
                </a:cubicBezTo>
                <a:cubicBezTo>
                  <a:pt x="564125" y="1867"/>
                  <a:pt x="570200" y="0"/>
                  <a:pt x="576973" y="0"/>
                </a:cubicBezTo>
                <a:cubicBezTo>
                  <a:pt x="583746" y="0"/>
                  <a:pt x="589771" y="1867"/>
                  <a:pt x="595050" y="5663"/>
                </a:cubicBezTo>
                <a:cubicBezTo>
                  <a:pt x="600329" y="9459"/>
                  <a:pt x="604462" y="15371"/>
                  <a:pt x="607450" y="23398"/>
                </a:cubicBezTo>
                <a:cubicBezTo>
                  <a:pt x="610438" y="31363"/>
                  <a:pt x="611932" y="41756"/>
                  <a:pt x="611932" y="54512"/>
                </a:cubicBezTo>
                <a:cubicBezTo>
                  <a:pt x="611932" y="67145"/>
                  <a:pt x="610438" y="77599"/>
                  <a:pt x="607450" y="85876"/>
                </a:cubicBezTo>
                <a:cubicBezTo>
                  <a:pt x="604462" y="94027"/>
                  <a:pt x="600329" y="100064"/>
                  <a:pt x="595050" y="104047"/>
                </a:cubicBezTo>
                <a:cubicBezTo>
                  <a:pt x="589771" y="107967"/>
                  <a:pt x="583746" y="109896"/>
                  <a:pt x="576973" y="109896"/>
                </a:cubicBezTo>
                <a:close/>
                <a:moveTo>
                  <a:pt x="576824" y="98072"/>
                </a:moveTo>
                <a:cubicBezTo>
                  <a:pt x="581305" y="98072"/>
                  <a:pt x="585090" y="96766"/>
                  <a:pt x="588178" y="94089"/>
                </a:cubicBezTo>
                <a:cubicBezTo>
                  <a:pt x="591365" y="91289"/>
                  <a:pt x="593755" y="86747"/>
                  <a:pt x="595349" y="80462"/>
                </a:cubicBezTo>
                <a:cubicBezTo>
                  <a:pt x="597042" y="74114"/>
                  <a:pt x="597889" y="65589"/>
                  <a:pt x="597889" y="54948"/>
                </a:cubicBezTo>
                <a:cubicBezTo>
                  <a:pt x="597889" y="44307"/>
                  <a:pt x="597092" y="35844"/>
                  <a:pt x="595498" y="29559"/>
                </a:cubicBezTo>
                <a:cubicBezTo>
                  <a:pt x="593905" y="23150"/>
                  <a:pt x="591514" y="18669"/>
                  <a:pt x="588327" y="15931"/>
                </a:cubicBezTo>
                <a:cubicBezTo>
                  <a:pt x="585240" y="13192"/>
                  <a:pt x="581455" y="11761"/>
                  <a:pt x="576973" y="11761"/>
                </a:cubicBezTo>
                <a:cubicBezTo>
                  <a:pt x="572491" y="11761"/>
                  <a:pt x="568657" y="13192"/>
                  <a:pt x="565469" y="15931"/>
                </a:cubicBezTo>
                <a:cubicBezTo>
                  <a:pt x="562282" y="18669"/>
                  <a:pt x="559842" y="23150"/>
                  <a:pt x="558149" y="29559"/>
                </a:cubicBezTo>
                <a:cubicBezTo>
                  <a:pt x="556456" y="35844"/>
                  <a:pt x="555609" y="44307"/>
                  <a:pt x="555609" y="54948"/>
                </a:cubicBezTo>
                <a:cubicBezTo>
                  <a:pt x="555609" y="65589"/>
                  <a:pt x="556406" y="74114"/>
                  <a:pt x="557999" y="80462"/>
                </a:cubicBezTo>
                <a:cubicBezTo>
                  <a:pt x="559693" y="86747"/>
                  <a:pt x="562133" y="91289"/>
                  <a:pt x="565320" y="94089"/>
                </a:cubicBezTo>
                <a:cubicBezTo>
                  <a:pt x="568507" y="96766"/>
                  <a:pt x="572342" y="98072"/>
                  <a:pt x="576824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1" name="Полилиния 1020">
            <a:extLst>
              <a:ext uri="{FF2B5EF4-FFF2-40B4-BE49-F238E27FC236}">
                <a16:creationId xmlns:a16="http://schemas.microsoft.com/office/drawing/2014/main" id="{461608B4-86E9-B7C9-28B6-2A5F2F3D1FF0}"/>
              </a:ext>
            </a:extLst>
          </p:cNvPr>
          <p:cNvSpPr/>
          <p:nvPr userDrawn="1"/>
        </p:nvSpPr>
        <p:spPr>
          <a:xfrm>
            <a:off x="15359119" y="3787620"/>
            <a:ext cx="1398954" cy="726227"/>
          </a:xfrm>
          <a:custGeom>
            <a:avLst/>
            <a:gdLst>
              <a:gd name="connsiteX0" fmla="*/ 425 w 1198727"/>
              <a:gd name="connsiteY0" fmla="*/ 1022 h 622284"/>
              <a:gd name="connsiteX1" fmla="*/ 1199153 w 1198727"/>
              <a:gd name="connsiteY1" fmla="*/ 1022 h 622284"/>
              <a:gd name="connsiteX2" fmla="*/ 1199153 w 1198727"/>
              <a:gd name="connsiteY2" fmla="*/ 623306 h 622284"/>
              <a:gd name="connsiteX3" fmla="*/ 425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022"/>
                </a:moveTo>
                <a:lnTo>
                  <a:pt x="1199153" y="1022"/>
                </a:lnTo>
                <a:lnTo>
                  <a:pt x="1199153" y="623306"/>
                </a:lnTo>
                <a:lnTo>
                  <a:pt x="425" y="623306"/>
                </a:lnTo>
                <a:close/>
              </a:path>
            </a:pathLst>
          </a:custGeom>
          <a:solidFill>
            <a:srgbClr val="2B451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2" name="Полилиния 1021">
            <a:extLst>
              <a:ext uri="{FF2B5EF4-FFF2-40B4-BE49-F238E27FC236}">
                <a16:creationId xmlns:a16="http://schemas.microsoft.com/office/drawing/2014/main" id="{6E862B92-250B-F296-060B-7B5EFC8BE739}"/>
              </a:ext>
            </a:extLst>
          </p:cNvPr>
          <p:cNvSpPr/>
          <p:nvPr userDrawn="1"/>
        </p:nvSpPr>
        <p:spPr>
          <a:xfrm>
            <a:off x="15482328" y="4089368"/>
            <a:ext cx="713526" cy="128468"/>
          </a:xfrm>
          <a:custGeom>
            <a:avLst/>
            <a:gdLst>
              <a:gd name="connsiteX0" fmla="*/ 22111 w 611402"/>
              <a:gd name="connsiteY0" fmla="*/ 108588 h 110081"/>
              <a:gd name="connsiteX1" fmla="*/ 10159 w 611402"/>
              <a:gd name="connsiteY1" fmla="*/ 108588 h 110081"/>
              <a:gd name="connsiteX2" fmla="*/ 16434 w 611402"/>
              <a:gd name="connsiteY2" fmla="*/ 77661 h 110081"/>
              <a:gd name="connsiteX3" fmla="*/ 0 w 611402"/>
              <a:gd name="connsiteY3" fmla="*/ 77661 h 110081"/>
              <a:gd name="connsiteX4" fmla="*/ 0 w 611402"/>
              <a:gd name="connsiteY4" fmla="*/ 67206 h 110081"/>
              <a:gd name="connsiteX5" fmla="*/ 18675 w 611402"/>
              <a:gd name="connsiteY5" fmla="*/ 67206 h 110081"/>
              <a:gd name="connsiteX6" fmla="*/ 24202 w 611402"/>
              <a:gd name="connsiteY6" fmla="*/ 40012 h 110081"/>
              <a:gd name="connsiteX7" fmla="*/ 4034 w 611402"/>
              <a:gd name="connsiteY7" fmla="*/ 40012 h 110081"/>
              <a:gd name="connsiteX8" fmla="*/ 4034 w 611402"/>
              <a:gd name="connsiteY8" fmla="*/ 29559 h 110081"/>
              <a:gd name="connsiteX9" fmla="*/ 26294 w 611402"/>
              <a:gd name="connsiteY9" fmla="*/ 29559 h 110081"/>
              <a:gd name="connsiteX10" fmla="*/ 32120 w 611402"/>
              <a:gd name="connsiteY10" fmla="*/ 1493 h 110081"/>
              <a:gd name="connsiteX11" fmla="*/ 44072 w 611402"/>
              <a:gd name="connsiteY11" fmla="*/ 1493 h 110081"/>
              <a:gd name="connsiteX12" fmla="*/ 38246 w 611402"/>
              <a:gd name="connsiteY12" fmla="*/ 29559 h 110081"/>
              <a:gd name="connsiteX13" fmla="*/ 60655 w 611402"/>
              <a:gd name="connsiteY13" fmla="*/ 29559 h 110081"/>
              <a:gd name="connsiteX14" fmla="*/ 66482 w 611402"/>
              <a:gd name="connsiteY14" fmla="*/ 1493 h 110081"/>
              <a:gd name="connsiteX15" fmla="*/ 78434 w 611402"/>
              <a:gd name="connsiteY15" fmla="*/ 1493 h 110081"/>
              <a:gd name="connsiteX16" fmla="*/ 72607 w 611402"/>
              <a:gd name="connsiteY16" fmla="*/ 29559 h 110081"/>
              <a:gd name="connsiteX17" fmla="*/ 89340 w 611402"/>
              <a:gd name="connsiteY17" fmla="*/ 29559 h 110081"/>
              <a:gd name="connsiteX18" fmla="*/ 89340 w 611402"/>
              <a:gd name="connsiteY18" fmla="*/ 40012 h 110081"/>
              <a:gd name="connsiteX19" fmla="*/ 70515 w 611402"/>
              <a:gd name="connsiteY19" fmla="*/ 40012 h 110081"/>
              <a:gd name="connsiteX20" fmla="*/ 64988 w 611402"/>
              <a:gd name="connsiteY20" fmla="*/ 67206 h 110081"/>
              <a:gd name="connsiteX21" fmla="*/ 85306 w 611402"/>
              <a:gd name="connsiteY21" fmla="*/ 67206 h 110081"/>
              <a:gd name="connsiteX22" fmla="*/ 85306 w 611402"/>
              <a:gd name="connsiteY22" fmla="*/ 77661 h 110081"/>
              <a:gd name="connsiteX23" fmla="*/ 62747 w 611402"/>
              <a:gd name="connsiteY23" fmla="*/ 77661 h 110081"/>
              <a:gd name="connsiteX24" fmla="*/ 56472 w 611402"/>
              <a:gd name="connsiteY24" fmla="*/ 108588 h 110081"/>
              <a:gd name="connsiteX25" fmla="*/ 44520 w 611402"/>
              <a:gd name="connsiteY25" fmla="*/ 108588 h 110081"/>
              <a:gd name="connsiteX26" fmla="*/ 50795 w 611402"/>
              <a:gd name="connsiteY26" fmla="*/ 77661 h 110081"/>
              <a:gd name="connsiteX27" fmla="*/ 28386 w 611402"/>
              <a:gd name="connsiteY27" fmla="*/ 77661 h 110081"/>
              <a:gd name="connsiteX28" fmla="*/ 22111 w 611402"/>
              <a:gd name="connsiteY28" fmla="*/ 108588 h 110081"/>
              <a:gd name="connsiteX29" fmla="*/ 30626 w 611402"/>
              <a:gd name="connsiteY29" fmla="*/ 67206 h 110081"/>
              <a:gd name="connsiteX30" fmla="*/ 53036 w 611402"/>
              <a:gd name="connsiteY30" fmla="*/ 67206 h 110081"/>
              <a:gd name="connsiteX31" fmla="*/ 58564 w 611402"/>
              <a:gd name="connsiteY31" fmla="*/ 40012 h 110081"/>
              <a:gd name="connsiteX32" fmla="*/ 36154 w 611402"/>
              <a:gd name="connsiteY32" fmla="*/ 40012 h 110081"/>
              <a:gd name="connsiteX33" fmla="*/ 30626 w 611402"/>
              <a:gd name="connsiteY33" fmla="*/ 67206 h 110081"/>
              <a:gd name="connsiteX34" fmla="*/ 170867 w 611402"/>
              <a:gd name="connsiteY34" fmla="*/ 108588 h 110081"/>
              <a:gd name="connsiteX35" fmla="*/ 102592 w 611402"/>
              <a:gd name="connsiteY35" fmla="*/ 108588 h 110081"/>
              <a:gd name="connsiteX36" fmla="*/ 102592 w 611402"/>
              <a:gd name="connsiteY36" fmla="*/ 94400 h 110081"/>
              <a:gd name="connsiteX37" fmla="*/ 128737 w 611402"/>
              <a:gd name="connsiteY37" fmla="*/ 72433 h 110081"/>
              <a:gd name="connsiteX38" fmla="*/ 144723 w 611402"/>
              <a:gd name="connsiteY38" fmla="*/ 56628 h 110081"/>
              <a:gd name="connsiteX39" fmla="*/ 152790 w 611402"/>
              <a:gd name="connsiteY39" fmla="*/ 43933 h 110081"/>
              <a:gd name="connsiteX40" fmla="*/ 155180 w 611402"/>
              <a:gd name="connsiteY40" fmla="*/ 32109 h 110081"/>
              <a:gd name="connsiteX41" fmla="*/ 149653 w 611402"/>
              <a:gd name="connsiteY41" fmla="*/ 17610 h 110081"/>
              <a:gd name="connsiteX42" fmla="*/ 134414 w 611402"/>
              <a:gd name="connsiteY42" fmla="*/ 12383 h 110081"/>
              <a:gd name="connsiteX43" fmla="*/ 105431 w 611402"/>
              <a:gd name="connsiteY43" fmla="*/ 27194 h 110081"/>
              <a:gd name="connsiteX44" fmla="*/ 105431 w 611402"/>
              <a:gd name="connsiteY44" fmla="*/ 12134 h 110081"/>
              <a:gd name="connsiteX45" fmla="*/ 134862 w 611402"/>
              <a:gd name="connsiteY45" fmla="*/ 0 h 110081"/>
              <a:gd name="connsiteX46" fmla="*/ 160260 w 611402"/>
              <a:gd name="connsiteY46" fmla="*/ 8401 h 110081"/>
              <a:gd name="connsiteX47" fmla="*/ 169672 w 611402"/>
              <a:gd name="connsiteY47" fmla="*/ 30803 h 110081"/>
              <a:gd name="connsiteX48" fmla="*/ 167282 w 611402"/>
              <a:gd name="connsiteY48" fmla="*/ 44804 h 110081"/>
              <a:gd name="connsiteX49" fmla="*/ 159214 w 611402"/>
              <a:gd name="connsiteY49" fmla="*/ 58681 h 110081"/>
              <a:gd name="connsiteX50" fmla="*/ 143527 w 611402"/>
              <a:gd name="connsiteY50" fmla="*/ 74860 h 110081"/>
              <a:gd name="connsiteX51" fmla="*/ 118130 w 611402"/>
              <a:gd name="connsiteY51" fmla="*/ 95769 h 110081"/>
              <a:gd name="connsiteX52" fmla="*/ 170867 w 611402"/>
              <a:gd name="connsiteY52" fmla="*/ 95769 h 110081"/>
              <a:gd name="connsiteX53" fmla="*/ 170867 w 611402"/>
              <a:gd name="connsiteY53" fmla="*/ 108588 h 110081"/>
              <a:gd name="connsiteX54" fmla="*/ 189965 w 611402"/>
              <a:gd name="connsiteY54" fmla="*/ 1493 h 110081"/>
              <a:gd name="connsiteX55" fmla="*/ 226269 w 611402"/>
              <a:gd name="connsiteY55" fmla="*/ 1493 h 110081"/>
              <a:gd name="connsiteX56" fmla="*/ 253011 w 611402"/>
              <a:gd name="connsiteY56" fmla="*/ 7467 h 110081"/>
              <a:gd name="connsiteX57" fmla="*/ 262273 w 611402"/>
              <a:gd name="connsiteY57" fmla="*/ 27629 h 110081"/>
              <a:gd name="connsiteX58" fmla="*/ 256447 w 611402"/>
              <a:gd name="connsiteY58" fmla="*/ 45116 h 110081"/>
              <a:gd name="connsiteX59" fmla="*/ 240910 w 611402"/>
              <a:gd name="connsiteY59" fmla="*/ 53018 h 110081"/>
              <a:gd name="connsiteX60" fmla="*/ 259734 w 611402"/>
              <a:gd name="connsiteY60" fmla="*/ 60361 h 110081"/>
              <a:gd name="connsiteX61" fmla="*/ 266158 w 611402"/>
              <a:gd name="connsiteY61" fmla="*/ 77661 h 110081"/>
              <a:gd name="connsiteX62" fmla="*/ 260929 w 611402"/>
              <a:gd name="connsiteY62" fmla="*/ 95583 h 110081"/>
              <a:gd name="connsiteX63" fmla="*/ 246587 w 611402"/>
              <a:gd name="connsiteY63" fmla="*/ 105601 h 110081"/>
              <a:gd name="connsiteX64" fmla="*/ 225970 w 611402"/>
              <a:gd name="connsiteY64" fmla="*/ 108588 h 110081"/>
              <a:gd name="connsiteX65" fmla="*/ 189965 w 611402"/>
              <a:gd name="connsiteY65" fmla="*/ 108588 h 110081"/>
              <a:gd name="connsiteX66" fmla="*/ 189965 w 611402"/>
              <a:gd name="connsiteY66" fmla="*/ 1493 h 110081"/>
              <a:gd name="connsiteX67" fmla="*/ 225223 w 611402"/>
              <a:gd name="connsiteY67" fmla="*/ 47231 h 110081"/>
              <a:gd name="connsiteX68" fmla="*/ 241657 w 611402"/>
              <a:gd name="connsiteY68" fmla="*/ 42751 h 110081"/>
              <a:gd name="connsiteX69" fmla="*/ 248081 w 611402"/>
              <a:gd name="connsiteY69" fmla="*/ 28376 h 110081"/>
              <a:gd name="connsiteX70" fmla="*/ 242404 w 611402"/>
              <a:gd name="connsiteY70" fmla="*/ 17361 h 110081"/>
              <a:gd name="connsiteX71" fmla="*/ 226269 w 611402"/>
              <a:gd name="connsiteY71" fmla="*/ 14374 h 110081"/>
              <a:gd name="connsiteX72" fmla="*/ 204008 w 611402"/>
              <a:gd name="connsiteY72" fmla="*/ 14374 h 110081"/>
              <a:gd name="connsiteX73" fmla="*/ 204008 w 611402"/>
              <a:gd name="connsiteY73" fmla="*/ 47231 h 110081"/>
              <a:gd name="connsiteX74" fmla="*/ 225223 w 611402"/>
              <a:gd name="connsiteY74" fmla="*/ 47231 h 110081"/>
              <a:gd name="connsiteX75" fmla="*/ 225970 w 611402"/>
              <a:gd name="connsiteY75" fmla="*/ 95893 h 110081"/>
              <a:gd name="connsiteX76" fmla="*/ 244346 w 611402"/>
              <a:gd name="connsiteY76" fmla="*/ 92035 h 110081"/>
              <a:gd name="connsiteX77" fmla="*/ 251367 w 611402"/>
              <a:gd name="connsiteY77" fmla="*/ 77972 h 110081"/>
              <a:gd name="connsiteX78" fmla="*/ 244794 w 611402"/>
              <a:gd name="connsiteY78" fmla="*/ 63908 h 110081"/>
              <a:gd name="connsiteX79" fmla="*/ 224326 w 611402"/>
              <a:gd name="connsiteY79" fmla="*/ 59926 h 110081"/>
              <a:gd name="connsiteX80" fmla="*/ 204008 w 611402"/>
              <a:gd name="connsiteY80" fmla="*/ 59926 h 110081"/>
              <a:gd name="connsiteX81" fmla="*/ 204008 w 611402"/>
              <a:gd name="connsiteY81" fmla="*/ 95893 h 110081"/>
              <a:gd name="connsiteX82" fmla="*/ 225970 w 611402"/>
              <a:gd name="connsiteY82" fmla="*/ 95893 h 110081"/>
              <a:gd name="connsiteX83" fmla="*/ 337196 w 611402"/>
              <a:gd name="connsiteY83" fmla="*/ 108588 h 110081"/>
              <a:gd name="connsiteX84" fmla="*/ 324049 w 611402"/>
              <a:gd name="connsiteY84" fmla="*/ 108588 h 110081"/>
              <a:gd name="connsiteX85" fmla="*/ 324049 w 611402"/>
              <a:gd name="connsiteY85" fmla="*/ 83199 h 110081"/>
              <a:gd name="connsiteX86" fmla="*/ 277736 w 611402"/>
              <a:gd name="connsiteY86" fmla="*/ 83199 h 110081"/>
              <a:gd name="connsiteX87" fmla="*/ 277736 w 611402"/>
              <a:gd name="connsiteY87" fmla="*/ 73927 h 110081"/>
              <a:gd name="connsiteX88" fmla="*/ 319567 w 611402"/>
              <a:gd name="connsiteY88" fmla="*/ 1493 h 110081"/>
              <a:gd name="connsiteX89" fmla="*/ 337196 w 611402"/>
              <a:gd name="connsiteY89" fmla="*/ 1493 h 110081"/>
              <a:gd name="connsiteX90" fmla="*/ 337196 w 611402"/>
              <a:gd name="connsiteY90" fmla="*/ 71873 h 110081"/>
              <a:gd name="connsiteX91" fmla="*/ 351688 w 611402"/>
              <a:gd name="connsiteY91" fmla="*/ 71873 h 110081"/>
              <a:gd name="connsiteX92" fmla="*/ 351688 w 611402"/>
              <a:gd name="connsiteY92" fmla="*/ 83199 h 110081"/>
              <a:gd name="connsiteX93" fmla="*/ 337196 w 611402"/>
              <a:gd name="connsiteY93" fmla="*/ 83199 h 110081"/>
              <a:gd name="connsiteX94" fmla="*/ 337196 w 611402"/>
              <a:gd name="connsiteY94" fmla="*/ 108588 h 110081"/>
              <a:gd name="connsiteX95" fmla="*/ 291331 w 611402"/>
              <a:gd name="connsiteY95" fmla="*/ 71873 h 110081"/>
              <a:gd name="connsiteX96" fmla="*/ 324049 w 611402"/>
              <a:gd name="connsiteY96" fmla="*/ 71873 h 110081"/>
              <a:gd name="connsiteX97" fmla="*/ 324049 w 611402"/>
              <a:gd name="connsiteY97" fmla="*/ 16117 h 110081"/>
              <a:gd name="connsiteX98" fmla="*/ 291331 w 611402"/>
              <a:gd name="connsiteY98" fmla="*/ 71873 h 110081"/>
              <a:gd name="connsiteX99" fmla="*/ 392299 w 611402"/>
              <a:gd name="connsiteY99" fmla="*/ 110082 h 110081"/>
              <a:gd name="connsiteX100" fmla="*/ 363764 w 611402"/>
              <a:gd name="connsiteY100" fmla="*/ 102490 h 110081"/>
              <a:gd name="connsiteX101" fmla="*/ 363764 w 611402"/>
              <a:gd name="connsiteY101" fmla="*/ 87804 h 110081"/>
              <a:gd name="connsiteX102" fmla="*/ 376911 w 611402"/>
              <a:gd name="connsiteY102" fmla="*/ 95458 h 110081"/>
              <a:gd name="connsiteX103" fmla="*/ 392299 w 611402"/>
              <a:gd name="connsiteY103" fmla="*/ 97823 h 110081"/>
              <a:gd name="connsiteX104" fmla="*/ 409330 w 611402"/>
              <a:gd name="connsiteY104" fmla="*/ 91102 h 110081"/>
              <a:gd name="connsiteX105" fmla="*/ 415456 w 611402"/>
              <a:gd name="connsiteY105" fmla="*/ 73491 h 110081"/>
              <a:gd name="connsiteX106" fmla="*/ 409480 w 611402"/>
              <a:gd name="connsiteY106" fmla="*/ 56441 h 110081"/>
              <a:gd name="connsiteX107" fmla="*/ 394391 w 611402"/>
              <a:gd name="connsiteY107" fmla="*/ 51089 h 110081"/>
              <a:gd name="connsiteX108" fmla="*/ 383783 w 611402"/>
              <a:gd name="connsiteY108" fmla="*/ 53329 h 110081"/>
              <a:gd name="connsiteX109" fmla="*/ 377658 w 611402"/>
              <a:gd name="connsiteY109" fmla="*/ 57810 h 110081"/>
              <a:gd name="connsiteX110" fmla="*/ 366752 w 611402"/>
              <a:gd name="connsiteY110" fmla="*/ 57810 h 110081"/>
              <a:gd name="connsiteX111" fmla="*/ 366752 w 611402"/>
              <a:gd name="connsiteY111" fmla="*/ 1493 h 110081"/>
              <a:gd name="connsiteX112" fmla="*/ 424718 w 611402"/>
              <a:gd name="connsiteY112" fmla="*/ 1493 h 110081"/>
              <a:gd name="connsiteX113" fmla="*/ 424718 w 611402"/>
              <a:gd name="connsiteY113" fmla="*/ 14374 h 110081"/>
              <a:gd name="connsiteX114" fmla="*/ 379003 w 611402"/>
              <a:gd name="connsiteY114" fmla="*/ 14374 h 110081"/>
              <a:gd name="connsiteX115" fmla="*/ 379003 w 611402"/>
              <a:gd name="connsiteY115" fmla="*/ 44991 h 110081"/>
              <a:gd name="connsiteX116" fmla="*/ 386323 w 611402"/>
              <a:gd name="connsiteY116" fmla="*/ 41071 h 110081"/>
              <a:gd name="connsiteX117" fmla="*/ 396632 w 611402"/>
              <a:gd name="connsiteY117" fmla="*/ 39266 h 110081"/>
              <a:gd name="connsiteX118" fmla="*/ 413364 w 611402"/>
              <a:gd name="connsiteY118" fmla="*/ 43186 h 110081"/>
              <a:gd name="connsiteX119" fmla="*/ 425167 w 611402"/>
              <a:gd name="connsiteY119" fmla="*/ 54512 h 110081"/>
              <a:gd name="connsiteX120" fmla="*/ 429648 w 611402"/>
              <a:gd name="connsiteY120" fmla="*/ 73181 h 110081"/>
              <a:gd name="connsiteX121" fmla="*/ 425017 w 611402"/>
              <a:gd name="connsiteY121" fmla="*/ 92596 h 110081"/>
              <a:gd name="connsiteX122" fmla="*/ 412169 w 611402"/>
              <a:gd name="connsiteY122" fmla="*/ 105601 h 110081"/>
              <a:gd name="connsiteX123" fmla="*/ 392299 w 611402"/>
              <a:gd name="connsiteY123" fmla="*/ 110082 h 110081"/>
              <a:gd name="connsiteX124" fmla="*/ 493559 w 611402"/>
              <a:gd name="connsiteY124" fmla="*/ 108588 h 110081"/>
              <a:gd name="connsiteX125" fmla="*/ 479964 w 611402"/>
              <a:gd name="connsiteY125" fmla="*/ 108588 h 110081"/>
              <a:gd name="connsiteX126" fmla="*/ 479964 w 611402"/>
              <a:gd name="connsiteY126" fmla="*/ 18357 h 110081"/>
              <a:gd name="connsiteX127" fmla="*/ 450384 w 611402"/>
              <a:gd name="connsiteY127" fmla="*/ 41071 h 110081"/>
              <a:gd name="connsiteX128" fmla="*/ 450384 w 611402"/>
              <a:gd name="connsiteY128" fmla="*/ 26011 h 110081"/>
              <a:gd name="connsiteX129" fmla="*/ 482205 w 611402"/>
              <a:gd name="connsiteY129" fmla="*/ 1493 h 110081"/>
              <a:gd name="connsiteX130" fmla="*/ 493559 w 611402"/>
              <a:gd name="connsiteY130" fmla="*/ 1493 h 110081"/>
              <a:gd name="connsiteX131" fmla="*/ 493559 w 611402"/>
              <a:gd name="connsiteY131" fmla="*/ 108588 h 110081"/>
              <a:gd name="connsiteX132" fmla="*/ 579133 w 611402"/>
              <a:gd name="connsiteY132" fmla="*/ 110082 h 110081"/>
              <a:gd name="connsiteX133" fmla="*/ 551345 w 611402"/>
              <a:gd name="connsiteY133" fmla="*/ 103486 h 110081"/>
              <a:gd name="connsiteX134" fmla="*/ 532969 w 611402"/>
              <a:gd name="connsiteY134" fmla="*/ 84693 h 110081"/>
              <a:gd name="connsiteX135" fmla="*/ 526396 w 611402"/>
              <a:gd name="connsiteY135" fmla="*/ 55134 h 110081"/>
              <a:gd name="connsiteX136" fmla="*/ 539991 w 611402"/>
              <a:gd name="connsiteY136" fmla="*/ 14810 h 110081"/>
              <a:gd name="connsiteX137" fmla="*/ 578834 w 611402"/>
              <a:gd name="connsiteY137" fmla="*/ 186 h 110081"/>
              <a:gd name="connsiteX138" fmla="*/ 596762 w 611402"/>
              <a:gd name="connsiteY138" fmla="*/ 2240 h 110081"/>
              <a:gd name="connsiteX139" fmla="*/ 611403 w 611402"/>
              <a:gd name="connsiteY139" fmla="*/ 7902 h 110081"/>
              <a:gd name="connsiteX140" fmla="*/ 611403 w 611402"/>
              <a:gd name="connsiteY140" fmla="*/ 21344 h 110081"/>
              <a:gd name="connsiteX141" fmla="*/ 596314 w 611402"/>
              <a:gd name="connsiteY141" fmla="*/ 15121 h 110081"/>
              <a:gd name="connsiteX142" fmla="*/ 578685 w 611402"/>
              <a:gd name="connsiteY142" fmla="*/ 12881 h 110081"/>
              <a:gd name="connsiteX143" fmla="*/ 550747 w 611402"/>
              <a:gd name="connsiteY143" fmla="*/ 23459 h 110081"/>
              <a:gd name="connsiteX144" fmla="*/ 541634 w 611402"/>
              <a:gd name="connsiteY144" fmla="*/ 55134 h 110081"/>
              <a:gd name="connsiteX145" fmla="*/ 551494 w 611402"/>
              <a:gd name="connsiteY145" fmla="*/ 86933 h 110081"/>
              <a:gd name="connsiteX146" fmla="*/ 580328 w 611402"/>
              <a:gd name="connsiteY146" fmla="*/ 97387 h 110081"/>
              <a:gd name="connsiteX147" fmla="*/ 611403 w 611402"/>
              <a:gd name="connsiteY147" fmla="*/ 87555 h 110081"/>
              <a:gd name="connsiteX148" fmla="*/ 611403 w 611402"/>
              <a:gd name="connsiteY148" fmla="*/ 100997 h 110081"/>
              <a:gd name="connsiteX149" fmla="*/ 597509 w 611402"/>
              <a:gd name="connsiteY149" fmla="*/ 107717 h 110081"/>
              <a:gd name="connsiteX150" fmla="*/ 579133 w 611402"/>
              <a:gd name="connsiteY150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611402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0867" y="108588"/>
                </a:moveTo>
                <a:lnTo>
                  <a:pt x="102592" y="108588"/>
                </a:lnTo>
                <a:lnTo>
                  <a:pt x="102592" y="94400"/>
                </a:lnTo>
                <a:cubicBezTo>
                  <a:pt x="113249" y="85812"/>
                  <a:pt x="121964" y="78532"/>
                  <a:pt x="128737" y="72433"/>
                </a:cubicBezTo>
                <a:cubicBezTo>
                  <a:pt x="135609" y="66397"/>
                  <a:pt x="140938" y="61108"/>
                  <a:pt x="144723" y="56628"/>
                </a:cubicBezTo>
                <a:cubicBezTo>
                  <a:pt x="148607" y="52023"/>
                  <a:pt x="151296" y="47791"/>
                  <a:pt x="152790" y="43933"/>
                </a:cubicBezTo>
                <a:cubicBezTo>
                  <a:pt x="154384" y="40012"/>
                  <a:pt x="155180" y="36092"/>
                  <a:pt x="155180" y="32109"/>
                </a:cubicBezTo>
                <a:cubicBezTo>
                  <a:pt x="155180" y="25949"/>
                  <a:pt x="153338" y="21095"/>
                  <a:pt x="149653" y="17610"/>
                </a:cubicBezTo>
                <a:cubicBezTo>
                  <a:pt x="145967" y="14125"/>
                  <a:pt x="140888" y="12383"/>
                  <a:pt x="134414" y="12383"/>
                </a:cubicBezTo>
                <a:cubicBezTo>
                  <a:pt x="124056" y="12383"/>
                  <a:pt x="114395" y="17361"/>
                  <a:pt x="105431" y="27194"/>
                </a:cubicBezTo>
                <a:lnTo>
                  <a:pt x="105431" y="12134"/>
                </a:lnTo>
                <a:cubicBezTo>
                  <a:pt x="113698" y="4044"/>
                  <a:pt x="123508" y="0"/>
                  <a:pt x="134862" y="0"/>
                </a:cubicBezTo>
                <a:cubicBezTo>
                  <a:pt x="145619" y="0"/>
                  <a:pt x="154085" y="2800"/>
                  <a:pt x="160260" y="8401"/>
                </a:cubicBezTo>
                <a:cubicBezTo>
                  <a:pt x="166535" y="13877"/>
                  <a:pt x="169672" y="21344"/>
                  <a:pt x="169672" y="30803"/>
                </a:cubicBezTo>
                <a:cubicBezTo>
                  <a:pt x="169672" y="35657"/>
                  <a:pt x="168875" y="40324"/>
                  <a:pt x="167282" y="44804"/>
                </a:cubicBezTo>
                <a:cubicBezTo>
                  <a:pt x="165788" y="49222"/>
                  <a:pt x="163098" y="53827"/>
                  <a:pt x="159214" y="58681"/>
                </a:cubicBezTo>
                <a:cubicBezTo>
                  <a:pt x="155429" y="63473"/>
                  <a:pt x="150200" y="68887"/>
                  <a:pt x="143527" y="74860"/>
                </a:cubicBezTo>
                <a:cubicBezTo>
                  <a:pt x="136854" y="80835"/>
                  <a:pt x="128388" y="87804"/>
                  <a:pt x="118130" y="95769"/>
                </a:cubicBezTo>
                <a:lnTo>
                  <a:pt x="170867" y="95769"/>
                </a:lnTo>
                <a:lnTo>
                  <a:pt x="170867" y="108588"/>
                </a:lnTo>
                <a:close/>
                <a:moveTo>
                  <a:pt x="189965" y="1493"/>
                </a:moveTo>
                <a:lnTo>
                  <a:pt x="226269" y="1493"/>
                </a:lnTo>
                <a:cubicBezTo>
                  <a:pt x="238021" y="1493"/>
                  <a:pt x="246935" y="3484"/>
                  <a:pt x="253011" y="7467"/>
                </a:cubicBezTo>
                <a:cubicBezTo>
                  <a:pt x="259186" y="11450"/>
                  <a:pt x="262273" y="18170"/>
                  <a:pt x="262273" y="27629"/>
                </a:cubicBezTo>
                <a:cubicBezTo>
                  <a:pt x="262273" y="35283"/>
                  <a:pt x="260331" y="41133"/>
                  <a:pt x="256447" y="45116"/>
                </a:cubicBezTo>
                <a:cubicBezTo>
                  <a:pt x="252563" y="48974"/>
                  <a:pt x="247384" y="51649"/>
                  <a:pt x="240910" y="53018"/>
                </a:cubicBezTo>
                <a:cubicBezTo>
                  <a:pt x="249176" y="54014"/>
                  <a:pt x="255451" y="56441"/>
                  <a:pt x="259734" y="60361"/>
                </a:cubicBezTo>
                <a:cubicBezTo>
                  <a:pt x="264016" y="64157"/>
                  <a:pt x="266158" y="69882"/>
                  <a:pt x="266158" y="77661"/>
                </a:cubicBezTo>
                <a:cubicBezTo>
                  <a:pt x="266158" y="85066"/>
                  <a:pt x="264415" y="91040"/>
                  <a:pt x="260929" y="95583"/>
                </a:cubicBezTo>
                <a:cubicBezTo>
                  <a:pt x="257443" y="100188"/>
                  <a:pt x="252662" y="103486"/>
                  <a:pt x="246587" y="105601"/>
                </a:cubicBezTo>
                <a:cubicBezTo>
                  <a:pt x="240511" y="107592"/>
                  <a:pt x="233639" y="108588"/>
                  <a:pt x="225970" y="108588"/>
                </a:cubicBezTo>
                <a:lnTo>
                  <a:pt x="189965" y="108588"/>
                </a:lnTo>
                <a:lnTo>
                  <a:pt x="189965" y="1493"/>
                </a:lnTo>
                <a:close/>
                <a:moveTo>
                  <a:pt x="225223" y="47231"/>
                </a:moveTo>
                <a:cubicBezTo>
                  <a:pt x="231995" y="47231"/>
                  <a:pt x="237473" y="45738"/>
                  <a:pt x="241657" y="42751"/>
                </a:cubicBezTo>
                <a:cubicBezTo>
                  <a:pt x="245939" y="39639"/>
                  <a:pt x="248081" y="34848"/>
                  <a:pt x="248081" y="28376"/>
                </a:cubicBezTo>
                <a:cubicBezTo>
                  <a:pt x="248081" y="22900"/>
                  <a:pt x="246188" y="19228"/>
                  <a:pt x="242404" y="17361"/>
                </a:cubicBezTo>
                <a:cubicBezTo>
                  <a:pt x="238619" y="15370"/>
                  <a:pt x="233241" y="14374"/>
                  <a:pt x="226269" y="14374"/>
                </a:cubicBezTo>
                <a:lnTo>
                  <a:pt x="204008" y="14374"/>
                </a:lnTo>
                <a:lnTo>
                  <a:pt x="204008" y="47231"/>
                </a:lnTo>
                <a:lnTo>
                  <a:pt x="225223" y="47231"/>
                </a:lnTo>
                <a:close/>
                <a:moveTo>
                  <a:pt x="225970" y="95893"/>
                </a:moveTo>
                <a:cubicBezTo>
                  <a:pt x="233539" y="95893"/>
                  <a:pt x="239665" y="94587"/>
                  <a:pt x="244346" y="92035"/>
                </a:cubicBezTo>
                <a:cubicBezTo>
                  <a:pt x="249027" y="89422"/>
                  <a:pt x="251367" y="84755"/>
                  <a:pt x="251367" y="77972"/>
                </a:cubicBezTo>
                <a:cubicBezTo>
                  <a:pt x="251367" y="71189"/>
                  <a:pt x="249176" y="66522"/>
                  <a:pt x="244794" y="63908"/>
                </a:cubicBezTo>
                <a:cubicBezTo>
                  <a:pt x="240511" y="61233"/>
                  <a:pt x="233689" y="59926"/>
                  <a:pt x="224326" y="59926"/>
                </a:cubicBezTo>
                <a:lnTo>
                  <a:pt x="204008" y="59926"/>
                </a:lnTo>
                <a:lnTo>
                  <a:pt x="204008" y="95893"/>
                </a:lnTo>
                <a:lnTo>
                  <a:pt x="225970" y="95893"/>
                </a:lnTo>
                <a:close/>
                <a:moveTo>
                  <a:pt x="337196" y="108588"/>
                </a:moveTo>
                <a:lnTo>
                  <a:pt x="324049" y="108588"/>
                </a:lnTo>
                <a:lnTo>
                  <a:pt x="324049" y="83199"/>
                </a:lnTo>
                <a:lnTo>
                  <a:pt x="277736" y="83199"/>
                </a:lnTo>
                <a:lnTo>
                  <a:pt x="277736" y="73927"/>
                </a:lnTo>
                <a:lnTo>
                  <a:pt x="319567" y="1493"/>
                </a:lnTo>
                <a:lnTo>
                  <a:pt x="337196" y="1493"/>
                </a:lnTo>
                <a:lnTo>
                  <a:pt x="337196" y="71873"/>
                </a:lnTo>
                <a:lnTo>
                  <a:pt x="351688" y="71873"/>
                </a:lnTo>
                <a:lnTo>
                  <a:pt x="351688" y="83199"/>
                </a:lnTo>
                <a:lnTo>
                  <a:pt x="337196" y="83199"/>
                </a:lnTo>
                <a:lnTo>
                  <a:pt x="337196" y="108588"/>
                </a:lnTo>
                <a:close/>
                <a:moveTo>
                  <a:pt x="291331" y="71873"/>
                </a:moveTo>
                <a:lnTo>
                  <a:pt x="324049" y="71873"/>
                </a:lnTo>
                <a:lnTo>
                  <a:pt x="324049" y="16117"/>
                </a:lnTo>
                <a:lnTo>
                  <a:pt x="291331" y="71873"/>
                </a:lnTo>
                <a:close/>
                <a:moveTo>
                  <a:pt x="392299" y="110082"/>
                </a:moveTo>
                <a:cubicBezTo>
                  <a:pt x="380347" y="110082"/>
                  <a:pt x="370836" y="107530"/>
                  <a:pt x="363764" y="102490"/>
                </a:cubicBezTo>
                <a:lnTo>
                  <a:pt x="363764" y="87804"/>
                </a:lnTo>
                <a:cubicBezTo>
                  <a:pt x="367947" y="91226"/>
                  <a:pt x="372330" y="93778"/>
                  <a:pt x="376911" y="95458"/>
                </a:cubicBezTo>
                <a:cubicBezTo>
                  <a:pt x="381493" y="97014"/>
                  <a:pt x="386622" y="97823"/>
                  <a:pt x="392299" y="97823"/>
                </a:cubicBezTo>
                <a:cubicBezTo>
                  <a:pt x="399669" y="97823"/>
                  <a:pt x="405346" y="95583"/>
                  <a:pt x="409330" y="91102"/>
                </a:cubicBezTo>
                <a:cubicBezTo>
                  <a:pt x="413414" y="86621"/>
                  <a:pt x="415456" y="80772"/>
                  <a:pt x="415456" y="73491"/>
                </a:cubicBezTo>
                <a:cubicBezTo>
                  <a:pt x="415456" y="65713"/>
                  <a:pt x="413464" y="60050"/>
                  <a:pt x="409480" y="56441"/>
                </a:cubicBezTo>
                <a:cubicBezTo>
                  <a:pt x="405496" y="52894"/>
                  <a:pt x="400466" y="51089"/>
                  <a:pt x="394391" y="51089"/>
                </a:cubicBezTo>
                <a:cubicBezTo>
                  <a:pt x="390008" y="51089"/>
                  <a:pt x="386473" y="51836"/>
                  <a:pt x="383783" y="53329"/>
                </a:cubicBezTo>
                <a:cubicBezTo>
                  <a:pt x="381094" y="54698"/>
                  <a:pt x="379052" y="56192"/>
                  <a:pt x="377658" y="57810"/>
                </a:cubicBezTo>
                <a:lnTo>
                  <a:pt x="366752" y="57810"/>
                </a:lnTo>
                <a:lnTo>
                  <a:pt x="366752" y="1493"/>
                </a:lnTo>
                <a:lnTo>
                  <a:pt x="424718" y="1493"/>
                </a:lnTo>
                <a:lnTo>
                  <a:pt x="424718" y="14374"/>
                </a:lnTo>
                <a:lnTo>
                  <a:pt x="379003" y="14374"/>
                </a:lnTo>
                <a:lnTo>
                  <a:pt x="379003" y="44991"/>
                </a:lnTo>
                <a:cubicBezTo>
                  <a:pt x="380995" y="43498"/>
                  <a:pt x="383435" y="42190"/>
                  <a:pt x="386323" y="41071"/>
                </a:cubicBezTo>
                <a:cubicBezTo>
                  <a:pt x="389212" y="39888"/>
                  <a:pt x="392648" y="39266"/>
                  <a:pt x="396632" y="39266"/>
                </a:cubicBezTo>
                <a:cubicBezTo>
                  <a:pt x="402807" y="39266"/>
                  <a:pt x="408384" y="40572"/>
                  <a:pt x="413364" y="43186"/>
                </a:cubicBezTo>
                <a:cubicBezTo>
                  <a:pt x="418344" y="45675"/>
                  <a:pt x="422278" y="49471"/>
                  <a:pt x="425167" y="54512"/>
                </a:cubicBezTo>
                <a:cubicBezTo>
                  <a:pt x="428154" y="59490"/>
                  <a:pt x="429648" y="65713"/>
                  <a:pt x="429648" y="73181"/>
                </a:cubicBezTo>
                <a:cubicBezTo>
                  <a:pt x="429648" y="80586"/>
                  <a:pt x="428105" y="87058"/>
                  <a:pt x="425017" y="92596"/>
                </a:cubicBezTo>
                <a:cubicBezTo>
                  <a:pt x="422029" y="98196"/>
                  <a:pt x="417746" y="102490"/>
                  <a:pt x="412169" y="105601"/>
                </a:cubicBezTo>
                <a:cubicBezTo>
                  <a:pt x="406591" y="108588"/>
                  <a:pt x="399968" y="110082"/>
                  <a:pt x="392299" y="110082"/>
                </a:cubicBezTo>
                <a:close/>
                <a:moveTo>
                  <a:pt x="493559" y="108588"/>
                </a:moveTo>
                <a:lnTo>
                  <a:pt x="479964" y="108588"/>
                </a:lnTo>
                <a:lnTo>
                  <a:pt x="479964" y="18357"/>
                </a:lnTo>
                <a:lnTo>
                  <a:pt x="450384" y="41071"/>
                </a:lnTo>
                <a:lnTo>
                  <a:pt x="450384" y="26011"/>
                </a:lnTo>
                <a:lnTo>
                  <a:pt x="482205" y="1493"/>
                </a:lnTo>
                <a:lnTo>
                  <a:pt x="493559" y="1493"/>
                </a:lnTo>
                <a:lnTo>
                  <a:pt x="493559" y="108588"/>
                </a:lnTo>
                <a:close/>
                <a:moveTo>
                  <a:pt x="579133" y="110082"/>
                </a:moveTo>
                <a:cubicBezTo>
                  <a:pt x="568576" y="110082"/>
                  <a:pt x="559313" y="107904"/>
                  <a:pt x="551345" y="103486"/>
                </a:cubicBezTo>
                <a:cubicBezTo>
                  <a:pt x="543477" y="99129"/>
                  <a:pt x="537352" y="92844"/>
                  <a:pt x="532969" y="84693"/>
                </a:cubicBezTo>
                <a:cubicBezTo>
                  <a:pt x="528587" y="76416"/>
                  <a:pt x="526396" y="66584"/>
                  <a:pt x="526396" y="55134"/>
                </a:cubicBezTo>
                <a:cubicBezTo>
                  <a:pt x="526396" y="37897"/>
                  <a:pt x="530928" y="24455"/>
                  <a:pt x="539991" y="14810"/>
                </a:cubicBezTo>
                <a:cubicBezTo>
                  <a:pt x="549054" y="5040"/>
                  <a:pt x="562002" y="186"/>
                  <a:pt x="578834" y="186"/>
                </a:cubicBezTo>
                <a:cubicBezTo>
                  <a:pt x="585109" y="186"/>
                  <a:pt x="591085" y="871"/>
                  <a:pt x="596762" y="2240"/>
                </a:cubicBezTo>
                <a:cubicBezTo>
                  <a:pt x="602539" y="3547"/>
                  <a:pt x="607419" y="5414"/>
                  <a:pt x="611403" y="7902"/>
                </a:cubicBezTo>
                <a:lnTo>
                  <a:pt x="611403" y="21344"/>
                </a:lnTo>
                <a:cubicBezTo>
                  <a:pt x="607120" y="18669"/>
                  <a:pt x="602090" y="16615"/>
                  <a:pt x="596314" y="15121"/>
                </a:cubicBezTo>
                <a:cubicBezTo>
                  <a:pt x="590637" y="13628"/>
                  <a:pt x="584760" y="12881"/>
                  <a:pt x="578685" y="12881"/>
                </a:cubicBezTo>
                <a:cubicBezTo>
                  <a:pt x="566135" y="12881"/>
                  <a:pt x="556823" y="16366"/>
                  <a:pt x="550747" y="23459"/>
                </a:cubicBezTo>
                <a:cubicBezTo>
                  <a:pt x="544672" y="30554"/>
                  <a:pt x="541634" y="41071"/>
                  <a:pt x="541634" y="55134"/>
                </a:cubicBezTo>
                <a:cubicBezTo>
                  <a:pt x="541634" y="69260"/>
                  <a:pt x="544921" y="79839"/>
                  <a:pt x="551494" y="86933"/>
                </a:cubicBezTo>
                <a:cubicBezTo>
                  <a:pt x="558068" y="93902"/>
                  <a:pt x="567679" y="97387"/>
                  <a:pt x="580328" y="97387"/>
                </a:cubicBezTo>
                <a:cubicBezTo>
                  <a:pt x="592280" y="97387"/>
                  <a:pt x="602638" y="94089"/>
                  <a:pt x="611403" y="87555"/>
                </a:cubicBezTo>
                <a:lnTo>
                  <a:pt x="611403" y="100997"/>
                </a:lnTo>
                <a:cubicBezTo>
                  <a:pt x="607917" y="103734"/>
                  <a:pt x="603286" y="105974"/>
                  <a:pt x="597509" y="107717"/>
                </a:cubicBezTo>
                <a:cubicBezTo>
                  <a:pt x="591732" y="109273"/>
                  <a:pt x="585607" y="110082"/>
                  <a:pt x="579133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3" name="Полилиния 1022">
            <a:extLst>
              <a:ext uri="{FF2B5EF4-FFF2-40B4-BE49-F238E27FC236}">
                <a16:creationId xmlns:a16="http://schemas.microsoft.com/office/drawing/2014/main" id="{42C56D3D-27B4-A58A-D86A-71B16BB5139A}"/>
              </a:ext>
            </a:extLst>
          </p:cNvPr>
          <p:cNvSpPr/>
          <p:nvPr userDrawn="1"/>
        </p:nvSpPr>
        <p:spPr>
          <a:xfrm>
            <a:off x="15359119" y="4513847"/>
            <a:ext cx="1398954" cy="726227"/>
          </a:xfrm>
          <a:custGeom>
            <a:avLst/>
            <a:gdLst>
              <a:gd name="connsiteX0" fmla="*/ 425 w 1198727"/>
              <a:gd name="connsiteY0" fmla="*/ 1122 h 622284"/>
              <a:gd name="connsiteX1" fmla="*/ 1199153 w 1198727"/>
              <a:gd name="connsiteY1" fmla="*/ 1122 h 622284"/>
              <a:gd name="connsiteX2" fmla="*/ 1199153 w 1198727"/>
              <a:gd name="connsiteY2" fmla="*/ 623406 h 622284"/>
              <a:gd name="connsiteX3" fmla="*/ 425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122"/>
                </a:moveTo>
                <a:lnTo>
                  <a:pt x="1199153" y="1122"/>
                </a:lnTo>
                <a:lnTo>
                  <a:pt x="1199153" y="623406"/>
                </a:lnTo>
                <a:lnTo>
                  <a:pt x="425" y="623406"/>
                </a:lnTo>
                <a:close/>
              </a:path>
            </a:pathLst>
          </a:custGeom>
          <a:solidFill>
            <a:srgbClr val="466E2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4" name="Полилиния 1023">
            <a:extLst>
              <a:ext uri="{FF2B5EF4-FFF2-40B4-BE49-F238E27FC236}">
                <a16:creationId xmlns:a16="http://schemas.microsoft.com/office/drawing/2014/main" id="{C1453336-4C8A-8693-2594-3C4CB366A8B0}"/>
              </a:ext>
            </a:extLst>
          </p:cNvPr>
          <p:cNvSpPr/>
          <p:nvPr userDrawn="1"/>
        </p:nvSpPr>
        <p:spPr>
          <a:xfrm>
            <a:off x="15482328" y="4815595"/>
            <a:ext cx="705353" cy="128468"/>
          </a:xfrm>
          <a:custGeom>
            <a:avLst/>
            <a:gdLst>
              <a:gd name="connsiteX0" fmla="*/ 22111 w 604399"/>
              <a:gd name="connsiteY0" fmla="*/ 108588 h 110081"/>
              <a:gd name="connsiteX1" fmla="*/ 10159 w 604399"/>
              <a:gd name="connsiteY1" fmla="*/ 108588 h 110081"/>
              <a:gd name="connsiteX2" fmla="*/ 16434 w 604399"/>
              <a:gd name="connsiteY2" fmla="*/ 77661 h 110081"/>
              <a:gd name="connsiteX3" fmla="*/ 0 w 604399"/>
              <a:gd name="connsiteY3" fmla="*/ 77661 h 110081"/>
              <a:gd name="connsiteX4" fmla="*/ 0 w 604399"/>
              <a:gd name="connsiteY4" fmla="*/ 67206 h 110081"/>
              <a:gd name="connsiteX5" fmla="*/ 18675 w 604399"/>
              <a:gd name="connsiteY5" fmla="*/ 67206 h 110081"/>
              <a:gd name="connsiteX6" fmla="*/ 24202 w 604399"/>
              <a:gd name="connsiteY6" fmla="*/ 40012 h 110081"/>
              <a:gd name="connsiteX7" fmla="*/ 4034 w 604399"/>
              <a:gd name="connsiteY7" fmla="*/ 40012 h 110081"/>
              <a:gd name="connsiteX8" fmla="*/ 4034 w 604399"/>
              <a:gd name="connsiteY8" fmla="*/ 29559 h 110081"/>
              <a:gd name="connsiteX9" fmla="*/ 26294 w 604399"/>
              <a:gd name="connsiteY9" fmla="*/ 29559 h 110081"/>
              <a:gd name="connsiteX10" fmla="*/ 32120 w 604399"/>
              <a:gd name="connsiteY10" fmla="*/ 1493 h 110081"/>
              <a:gd name="connsiteX11" fmla="*/ 44072 w 604399"/>
              <a:gd name="connsiteY11" fmla="*/ 1493 h 110081"/>
              <a:gd name="connsiteX12" fmla="*/ 38246 w 604399"/>
              <a:gd name="connsiteY12" fmla="*/ 29559 h 110081"/>
              <a:gd name="connsiteX13" fmla="*/ 60655 w 604399"/>
              <a:gd name="connsiteY13" fmla="*/ 29559 h 110081"/>
              <a:gd name="connsiteX14" fmla="*/ 66482 w 604399"/>
              <a:gd name="connsiteY14" fmla="*/ 1493 h 110081"/>
              <a:gd name="connsiteX15" fmla="*/ 78434 w 604399"/>
              <a:gd name="connsiteY15" fmla="*/ 1493 h 110081"/>
              <a:gd name="connsiteX16" fmla="*/ 72607 w 604399"/>
              <a:gd name="connsiteY16" fmla="*/ 29559 h 110081"/>
              <a:gd name="connsiteX17" fmla="*/ 89340 w 604399"/>
              <a:gd name="connsiteY17" fmla="*/ 29559 h 110081"/>
              <a:gd name="connsiteX18" fmla="*/ 89340 w 604399"/>
              <a:gd name="connsiteY18" fmla="*/ 40012 h 110081"/>
              <a:gd name="connsiteX19" fmla="*/ 70515 w 604399"/>
              <a:gd name="connsiteY19" fmla="*/ 40012 h 110081"/>
              <a:gd name="connsiteX20" fmla="*/ 64988 w 604399"/>
              <a:gd name="connsiteY20" fmla="*/ 67206 h 110081"/>
              <a:gd name="connsiteX21" fmla="*/ 85306 w 604399"/>
              <a:gd name="connsiteY21" fmla="*/ 67206 h 110081"/>
              <a:gd name="connsiteX22" fmla="*/ 85306 w 604399"/>
              <a:gd name="connsiteY22" fmla="*/ 77661 h 110081"/>
              <a:gd name="connsiteX23" fmla="*/ 62747 w 604399"/>
              <a:gd name="connsiteY23" fmla="*/ 77661 h 110081"/>
              <a:gd name="connsiteX24" fmla="*/ 56472 w 604399"/>
              <a:gd name="connsiteY24" fmla="*/ 108588 h 110081"/>
              <a:gd name="connsiteX25" fmla="*/ 44520 w 604399"/>
              <a:gd name="connsiteY25" fmla="*/ 108588 h 110081"/>
              <a:gd name="connsiteX26" fmla="*/ 50795 w 604399"/>
              <a:gd name="connsiteY26" fmla="*/ 77661 h 110081"/>
              <a:gd name="connsiteX27" fmla="*/ 28386 w 604399"/>
              <a:gd name="connsiteY27" fmla="*/ 77661 h 110081"/>
              <a:gd name="connsiteX28" fmla="*/ 22111 w 604399"/>
              <a:gd name="connsiteY28" fmla="*/ 108588 h 110081"/>
              <a:gd name="connsiteX29" fmla="*/ 30626 w 604399"/>
              <a:gd name="connsiteY29" fmla="*/ 67206 h 110081"/>
              <a:gd name="connsiteX30" fmla="*/ 53036 w 604399"/>
              <a:gd name="connsiteY30" fmla="*/ 67206 h 110081"/>
              <a:gd name="connsiteX31" fmla="*/ 58564 w 604399"/>
              <a:gd name="connsiteY31" fmla="*/ 40012 h 110081"/>
              <a:gd name="connsiteX32" fmla="*/ 36154 w 604399"/>
              <a:gd name="connsiteY32" fmla="*/ 40012 h 110081"/>
              <a:gd name="connsiteX33" fmla="*/ 30626 w 604399"/>
              <a:gd name="connsiteY33" fmla="*/ 67206 h 110081"/>
              <a:gd name="connsiteX34" fmla="*/ 158766 w 604399"/>
              <a:gd name="connsiteY34" fmla="*/ 108588 h 110081"/>
              <a:gd name="connsiteX35" fmla="*/ 145619 w 604399"/>
              <a:gd name="connsiteY35" fmla="*/ 108588 h 110081"/>
              <a:gd name="connsiteX36" fmla="*/ 145619 w 604399"/>
              <a:gd name="connsiteY36" fmla="*/ 83199 h 110081"/>
              <a:gd name="connsiteX37" fmla="*/ 99306 w 604399"/>
              <a:gd name="connsiteY37" fmla="*/ 83199 h 110081"/>
              <a:gd name="connsiteX38" fmla="*/ 99306 w 604399"/>
              <a:gd name="connsiteY38" fmla="*/ 73927 h 110081"/>
              <a:gd name="connsiteX39" fmla="*/ 141137 w 604399"/>
              <a:gd name="connsiteY39" fmla="*/ 1493 h 110081"/>
              <a:gd name="connsiteX40" fmla="*/ 158766 w 604399"/>
              <a:gd name="connsiteY40" fmla="*/ 1493 h 110081"/>
              <a:gd name="connsiteX41" fmla="*/ 158766 w 604399"/>
              <a:gd name="connsiteY41" fmla="*/ 71873 h 110081"/>
              <a:gd name="connsiteX42" fmla="*/ 173257 w 604399"/>
              <a:gd name="connsiteY42" fmla="*/ 71873 h 110081"/>
              <a:gd name="connsiteX43" fmla="*/ 173257 w 604399"/>
              <a:gd name="connsiteY43" fmla="*/ 83199 h 110081"/>
              <a:gd name="connsiteX44" fmla="*/ 158766 w 604399"/>
              <a:gd name="connsiteY44" fmla="*/ 83199 h 110081"/>
              <a:gd name="connsiteX45" fmla="*/ 158766 w 604399"/>
              <a:gd name="connsiteY45" fmla="*/ 108588 h 110081"/>
              <a:gd name="connsiteX46" fmla="*/ 112901 w 604399"/>
              <a:gd name="connsiteY46" fmla="*/ 71873 h 110081"/>
              <a:gd name="connsiteX47" fmla="*/ 145619 w 604399"/>
              <a:gd name="connsiteY47" fmla="*/ 71873 h 110081"/>
              <a:gd name="connsiteX48" fmla="*/ 145619 w 604399"/>
              <a:gd name="connsiteY48" fmla="*/ 16117 h 110081"/>
              <a:gd name="connsiteX49" fmla="*/ 112901 w 604399"/>
              <a:gd name="connsiteY49" fmla="*/ 71873 h 110081"/>
              <a:gd name="connsiteX50" fmla="*/ 255401 w 604399"/>
              <a:gd name="connsiteY50" fmla="*/ 73491 h 110081"/>
              <a:gd name="connsiteX51" fmla="*/ 250620 w 604399"/>
              <a:gd name="connsiteY51" fmla="*/ 92782 h 110081"/>
              <a:gd name="connsiteX52" fmla="*/ 237922 w 604399"/>
              <a:gd name="connsiteY52" fmla="*/ 105601 h 110081"/>
              <a:gd name="connsiteX53" fmla="*/ 219845 w 604399"/>
              <a:gd name="connsiteY53" fmla="*/ 110082 h 110081"/>
              <a:gd name="connsiteX54" fmla="*/ 198182 w 604399"/>
              <a:gd name="connsiteY54" fmla="*/ 104108 h 110081"/>
              <a:gd name="connsiteX55" fmla="*/ 186081 w 604399"/>
              <a:gd name="connsiteY55" fmla="*/ 87555 h 110081"/>
              <a:gd name="connsiteX56" fmla="*/ 182346 w 604399"/>
              <a:gd name="connsiteY56" fmla="*/ 63161 h 110081"/>
              <a:gd name="connsiteX57" fmla="*/ 186828 w 604399"/>
              <a:gd name="connsiteY57" fmla="*/ 30181 h 110081"/>
              <a:gd name="connsiteX58" fmla="*/ 200871 w 604399"/>
              <a:gd name="connsiteY58" fmla="*/ 8089 h 110081"/>
              <a:gd name="connsiteX59" fmla="*/ 225372 w 604399"/>
              <a:gd name="connsiteY59" fmla="*/ 0 h 110081"/>
              <a:gd name="connsiteX60" fmla="*/ 247931 w 604399"/>
              <a:gd name="connsiteY60" fmla="*/ 5538 h 110081"/>
              <a:gd name="connsiteX61" fmla="*/ 247931 w 604399"/>
              <a:gd name="connsiteY61" fmla="*/ 18855 h 110081"/>
              <a:gd name="connsiteX62" fmla="*/ 225372 w 604399"/>
              <a:gd name="connsiteY62" fmla="*/ 12259 h 110081"/>
              <a:gd name="connsiteX63" fmla="*/ 209835 w 604399"/>
              <a:gd name="connsiteY63" fmla="*/ 17361 h 110081"/>
              <a:gd name="connsiteX64" fmla="*/ 199975 w 604399"/>
              <a:gd name="connsiteY64" fmla="*/ 31238 h 110081"/>
              <a:gd name="connsiteX65" fmla="*/ 195791 w 604399"/>
              <a:gd name="connsiteY65" fmla="*/ 50778 h 110081"/>
              <a:gd name="connsiteX66" fmla="*/ 207146 w 604399"/>
              <a:gd name="connsiteY66" fmla="*/ 40759 h 110081"/>
              <a:gd name="connsiteX67" fmla="*/ 221189 w 604399"/>
              <a:gd name="connsiteY67" fmla="*/ 37523 h 110081"/>
              <a:gd name="connsiteX68" fmla="*/ 238519 w 604399"/>
              <a:gd name="connsiteY68" fmla="*/ 41693 h 110081"/>
              <a:gd name="connsiteX69" fmla="*/ 250770 w 604399"/>
              <a:gd name="connsiteY69" fmla="*/ 53952 h 110081"/>
              <a:gd name="connsiteX70" fmla="*/ 255401 w 604399"/>
              <a:gd name="connsiteY70" fmla="*/ 73491 h 110081"/>
              <a:gd name="connsiteX71" fmla="*/ 219396 w 604399"/>
              <a:gd name="connsiteY71" fmla="*/ 98134 h 110081"/>
              <a:gd name="connsiteX72" fmla="*/ 230153 w 604399"/>
              <a:gd name="connsiteY72" fmla="*/ 95458 h 110081"/>
              <a:gd name="connsiteX73" fmla="*/ 238071 w 604399"/>
              <a:gd name="connsiteY73" fmla="*/ 87244 h 110081"/>
              <a:gd name="connsiteX74" fmla="*/ 241208 w 604399"/>
              <a:gd name="connsiteY74" fmla="*/ 73803 h 110081"/>
              <a:gd name="connsiteX75" fmla="*/ 238220 w 604399"/>
              <a:gd name="connsiteY75" fmla="*/ 60174 h 110081"/>
              <a:gd name="connsiteX76" fmla="*/ 230601 w 604399"/>
              <a:gd name="connsiteY76" fmla="*/ 51961 h 110081"/>
              <a:gd name="connsiteX77" fmla="*/ 220890 w 604399"/>
              <a:gd name="connsiteY77" fmla="*/ 49160 h 110081"/>
              <a:gd name="connsiteX78" fmla="*/ 204307 w 604399"/>
              <a:gd name="connsiteY78" fmla="*/ 55570 h 110081"/>
              <a:gd name="connsiteX79" fmla="*/ 197734 w 604399"/>
              <a:gd name="connsiteY79" fmla="*/ 74114 h 110081"/>
              <a:gd name="connsiteX80" fmla="*/ 203560 w 604399"/>
              <a:gd name="connsiteY80" fmla="*/ 91538 h 110081"/>
              <a:gd name="connsiteX81" fmla="*/ 219396 w 604399"/>
              <a:gd name="connsiteY81" fmla="*/ 98134 h 110081"/>
              <a:gd name="connsiteX82" fmla="*/ 337539 w 604399"/>
              <a:gd name="connsiteY82" fmla="*/ 73491 h 110081"/>
              <a:gd name="connsiteX83" fmla="*/ 332758 w 604399"/>
              <a:gd name="connsiteY83" fmla="*/ 92782 h 110081"/>
              <a:gd name="connsiteX84" fmla="*/ 320059 w 604399"/>
              <a:gd name="connsiteY84" fmla="*/ 105601 h 110081"/>
              <a:gd name="connsiteX85" fmla="*/ 301982 w 604399"/>
              <a:gd name="connsiteY85" fmla="*/ 110082 h 110081"/>
              <a:gd name="connsiteX86" fmla="*/ 280319 w 604399"/>
              <a:gd name="connsiteY86" fmla="*/ 104108 h 110081"/>
              <a:gd name="connsiteX87" fmla="*/ 268218 w 604399"/>
              <a:gd name="connsiteY87" fmla="*/ 87555 h 110081"/>
              <a:gd name="connsiteX88" fmla="*/ 264483 w 604399"/>
              <a:gd name="connsiteY88" fmla="*/ 63161 h 110081"/>
              <a:gd name="connsiteX89" fmla="*/ 268965 w 604399"/>
              <a:gd name="connsiteY89" fmla="*/ 30181 h 110081"/>
              <a:gd name="connsiteX90" fmla="*/ 283009 w 604399"/>
              <a:gd name="connsiteY90" fmla="*/ 8089 h 110081"/>
              <a:gd name="connsiteX91" fmla="*/ 307510 w 604399"/>
              <a:gd name="connsiteY91" fmla="*/ 0 h 110081"/>
              <a:gd name="connsiteX92" fmla="*/ 330069 w 604399"/>
              <a:gd name="connsiteY92" fmla="*/ 5538 h 110081"/>
              <a:gd name="connsiteX93" fmla="*/ 330069 w 604399"/>
              <a:gd name="connsiteY93" fmla="*/ 18855 h 110081"/>
              <a:gd name="connsiteX94" fmla="*/ 307510 w 604399"/>
              <a:gd name="connsiteY94" fmla="*/ 12259 h 110081"/>
              <a:gd name="connsiteX95" fmla="*/ 291972 w 604399"/>
              <a:gd name="connsiteY95" fmla="*/ 17361 h 110081"/>
              <a:gd name="connsiteX96" fmla="*/ 282112 w 604399"/>
              <a:gd name="connsiteY96" fmla="*/ 31238 h 110081"/>
              <a:gd name="connsiteX97" fmla="*/ 277929 w 604399"/>
              <a:gd name="connsiteY97" fmla="*/ 50778 h 110081"/>
              <a:gd name="connsiteX98" fmla="*/ 289283 w 604399"/>
              <a:gd name="connsiteY98" fmla="*/ 40759 h 110081"/>
              <a:gd name="connsiteX99" fmla="*/ 303327 w 604399"/>
              <a:gd name="connsiteY99" fmla="*/ 37523 h 110081"/>
              <a:gd name="connsiteX100" fmla="*/ 320657 w 604399"/>
              <a:gd name="connsiteY100" fmla="*/ 41693 h 110081"/>
              <a:gd name="connsiteX101" fmla="*/ 332907 w 604399"/>
              <a:gd name="connsiteY101" fmla="*/ 53952 h 110081"/>
              <a:gd name="connsiteX102" fmla="*/ 337539 w 604399"/>
              <a:gd name="connsiteY102" fmla="*/ 73491 h 110081"/>
              <a:gd name="connsiteX103" fmla="*/ 301534 w 604399"/>
              <a:gd name="connsiteY103" fmla="*/ 98134 h 110081"/>
              <a:gd name="connsiteX104" fmla="*/ 312291 w 604399"/>
              <a:gd name="connsiteY104" fmla="*/ 95458 h 110081"/>
              <a:gd name="connsiteX105" fmla="*/ 320208 w 604399"/>
              <a:gd name="connsiteY105" fmla="*/ 87244 h 110081"/>
              <a:gd name="connsiteX106" fmla="*/ 323346 w 604399"/>
              <a:gd name="connsiteY106" fmla="*/ 73803 h 110081"/>
              <a:gd name="connsiteX107" fmla="*/ 320358 w 604399"/>
              <a:gd name="connsiteY107" fmla="*/ 60174 h 110081"/>
              <a:gd name="connsiteX108" fmla="*/ 312739 w 604399"/>
              <a:gd name="connsiteY108" fmla="*/ 51961 h 110081"/>
              <a:gd name="connsiteX109" fmla="*/ 303028 w 604399"/>
              <a:gd name="connsiteY109" fmla="*/ 49160 h 110081"/>
              <a:gd name="connsiteX110" fmla="*/ 286445 w 604399"/>
              <a:gd name="connsiteY110" fmla="*/ 55570 h 110081"/>
              <a:gd name="connsiteX111" fmla="*/ 279871 w 604399"/>
              <a:gd name="connsiteY111" fmla="*/ 74114 h 110081"/>
              <a:gd name="connsiteX112" fmla="*/ 285698 w 604399"/>
              <a:gd name="connsiteY112" fmla="*/ 91538 h 110081"/>
              <a:gd name="connsiteX113" fmla="*/ 301534 w 604399"/>
              <a:gd name="connsiteY113" fmla="*/ 98134 h 110081"/>
              <a:gd name="connsiteX114" fmla="*/ 354240 w 604399"/>
              <a:gd name="connsiteY114" fmla="*/ 1493 h 110081"/>
              <a:gd name="connsiteX115" fmla="*/ 420573 w 604399"/>
              <a:gd name="connsiteY115" fmla="*/ 1493 h 110081"/>
              <a:gd name="connsiteX116" fmla="*/ 420573 w 604399"/>
              <a:gd name="connsiteY116" fmla="*/ 14374 h 110081"/>
              <a:gd name="connsiteX117" fmla="*/ 368283 w 604399"/>
              <a:gd name="connsiteY117" fmla="*/ 14374 h 110081"/>
              <a:gd name="connsiteX118" fmla="*/ 368283 w 604399"/>
              <a:gd name="connsiteY118" fmla="*/ 46734 h 110081"/>
              <a:gd name="connsiteX119" fmla="*/ 412654 w 604399"/>
              <a:gd name="connsiteY119" fmla="*/ 46734 h 110081"/>
              <a:gd name="connsiteX120" fmla="*/ 412654 w 604399"/>
              <a:gd name="connsiteY120" fmla="*/ 59428 h 110081"/>
              <a:gd name="connsiteX121" fmla="*/ 368283 w 604399"/>
              <a:gd name="connsiteY121" fmla="*/ 59428 h 110081"/>
              <a:gd name="connsiteX122" fmla="*/ 368283 w 604399"/>
              <a:gd name="connsiteY122" fmla="*/ 95893 h 110081"/>
              <a:gd name="connsiteX123" fmla="*/ 421319 w 604399"/>
              <a:gd name="connsiteY123" fmla="*/ 95893 h 110081"/>
              <a:gd name="connsiteX124" fmla="*/ 421319 w 604399"/>
              <a:gd name="connsiteY124" fmla="*/ 108588 h 110081"/>
              <a:gd name="connsiteX125" fmla="*/ 354240 w 604399"/>
              <a:gd name="connsiteY125" fmla="*/ 108588 h 110081"/>
              <a:gd name="connsiteX126" fmla="*/ 354240 w 604399"/>
              <a:gd name="connsiteY126" fmla="*/ 1493 h 110081"/>
              <a:gd name="connsiteX127" fmla="*/ 506576 w 604399"/>
              <a:gd name="connsiteY127" fmla="*/ 108588 h 110081"/>
              <a:gd name="connsiteX128" fmla="*/ 438301 w 604399"/>
              <a:gd name="connsiteY128" fmla="*/ 108588 h 110081"/>
              <a:gd name="connsiteX129" fmla="*/ 438301 w 604399"/>
              <a:gd name="connsiteY129" fmla="*/ 94400 h 110081"/>
              <a:gd name="connsiteX130" fmla="*/ 464445 w 604399"/>
              <a:gd name="connsiteY130" fmla="*/ 72433 h 110081"/>
              <a:gd name="connsiteX131" fmla="*/ 480431 w 604399"/>
              <a:gd name="connsiteY131" fmla="*/ 56628 h 110081"/>
              <a:gd name="connsiteX132" fmla="*/ 488498 w 604399"/>
              <a:gd name="connsiteY132" fmla="*/ 43933 h 110081"/>
              <a:gd name="connsiteX133" fmla="*/ 490889 w 604399"/>
              <a:gd name="connsiteY133" fmla="*/ 32109 h 110081"/>
              <a:gd name="connsiteX134" fmla="*/ 485361 w 604399"/>
              <a:gd name="connsiteY134" fmla="*/ 17610 h 110081"/>
              <a:gd name="connsiteX135" fmla="*/ 470123 w 604399"/>
              <a:gd name="connsiteY135" fmla="*/ 12383 h 110081"/>
              <a:gd name="connsiteX136" fmla="*/ 441140 w 604399"/>
              <a:gd name="connsiteY136" fmla="*/ 27194 h 110081"/>
              <a:gd name="connsiteX137" fmla="*/ 441140 w 604399"/>
              <a:gd name="connsiteY137" fmla="*/ 12134 h 110081"/>
              <a:gd name="connsiteX138" fmla="*/ 470571 w 604399"/>
              <a:gd name="connsiteY138" fmla="*/ 0 h 110081"/>
              <a:gd name="connsiteX139" fmla="*/ 495968 w 604399"/>
              <a:gd name="connsiteY139" fmla="*/ 8401 h 110081"/>
              <a:gd name="connsiteX140" fmla="*/ 505381 w 604399"/>
              <a:gd name="connsiteY140" fmla="*/ 30803 h 110081"/>
              <a:gd name="connsiteX141" fmla="*/ 502990 w 604399"/>
              <a:gd name="connsiteY141" fmla="*/ 44804 h 110081"/>
              <a:gd name="connsiteX142" fmla="*/ 494922 w 604399"/>
              <a:gd name="connsiteY142" fmla="*/ 58681 h 110081"/>
              <a:gd name="connsiteX143" fmla="*/ 479236 w 604399"/>
              <a:gd name="connsiteY143" fmla="*/ 74860 h 110081"/>
              <a:gd name="connsiteX144" fmla="*/ 453838 w 604399"/>
              <a:gd name="connsiteY144" fmla="*/ 95769 h 110081"/>
              <a:gd name="connsiteX145" fmla="*/ 506576 w 604399"/>
              <a:gd name="connsiteY145" fmla="*/ 95769 h 110081"/>
              <a:gd name="connsiteX146" fmla="*/ 506576 w 604399"/>
              <a:gd name="connsiteY146" fmla="*/ 108588 h 110081"/>
              <a:gd name="connsiteX147" fmla="*/ 572130 w 604399"/>
              <a:gd name="connsiteY147" fmla="*/ 110082 h 110081"/>
              <a:gd name="connsiteX148" fmla="*/ 544342 w 604399"/>
              <a:gd name="connsiteY148" fmla="*/ 103486 h 110081"/>
              <a:gd name="connsiteX149" fmla="*/ 525966 w 604399"/>
              <a:gd name="connsiteY149" fmla="*/ 84693 h 110081"/>
              <a:gd name="connsiteX150" fmla="*/ 519393 w 604399"/>
              <a:gd name="connsiteY150" fmla="*/ 55134 h 110081"/>
              <a:gd name="connsiteX151" fmla="*/ 532988 w 604399"/>
              <a:gd name="connsiteY151" fmla="*/ 14810 h 110081"/>
              <a:gd name="connsiteX152" fmla="*/ 571831 w 604399"/>
              <a:gd name="connsiteY152" fmla="*/ 186 h 110081"/>
              <a:gd name="connsiteX153" fmla="*/ 589759 w 604399"/>
              <a:gd name="connsiteY153" fmla="*/ 2240 h 110081"/>
              <a:gd name="connsiteX154" fmla="*/ 604400 w 604399"/>
              <a:gd name="connsiteY154" fmla="*/ 7902 h 110081"/>
              <a:gd name="connsiteX155" fmla="*/ 604400 w 604399"/>
              <a:gd name="connsiteY155" fmla="*/ 21344 h 110081"/>
              <a:gd name="connsiteX156" fmla="*/ 589311 w 604399"/>
              <a:gd name="connsiteY156" fmla="*/ 15121 h 110081"/>
              <a:gd name="connsiteX157" fmla="*/ 571682 w 604399"/>
              <a:gd name="connsiteY157" fmla="*/ 12881 h 110081"/>
              <a:gd name="connsiteX158" fmla="*/ 543744 w 604399"/>
              <a:gd name="connsiteY158" fmla="*/ 23459 h 110081"/>
              <a:gd name="connsiteX159" fmla="*/ 534631 w 604399"/>
              <a:gd name="connsiteY159" fmla="*/ 55134 h 110081"/>
              <a:gd name="connsiteX160" fmla="*/ 544491 w 604399"/>
              <a:gd name="connsiteY160" fmla="*/ 86933 h 110081"/>
              <a:gd name="connsiteX161" fmla="*/ 573325 w 604399"/>
              <a:gd name="connsiteY161" fmla="*/ 97387 h 110081"/>
              <a:gd name="connsiteX162" fmla="*/ 604400 w 604399"/>
              <a:gd name="connsiteY162" fmla="*/ 87555 h 110081"/>
              <a:gd name="connsiteX163" fmla="*/ 604400 w 604399"/>
              <a:gd name="connsiteY163" fmla="*/ 100997 h 110081"/>
              <a:gd name="connsiteX164" fmla="*/ 590506 w 604399"/>
              <a:gd name="connsiteY164" fmla="*/ 107717 h 110081"/>
              <a:gd name="connsiteX165" fmla="*/ 572130 w 604399"/>
              <a:gd name="connsiteY16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60439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58766" y="108588"/>
                </a:moveTo>
                <a:lnTo>
                  <a:pt x="145619" y="108588"/>
                </a:lnTo>
                <a:lnTo>
                  <a:pt x="145619" y="83199"/>
                </a:lnTo>
                <a:lnTo>
                  <a:pt x="99306" y="83199"/>
                </a:lnTo>
                <a:lnTo>
                  <a:pt x="99306" y="73927"/>
                </a:lnTo>
                <a:lnTo>
                  <a:pt x="141137" y="1493"/>
                </a:lnTo>
                <a:lnTo>
                  <a:pt x="158766" y="1493"/>
                </a:lnTo>
                <a:lnTo>
                  <a:pt x="158766" y="71873"/>
                </a:lnTo>
                <a:lnTo>
                  <a:pt x="173257" y="71873"/>
                </a:lnTo>
                <a:lnTo>
                  <a:pt x="173257" y="83199"/>
                </a:lnTo>
                <a:lnTo>
                  <a:pt x="158766" y="83199"/>
                </a:lnTo>
                <a:lnTo>
                  <a:pt x="158766" y="108588"/>
                </a:lnTo>
                <a:close/>
                <a:moveTo>
                  <a:pt x="112901" y="71873"/>
                </a:moveTo>
                <a:lnTo>
                  <a:pt x="145619" y="71873"/>
                </a:lnTo>
                <a:lnTo>
                  <a:pt x="145619" y="16117"/>
                </a:lnTo>
                <a:lnTo>
                  <a:pt x="112901" y="71873"/>
                </a:lnTo>
                <a:close/>
                <a:moveTo>
                  <a:pt x="255401" y="73491"/>
                </a:moveTo>
                <a:cubicBezTo>
                  <a:pt x="255401" y="80772"/>
                  <a:pt x="253808" y="87182"/>
                  <a:pt x="250620" y="92782"/>
                </a:cubicBezTo>
                <a:cubicBezTo>
                  <a:pt x="247533" y="98258"/>
                  <a:pt x="243300" y="102490"/>
                  <a:pt x="237922" y="105601"/>
                </a:cubicBezTo>
                <a:cubicBezTo>
                  <a:pt x="232543" y="108588"/>
                  <a:pt x="226518" y="110082"/>
                  <a:pt x="219845" y="110082"/>
                </a:cubicBezTo>
                <a:cubicBezTo>
                  <a:pt x="210881" y="110082"/>
                  <a:pt x="203660" y="108091"/>
                  <a:pt x="198182" y="104108"/>
                </a:cubicBezTo>
                <a:cubicBezTo>
                  <a:pt x="192704" y="100125"/>
                  <a:pt x="188670" y="94587"/>
                  <a:pt x="186081" y="87555"/>
                </a:cubicBezTo>
                <a:cubicBezTo>
                  <a:pt x="183591" y="80461"/>
                  <a:pt x="182346" y="72372"/>
                  <a:pt x="182346" y="63161"/>
                </a:cubicBezTo>
                <a:cubicBezTo>
                  <a:pt x="182346" y="50653"/>
                  <a:pt x="183840" y="39639"/>
                  <a:pt x="186828" y="30181"/>
                </a:cubicBezTo>
                <a:cubicBezTo>
                  <a:pt x="189915" y="20722"/>
                  <a:pt x="194596" y="13379"/>
                  <a:pt x="200871" y="8089"/>
                </a:cubicBezTo>
                <a:cubicBezTo>
                  <a:pt x="207245" y="2675"/>
                  <a:pt x="215412" y="0"/>
                  <a:pt x="225372" y="0"/>
                </a:cubicBezTo>
                <a:cubicBezTo>
                  <a:pt x="233938" y="0"/>
                  <a:pt x="241457" y="1866"/>
                  <a:pt x="247931" y="5538"/>
                </a:cubicBezTo>
                <a:lnTo>
                  <a:pt x="247931" y="18855"/>
                </a:lnTo>
                <a:cubicBezTo>
                  <a:pt x="241457" y="14437"/>
                  <a:pt x="233938" y="12259"/>
                  <a:pt x="225372" y="12259"/>
                </a:cubicBezTo>
                <a:cubicBezTo>
                  <a:pt x="219197" y="12259"/>
                  <a:pt x="214018" y="13939"/>
                  <a:pt x="209835" y="17361"/>
                </a:cubicBezTo>
                <a:cubicBezTo>
                  <a:pt x="205652" y="20722"/>
                  <a:pt x="202365" y="25327"/>
                  <a:pt x="199975" y="31238"/>
                </a:cubicBezTo>
                <a:cubicBezTo>
                  <a:pt x="197684" y="37026"/>
                  <a:pt x="196290" y="43498"/>
                  <a:pt x="195791" y="50778"/>
                </a:cubicBezTo>
                <a:cubicBezTo>
                  <a:pt x="199078" y="46298"/>
                  <a:pt x="202863" y="42999"/>
                  <a:pt x="207146" y="40759"/>
                </a:cubicBezTo>
                <a:cubicBezTo>
                  <a:pt x="211429" y="38581"/>
                  <a:pt x="216110" y="37523"/>
                  <a:pt x="221189" y="37523"/>
                </a:cubicBezTo>
                <a:cubicBezTo>
                  <a:pt x="227663" y="37523"/>
                  <a:pt x="233440" y="38893"/>
                  <a:pt x="238519" y="41693"/>
                </a:cubicBezTo>
                <a:cubicBezTo>
                  <a:pt x="243698" y="44493"/>
                  <a:pt x="247782" y="48538"/>
                  <a:pt x="250770" y="53952"/>
                </a:cubicBezTo>
                <a:cubicBezTo>
                  <a:pt x="253857" y="59179"/>
                  <a:pt x="255401" y="65713"/>
                  <a:pt x="255401" y="73491"/>
                </a:cubicBezTo>
                <a:close/>
                <a:moveTo>
                  <a:pt x="219396" y="98134"/>
                </a:moveTo>
                <a:cubicBezTo>
                  <a:pt x="223281" y="98134"/>
                  <a:pt x="226866" y="97263"/>
                  <a:pt x="230153" y="95458"/>
                </a:cubicBezTo>
                <a:cubicBezTo>
                  <a:pt x="233440" y="93529"/>
                  <a:pt x="236079" y="90791"/>
                  <a:pt x="238071" y="87244"/>
                </a:cubicBezTo>
                <a:cubicBezTo>
                  <a:pt x="240163" y="83635"/>
                  <a:pt x="241208" y="79154"/>
                  <a:pt x="241208" y="73803"/>
                </a:cubicBezTo>
                <a:cubicBezTo>
                  <a:pt x="241208" y="68389"/>
                  <a:pt x="240212" y="63908"/>
                  <a:pt x="238220" y="60174"/>
                </a:cubicBezTo>
                <a:cubicBezTo>
                  <a:pt x="236228" y="56503"/>
                  <a:pt x="233689" y="53765"/>
                  <a:pt x="230601" y="51961"/>
                </a:cubicBezTo>
                <a:cubicBezTo>
                  <a:pt x="227514" y="50093"/>
                  <a:pt x="224277" y="49160"/>
                  <a:pt x="220890" y="49160"/>
                </a:cubicBezTo>
                <a:cubicBezTo>
                  <a:pt x="214317" y="49160"/>
                  <a:pt x="208789" y="51276"/>
                  <a:pt x="204307" y="55570"/>
                </a:cubicBezTo>
                <a:cubicBezTo>
                  <a:pt x="199925" y="59739"/>
                  <a:pt x="197734" y="65900"/>
                  <a:pt x="197734" y="74114"/>
                </a:cubicBezTo>
                <a:cubicBezTo>
                  <a:pt x="197734" y="81270"/>
                  <a:pt x="199676" y="87058"/>
                  <a:pt x="203560" y="91538"/>
                </a:cubicBezTo>
                <a:cubicBezTo>
                  <a:pt x="207445" y="95956"/>
                  <a:pt x="212723" y="98134"/>
                  <a:pt x="219396" y="98134"/>
                </a:cubicBezTo>
                <a:close/>
                <a:moveTo>
                  <a:pt x="337539" y="73491"/>
                </a:moveTo>
                <a:cubicBezTo>
                  <a:pt x="337539" y="80772"/>
                  <a:pt x="335945" y="87182"/>
                  <a:pt x="332758" y="92782"/>
                </a:cubicBezTo>
                <a:cubicBezTo>
                  <a:pt x="329670" y="98258"/>
                  <a:pt x="325438" y="102490"/>
                  <a:pt x="320059" y="105601"/>
                </a:cubicBezTo>
                <a:cubicBezTo>
                  <a:pt x="314681" y="108588"/>
                  <a:pt x="308655" y="110082"/>
                  <a:pt x="301982" y="110082"/>
                </a:cubicBezTo>
                <a:cubicBezTo>
                  <a:pt x="293018" y="110082"/>
                  <a:pt x="285797" y="108091"/>
                  <a:pt x="280319" y="104108"/>
                </a:cubicBezTo>
                <a:cubicBezTo>
                  <a:pt x="274841" y="100125"/>
                  <a:pt x="270808" y="94587"/>
                  <a:pt x="268218" y="87555"/>
                </a:cubicBezTo>
                <a:cubicBezTo>
                  <a:pt x="265728" y="80461"/>
                  <a:pt x="264483" y="72372"/>
                  <a:pt x="264483" y="63161"/>
                </a:cubicBezTo>
                <a:cubicBezTo>
                  <a:pt x="264483" y="50653"/>
                  <a:pt x="265977" y="39639"/>
                  <a:pt x="268965" y="30181"/>
                </a:cubicBezTo>
                <a:cubicBezTo>
                  <a:pt x="272053" y="20722"/>
                  <a:pt x="276734" y="13379"/>
                  <a:pt x="283009" y="8089"/>
                </a:cubicBezTo>
                <a:cubicBezTo>
                  <a:pt x="289383" y="2675"/>
                  <a:pt x="297550" y="0"/>
                  <a:pt x="307510" y="0"/>
                </a:cubicBezTo>
                <a:cubicBezTo>
                  <a:pt x="316075" y="0"/>
                  <a:pt x="323595" y="1866"/>
                  <a:pt x="330069" y="5538"/>
                </a:cubicBezTo>
                <a:lnTo>
                  <a:pt x="330069" y="18855"/>
                </a:lnTo>
                <a:cubicBezTo>
                  <a:pt x="323595" y="14437"/>
                  <a:pt x="316075" y="12259"/>
                  <a:pt x="307510" y="12259"/>
                </a:cubicBezTo>
                <a:cubicBezTo>
                  <a:pt x="301335" y="12259"/>
                  <a:pt x="296156" y="13939"/>
                  <a:pt x="291972" y="17361"/>
                </a:cubicBezTo>
                <a:cubicBezTo>
                  <a:pt x="287789" y="20722"/>
                  <a:pt x="284502" y="25327"/>
                  <a:pt x="282112" y="31238"/>
                </a:cubicBezTo>
                <a:cubicBezTo>
                  <a:pt x="279821" y="37026"/>
                  <a:pt x="278427" y="43498"/>
                  <a:pt x="277929" y="50778"/>
                </a:cubicBezTo>
                <a:cubicBezTo>
                  <a:pt x="281216" y="46298"/>
                  <a:pt x="285001" y="42999"/>
                  <a:pt x="289283" y="40759"/>
                </a:cubicBezTo>
                <a:cubicBezTo>
                  <a:pt x="293566" y="38581"/>
                  <a:pt x="298247" y="37523"/>
                  <a:pt x="303327" y="37523"/>
                </a:cubicBezTo>
                <a:cubicBezTo>
                  <a:pt x="309800" y="37523"/>
                  <a:pt x="315577" y="38893"/>
                  <a:pt x="320657" y="41693"/>
                </a:cubicBezTo>
                <a:cubicBezTo>
                  <a:pt x="325836" y="44493"/>
                  <a:pt x="329919" y="48538"/>
                  <a:pt x="332907" y="53952"/>
                </a:cubicBezTo>
                <a:cubicBezTo>
                  <a:pt x="335995" y="59179"/>
                  <a:pt x="337539" y="65713"/>
                  <a:pt x="337539" y="73491"/>
                </a:cubicBezTo>
                <a:close/>
                <a:moveTo>
                  <a:pt x="301534" y="98134"/>
                </a:moveTo>
                <a:cubicBezTo>
                  <a:pt x="305418" y="98134"/>
                  <a:pt x="309004" y="97263"/>
                  <a:pt x="312291" y="95458"/>
                </a:cubicBezTo>
                <a:cubicBezTo>
                  <a:pt x="315577" y="93529"/>
                  <a:pt x="318217" y="90791"/>
                  <a:pt x="320208" y="87244"/>
                </a:cubicBezTo>
                <a:cubicBezTo>
                  <a:pt x="322300" y="83635"/>
                  <a:pt x="323346" y="79154"/>
                  <a:pt x="323346" y="73803"/>
                </a:cubicBezTo>
                <a:cubicBezTo>
                  <a:pt x="323346" y="68389"/>
                  <a:pt x="322350" y="63908"/>
                  <a:pt x="320358" y="60174"/>
                </a:cubicBezTo>
                <a:cubicBezTo>
                  <a:pt x="318366" y="56503"/>
                  <a:pt x="315826" y="53765"/>
                  <a:pt x="312739" y="51961"/>
                </a:cubicBezTo>
                <a:cubicBezTo>
                  <a:pt x="309651" y="50093"/>
                  <a:pt x="306414" y="49160"/>
                  <a:pt x="303028" y="49160"/>
                </a:cubicBezTo>
                <a:cubicBezTo>
                  <a:pt x="296454" y="49160"/>
                  <a:pt x="290927" y="51276"/>
                  <a:pt x="286445" y="55570"/>
                </a:cubicBezTo>
                <a:cubicBezTo>
                  <a:pt x="282062" y="59739"/>
                  <a:pt x="279871" y="65900"/>
                  <a:pt x="279871" y="74114"/>
                </a:cubicBezTo>
                <a:cubicBezTo>
                  <a:pt x="279871" y="81270"/>
                  <a:pt x="281813" y="87058"/>
                  <a:pt x="285698" y="91538"/>
                </a:cubicBezTo>
                <a:cubicBezTo>
                  <a:pt x="289582" y="95956"/>
                  <a:pt x="294861" y="98134"/>
                  <a:pt x="301534" y="98134"/>
                </a:cubicBezTo>
                <a:close/>
                <a:moveTo>
                  <a:pt x="354240" y="1493"/>
                </a:moveTo>
                <a:lnTo>
                  <a:pt x="420573" y="1493"/>
                </a:lnTo>
                <a:lnTo>
                  <a:pt x="420573" y="14374"/>
                </a:lnTo>
                <a:lnTo>
                  <a:pt x="368283" y="14374"/>
                </a:lnTo>
                <a:lnTo>
                  <a:pt x="368283" y="46734"/>
                </a:lnTo>
                <a:lnTo>
                  <a:pt x="412654" y="46734"/>
                </a:lnTo>
                <a:lnTo>
                  <a:pt x="412654" y="59428"/>
                </a:lnTo>
                <a:lnTo>
                  <a:pt x="368283" y="59428"/>
                </a:lnTo>
                <a:lnTo>
                  <a:pt x="368283" y="95893"/>
                </a:lnTo>
                <a:lnTo>
                  <a:pt x="421319" y="95893"/>
                </a:lnTo>
                <a:lnTo>
                  <a:pt x="421319" y="108588"/>
                </a:lnTo>
                <a:lnTo>
                  <a:pt x="354240" y="108588"/>
                </a:lnTo>
                <a:lnTo>
                  <a:pt x="354240" y="1493"/>
                </a:lnTo>
                <a:close/>
                <a:moveTo>
                  <a:pt x="506576" y="108588"/>
                </a:moveTo>
                <a:lnTo>
                  <a:pt x="438301" y="108588"/>
                </a:lnTo>
                <a:lnTo>
                  <a:pt x="438301" y="94400"/>
                </a:lnTo>
                <a:cubicBezTo>
                  <a:pt x="448958" y="85812"/>
                  <a:pt x="457673" y="78532"/>
                  <a:pt x="464445" y="72433"/>
                </a:cubicBezTo>
                <a:cubicBezTo>
                  <a:pt x="471318" y="66397"/>
                  <a:pt x="476646" y="61108"/>
                  <a:pt x="480431" y="56628"/>
                </a:cubicBezTo>
                <a:cubicBezTo>
                  <a:pt x="484315" y="52023"/>
                  <a:pt x="487005" y="47791"/>
                  <a:pt x="488498" y="43933"/>
                </a:cubicBezTo>
                <a:cubicBezTo>
                  <a:pt x="490092" y="40012"/>
                  <a:pt x="490889" y="36092"/>
                  <a:pt x="490889" y="32109"/>
                </a:cubicBezTo>
                <a:cubicBezTo>
                  <a:pt x="490889" y="25949"/>
                  <a:pt x="489046" y="21095"/>
                  <a:pt x="485361" y="17610"/>
                </a:cubicBezTo>
                <a:cubicBezTo>
                  <a:pt x="481676" y="14125"/>
                  <a:pt x="476597" y="12383"/>
                  <a:pt x="470123" y="12383"/>
                </a:cubicBezTo>
                <a:cubicBezTo>
                  <a:pt x="459765" y="12383"/>
                  <a:pt x="450104" y="17361"/>
                  <a:pt x="441140" y="27194"/>
                </a:cubicBezTo>
                <a:lnTo>
                  <a:pt x="441140" y="12134"/>
                </a:lnTo>
                <a:cubicBezTo>
                  <a:pt x="449406" y="4044"/>
                  <a:pt x="459217" y="0"/>
                  <a:pt x="470571" y="0"/>
                </a:cubicBezTo>
                <a:cubicBezTo>
                  <a:pt x="481328" y="0"/>
                  <a:pt x="489793" y="2800"/>
                  <a:pt x="495968" y="8401"/>
                </a:cubicBezTo>
                <a:cubicBezTo>
                  <a:pt x="502243" y="13877"/>
                  <a:pt x="505381" y="21344"/>
                  <a:pt x="505381" y="30803"/>
                </a:cubicBezTo>
                <a:cubicBezTo>
                  <a:pt x="505381" y="35657"/>
                  <a:pt x="504584" y="40324"/>
                  <a:pt x="502990" y="44804"/>
                </a:cubicBezTo>
                <a:cubicBezTo>
                  <a:pt x="501496" y="49222"/>
                  <a:pt x="498807" y="53827"/>
                  <a:pt x="494922" y="58681"/>
                </a:cubicBezTo>
                <a:cubicBezTo>
                  <a:pt x="491138" y="63473"/>
                  <a:pt x="485909" y="68887"/>
                  <a:pt x="479236" y="74860"/>
                </a:cubicBezTo>
                <a:cubicBezTo>
                  <a:pt x="472563" y="80835"/>
                  <a:pt x="464097" y="87804"/>
                  <a:pt x="453838" y="95769"/>
                </a:cubicBezTo>
                <a:lnTo>
                  <a:pt x="506576" y="95769"/>
                </a:lnTo>
                <a:lnTo>
                  <a:pt x="506576" y="108588"/>
                </a:lnTo>
                <a:close/>
                <a:moveTo>
                  <a:pt x="572130" y="110082"/>
                </a:moveTo>
                <a:cubicBezTo>
                  <a:pt x="561573" y="110082"/>
                  <a:pt x="552310" y="107904"/>
                  <a:pt x="544342" y="103486"/>
                </a:cubicBezTo>
                <a:cubicBezTo>
                  <a:pt x="536474" y="99129"/>
                  <a:pt x="530349" y="92844"/>
                  <a:pt x="525966" y="84693"/>
                </a:cubicBezTo>
                <a:cubicBezTo>
                  <a:pt x="521584" y="76416"/>
                  <a:pt x="519393" y="66584"/>
                  <a:pt x="519393" y="55134"/>
                </a:cubicBezTo>
                <a:cubicBezTo>
                  <a:pt x="519393" y="37897"/>
                  <a:pt x="523925" y="24455"/>
                  <a:pt x="532988" y="14810"/>
                </a:cubicBezTo>
                <a:cubicBezTo>
                  <a:pt x="542051" y="5040"/>
                  <a:pt x="554999" y="186"/>
                  <a:pt x="571831" y="186"/>
                </a:cubicBezTo>
                <a:cubicBezTo>
                  <a:pt x="578106" y="186"/>
                  <a:pt x="584082" y="871"/>
                  <a:pt x="589759" y="2240"/>
                </a:cubicBezTo>
                <a:cubicBezTo>
                  <a:pt x="595536" y="3547"/>
                  <a:pt x="600416" y="5414"/>
                  <a:pt x="604400" y="7902"/>
                </a:cubicBezTo>
                <a:lnTo>
                  <a:pt x="604400" y="21344"/>
                </a:lnTo>
                <a:cubicBezTo>
                  <a:pt x="600117" y="18669"/>
                  <a:pt x="595087" y="16615"/>
                  <a:pt x="589311" y="15121"/>
                </a:cubicBezTo>
                <a:cubicBezTo>
                  <a:pt x="583634" y="13628"/>
                  <a:pt x="577757" y="12881"/>
                  <a:pt x="571682" y="12881"/>
                </a:cubicBezTo>
                <a:cubicBezTo>
                  <a:pt x="559132" y="12881"/>
                  <a:pt x="549820" y="16366"/>
                  <a:pt x="543744" y="23459"/>
                </a:cubicBezTo>
                <a:cubicBezTo>
                  <a:pt x="537669" y="30554"/>
                  <a:pt x="534631" y="41071"/>
                  <a:pt x="534631" y="55134"/>
                </a:cubicBezTo>
                <a:cubicBezTo>
                  <a:pt x="534631" y="69260"/>
                  <a:pt x="537918" y="79839"/>
                  <a:pt x="544491" y="86933"/>
                </a:cubicBezTo>
                <a:cubicBezTo>
                  <a:pt x="551065" y="93902"/>
                  <a:pt x="560676" y="97387"/>
                  <a:pt x="573325" y="97387"/>
                </a:cubicBezTo>
                <a:cubicBezTo>
                  <a:pt x="585277" y="97387"/>
                  <a:pt x="595635" y="94089"/>
                  <a:pt x="604400" y="87555"/>
                </a:cubicBezTo>
                <a:lnTo>
                  <a:pt x="604400" y="100997"/>
                </a:lnTo>
                <a:cubicBezTo>
                  <a:pt x="600914" y="103734"/>
                  <a:pt x="596283" y="105974"/>
                  <a:pt x="590506" y="107717"/>
                </a:cubicBezTo>
                <a:cubicBezTo>
                  <a:pt x="584729" y="109273"/>
                  <a:pt x="578604" y="110082"/>
                  <a:pt x="57213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5" name="Полилиния 1024">
            <a:extLst>
              <a:ext uri="{FF2B5EF4-FFF2-40B4-BE49-F238E27FC236}">
                <a16:creationId xmlns:a16="http://schemas.microsoft.com/office/drawing/2014/main" id="{05C06770-C118-D58B-9BAD-703526353293}"/>
              </a:ext>
            </a:extLst>
          </p:cNvPr>
          <p:cNvSpPr/>
          <p:nvPr userDrawn="1"/>
        </p:nvSpPr>
        <p:spPr>
          <a:xfrm>
            <a:off x="15359119" y="5240073"/>
            <a:ext cx="1398954" cy="726227"/>
          </a:xfrm>
          <a:custGeom>
            <a:avLst/>
            <a:gdLst>
              <a:gd name="connsiteX0" fmla="*/ 425 w 1198727"/>
              <a:gd name="connsiteY0" fmla="*/ 1222 h 622284"/>
              <a:gd name="connsiteX1" fmla="*/ 1199153 w 1198727"/>
              <a:gd name="connsiteY1" fmla="*/ 1222 h 622284"/>
              <a:gd name="connsiteX2" fmla="*/ 1199153 w 1198727"/>
              <a:gd name="connsiteY2" fmla="*/ 623506 h 622284"/>
              <a:gd name="connsiteX3" fmla="*/ 425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222"/>
                </a:moveTo>
                <a:lnTo>
                  <a:pt x="1199153" y="1222"/>
                </a:lnTo>
                <a:lnTo>
                  <a:pt x="1199153" y="623506"/>
                </a:lnTo>
                <a:lnTo>
                  <a:pt x="425" y="623506"/>
                </a:lnTo>
                <a:close/>
              </a:path>
            </a:pathLst>
          </a:custGeom>
          <a:solidFill>
            <a:srgbClr val="5E943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6" name="Полилиния 1025">
            <a:extLst>
              <a:ext uri="{FF2B5EF4-FFF2-40B4-BE49-F238E27FC236}">
                <a16:creationId xmlns:a16="http://schemas.microsoft.com/office/drawing/2014/main" id="{EB67DF2B-433B-63AC-763D-70313FC22D22}"/>
              </a:ext>
            </a:extLst>
          </p:cNvPr>
          <p:cNvSpPr/>
          <p:nvPr userDrawn="1"/>
        </p:nvSpPr>
        <p:spPr>
          <a:xfrm>
            <a:off x="15482328" y="5541820"/>
            <a:ext cx="705353" cy="128468"/>
          </a:xfrm>
          <a:custGeom>
            <a:avLst/>
            <a:gdLst>
              <a:gd name="connsiteX0" fmla="*/ 22111 w 604399"/>
              <a:gd name="connsiteY0" fmla="*/ 108588 h 110081"/>
              <a:gd name="connsiteX1" fmla="*/ 10159 w 604399"/>
              <a:gd name="connsiteY1" fmla="*/ 108588 h 110081"/>
              <a:gd name="connsiteX2" fmla="*/ 16434 w 604399"/>
              <a:gd name="connsiteY2" fmla="*/ 77661 h 110081"/>
              <a:gd name="connsiteX3" fmla="*/ 0 w 604399"/>
              <a:gd name="connsiteY3" fmla="*/ 77661 h 110081"/>
              <a:gd name="connsiteX4" fmla="*/ 0 w 604399"/>
              <a:gd name="connsiteY4" fmla="*/ 67206 h 110081"/>
              <a:gd name="connsiteX5" fmla="*/ 18675 w 604399"/>
              <a:gd name="connsiteY5" fmla="*/ 67206 h 110081"/>
              <a:gd name="connsiteX6" fmla="*/ 24202 w 604399"/>
              <a:gd name="connsiteY6" fmla="*/ 40012 h 110081"/>
              <a:gd name="connsiteX7" fmla="*/ 4034 w 604399"/>
              <a:gd name="connsiteY7" fmla="*/ 40012 h 110081"/>
              <a:gd name="connsiteX8" fmla="*/ 4034 w 604399"/>
              <a:gd name="connsiteY8" fmla="*/ 29559 h 110081"/>
              <a:gd name="connsiteX9" fmla="*/ 26294 w 604399"/>
              <a:gd name="connsiteY9" fmla="*/ 29559 h 110081"/>
              <a:gd name="connsiteX10" fmla="*/ 32120 w 604399"/>
              <a:gd name="connsiteY10" fmla="*/ 1493 h 110081"/>
              <a:gd name="connsiteX11" fmla="*/ 44072 w 604399"/>
              <a:gd name="connsiteY11" fmla="*/ 1493 h 110081"/>
              <a:gd name="connsiteX12" fmla="*/ 38246 w 604399"/>
              <a:gd name="connsiteY12" fmla="*/ 29559 h 110081"/>
              <a:gd name="connsiteX13" fmla="*/ 60655 w 604399"/>
              <a:gd name="connsiteY13" fmla="*/ 29559 h 110081"/>
              <a:gd name="connsiteX14" fmla="*/ 66482 w 604399"/>
              <a:gd name="connsiteY14" fmla="*/ 1493 h 110081"/>
              <a:gd name="connsiteX15" fmla="*/ 78434 w 604399"/>
              <a:gd name="connsiteY15" fmla="*/ 1493 h 110081"/>
              <a:gd name="connsiteX16" fmla="*/ 72607 w 604399"/>
              <a:gd name="connsiteY16" fmla="*/ 29559 h 110081"/>
              <a:gd name="connsiteX17" fmla="*/ 89340 w 604399"/>
              <a:gd name="connsiteY17" fmla="*/ 29559 h 110081"/>
              <a:gd name="connsiteX18" fmla="*/ 89340 w 604399"/>
              <a:gd name="connsiteY18" fmla="*/ 40012 h 110081"/>
              <a:gd name="connsiteX19" fmla="*/ 70515 w 604399"/>
              <a:gd name="connsiteY19" fmla="*/ 40012 h 110081"/>
              <a:gd name="connsiteX20" fmla="*/ 64988 w 604399"/>
              <a:gd name="connsiteY20" fmla="*/ 67206 h 110081"/>
              <a:gd name="connsiteX21" fmla="*/ 85306 w 604399"/>
              <a:gd name="connsiteY21" fmla="*/ 67206 h 110081"/>
              <a:gd name="connsiteX22" fmla="*/ 85306 w 604399"/>
              <a:gd name="connsiteY22" fmla="*/ 77661 h 110081"/>
              <a:gd name="connsiteX23" fmla="*/ 62747 w 604399"/>
              <a:gd name="connsiteY23" fmla="*/ 77661 h 110081"/>
              <a:gd name="connsiteX24" fmla="*/ 56472 w 604399"/>
              <a:gd name="connsiteY24" fmla="*/ 108588 h 110081"/>
              <a:gd name="connsiteX25" fmla="*/ 44520 w 604399"/>
              <a:gd name="connsiteY25" fmla="*/ 108588 h 110081"/>
              <a:gd name="connsiteX26" fmla="*/ 50795 w 604399"/>
              <a:gd name="connsiteY26" fmla="*/ 77661 h 110081"/>
              <a:gd name="connsiteX27" fmla="*/ 28386 w 604399"/>
              <a:gd name="connsiteY27" fmla="*/ 77661 h 110081"/>
              <a:gd name="connsiteX28" fmla="*/ 22111 w 604399"/>
              <a:gd name="connsiteY28" fmla="*/ 108588 h 110081"/>
              <a:gd name="connsiteX29" fmla="*/ 30626 w 604399"/>
              <a:gd name="connsiteY29" fmla="*/ 67206 h 110081"/>
              <a:gd name="connsiteX30" fmla="*/ 53036 w 604399"/>
              <a:gd name="connsiteY30" fmla="*/ 67206 h 110081"/>
              <a:gd name="connsiteX31" fmla="*/ 58564 w 604399"/>
              <a:gd name="connsiteY31" fmla="*/ 40012 h 110081"/>
              <a:gd name="connsiteX32" fmla="*/ 36154 w 604399"/>
              <a:gd name="connsiteY32" fmla="*/ 40012 h 110081"/>
              <a:gd name="connsiteX33" fmla="*/ 30626 w 604399"/>
              <a:gd name="connsiteY33" fmla="*/ 67206 h 110081"/>
              <a:gd name="connsiteX34" fmla="*/ 131725 w 604399"/>
              <a:gd name="connsiteY34" fmla="*/ 110082 h 110081"/>
              <a:gd name="connsiteX35" fmla="*/ 103190 w 604399"/>
              <a:gd name="connsiteY35" fmla="*/ 102490 h 110081"/>
              <a:gd name="connsiteX36" fmla="*/ 103190 w 604399"/>
              <a:gd name="connsiteY36" fmla="*/ 87804 h 110081"/>
              <a:gd name="connsiteX37" fmla="*/ 116337 w 604399"/>
              <a:gd name="connsiteY37" fmla="*/ 95458 h 110081"/>
              <a:gd name="connsiteX38" fmla="*/ 131725 w 604399"/>
              <a:gd name="connsiteY38" fmla="*/ 97823 h 110081"/>
              <a:gd name="connsiteX39" fmla="*/ 148756 w 604399"/>
              <a:gd name="connsiteY39" fmla="*/ 91102 h 110081"/>
              <a:gd name="connsiteX40" fmla="*/ 154881 w 604399"/>
              <a:gd name="connsiteY40" fmla="*/ 73491 h 110081"/>
              <a:gd name="connsiteX41" fmla="*/ 148906 w 604399"/>
              <a:gd name="connsiteY41" fmla="*/ 56441 h 110081"/>
              <a:gd name="connsiteX42" fmla="*/ 133816 w 604399"/>
              <a:gd name="connsiteY42" fmla="*/ 51089 h 110081"/>
              <a:gd name="connsiteX43" fmla="*/ 123209 w 604399"/>
              <a:gd name="connsiteY43" fmla="*/ 53329 h 110081"/>
              <a:gd name="connsiteX44" fmla="*/ 117084 w 604399"/>
              <a:gd name="connsiteY44" fmla="*/ 57810 h 110081"/>
              <a:gd name="connsiteX45" fmla="*/ 106178 w 604399"/>
              <a:gd name="connsiteY45" fmla="*/ 57810 h 110081"/>
              <a:gd name="connsiteX46" fmla="*/ 106178 w 604399"/>
              <a:gd name="connsiteY46" fmla="*/ 1493 h 110081"/>
              <a:gd name="connsiteX47" fmla="*/ 164144 w 604399"/>
              <a:gd name="connsiteY47" fmla="*/ 1493 h 110081"/>
              <a:gd name="connsiteX48" fmla="*/ 164144 w 604399"/>
              <a:gd name="connsiteY48" fmla="*/ 14374 h 110081"/>
              <a:gd name="connsiteX49" fmla="*/ 118429 w 604399"/>
              <a:gd name="connsiteY49" fmla="*/ 14374 h 110081"/>
              <a:gd name="connsiteX50" fmla="*/ 118429 w 604399"/>
              <a:gd name="connsiteY50" fmla="*/ 44991 h 110081"/>
              <a:gd name="connsiteX51" fmla="*/ 125749 w 604399"/>
              <a:gd name="connsiteY51" fmla="*/ 41071 h 110081"/>
              <a:gd name="connsiteX52" fmla="*/ 136057 w 604399"/>
              <a:gd name="connsiteY52" fmla="*/ 39266 h 110081"/>
              <a:gd name="connsiteX53" fmla="*/ 152790 w 604399"/>
              <a:gd name="connsiteY53" fmla="*/ 43186 h 110081"/>
              <a:gd name="connsiteX54" fmla="*/ 164592 w 604399"/>
              <a:gd name="connsiteY54" fmla="*/ 54512 h 110081"/>
              <a:gd name="connsiteX55" fmla="*/ 169074 w 604399"/>
              <a:gd name="connsiteY55" fmla="*/ 73181 h 110081"/>
              <a:gd name="connsiteX56" fmla="*/ 164443 w 604399"/>
              <a:gd name="connsiteY56" fmla="*/ 92596 h 110081"/>
              <a:gd name="connsiteX57" fmla="*/ 151595 w 604399"/>
              <a:gd name="connsiteY57" fmla="*/ 105601 h 110081"/>
              <a:gd name="connsiteX58" fmla="*/ 131725 w 604399"/>
              <a:gd name="connsiteY58" fmla="*/ 110082 h 110081"/>
              <a:gd name="connsiteX59" fmla="*/ 189965 w 604399"/>
              <a:gd name="connsiteY59" fmla="*/ 1493 h 110081"/>
              <a:gd name="connsiteX60" fmla="*/ 256297 w 604399"/>
              <a:gd name="connsiteY60" fmla="*/ 1493 h 110081"/>
              <a:gd name="connsiteX61" fmla="*/ 256297 w 604399"/>
              <a:gd name="connsiteY61" fmla="*/ 14374 h 110081"/>
              <a:gd name="connsiteX62" fmla="*/ 204008 w 604399"/>
              <a:gd name="connsiteY62" fmla="*/ 14374 h 110081"/>
              <a:gd name="connsiteX63" fmla="*/ 204008 w 604399"/>
              <a:gd name="connsiteY63" fmla="*/ 46734 h 110081"/>
              <a:gd name="connsiteX64" fmla="*/ 248380 w 604399"/>
              <a:gd name="connsiteY64" fmla="*/ 46734 h 110081"/>
              <a:gd name="connsiteX65" fmla="*/ 248380 w 604399"/>
              <a:gd name="connsiteY65" fmla="*/ 59428 h 110081"/>
              <a:gd name="connsiteX66" fmla="*/ 204008 w 604399"/>
              <a:gd name="connsiteY66" fmla="*/ 59428 h 110081"/>
              <a:gd name="connsiteX67" fmla="*/ 204008 w 604399"/>
              <a:gd name="connsiteY67" fmla="*/ 95893 h 110081"/>
              <a:gd name="connsiteX68" fmla="*/ 257045 w 604399"/>
              <a:gd name="connsiteY68" fmla="*/ 95893 h 110081"/>
              <a:gd name="connsiteX69" fmla="*/ 257045 w 604399"/>
              <a:gd name="connsiteY69" fmla="*/ 108588 h 110081"/>
              <a:gd name="connsiteX70" fmla="*/ 189965 w 604399"/>
              <a:gd name="connsiteY70" fmla="*/ 108588 h 110081"/>
              <a:gd name="connsiteX71" fmla="*/ 189965 w 604399"/>
              <a:gd name="connsiteY71" fmla="*/ 1493 h 110081"/>
              <a:gd name="connsiteX72" fmla="*/ 271629 w 604399"/>
              <a:gd name="connsiteY72" fmla="*/ 35844 h 110081"/>
              <a:gd name="connsiteX73" fmla="*/ 276261 w 604399"/>
              <a:gd name="connsiteY73" fmla="*/ 17051 h 110081"/>
              <a:gd name="connsiteX74" fmla="*/ 289109 w 604399"/>
              <a:gd name="connsiteY74" fmla="*/ 4480 h 110081"/>
              <a:gd name="connsiteX75" fmla="*/ 307186 w 604399"/>
              <a:gd name="connsiteY75" fmla="*/ 0 h 110081"/>
              <a:gd name="connsiteX76" fmla="*/ 328849 w 604399"/>
              <a:gd name="connsiteY76" fmla="*/ 5849 h 110081"/>
              <a:gd name="connsiteX77" fmla="*/ 340950 w 604399"/>
              <a:gd name="connsiteY77" fmla="*/ 21842 h 110081"/>
              <a:gd name="connsiteX78" fmla="*/ 344685 w 604399"/>
              <a:gd name="connsiteY78" fmla="*/ 45426 h 110081"/>
              <a:gd name="connsiteX79" fmla="*/ 340054 w 604399"/>
              <a:gd name="connsiteY79" fmla="*/ 80088 h 110081"/>
              <a:gd name="connsiteX80" fmla="*/ 325711 w 604399"/>
              <a:gd name="connsiteY80" fmla="*/ 102303 h 110081"/>
              <a:gd name="connsiteX81" fmla="*/ 301210 w 604399"/>
              <a:gd name="connsiteY81" fmla="*/ 110082 h 110081"/>
              <a:gd name="connsiteX82" fmla="*/ 278203 w 604399"/>
              <a:gd name="connsiteY82" fmla="*/ 104543 h 110081"/>
              <a:gd name="connsiteX83" fmla="*/ 278203 w 604399"/>
              <a:gd name="connsiteY83" fmla="*/ 91413 h 110081"/>
              <a:gd name="connsiteX84" fmla="*/ 301210 w 604399"/>
              <a:gd name="connsiteY84" fmla="*/ 98010 h 110081"/>
              <a:gd name="connsiteX85" fmla="*/ 316747 w 604399"/>
              <a:gd name="connsiteY85" fmla="*/ 92907 h 110081"/>
              <a:gd name="connsiteX86" fmla="*/ 326458 w 604399"/>
              <a:gd name="connsiteY86" fmla="*/ 79154 h 110081"/>
              <a:gd name="connsiteX87" fmla="*/ 330791 w 604399"/>
              <a:gd name="connsiteY87" fmla="*/ 59739 h 110081"/>
              <a:gd name="connsiteX88" fmla="*/ 319735 w 604399"/>
              <a:gd name="connsiteY88" fmla="*/ 68389 h 110081"/>
              <a:gd name="connsiteX89" fmla="*/ 305841 w 604399"/>
              <a:gd name="connsiteY89" fmla="*/ 71127 h 110081"/>
              <a:gd name="connsiteX90" fmla="*/ 288511 w 604399"/>
              <a:gd name="connsiteY90" fmla="*/ 67082 h 110081"/>
              <a:gd name="connsiteX91" fmla="*/ 276111 w 604399"/>
              <a:gd name="connsiteY91" fmla="*/ 55134 h 110081"/>
              <a:gd name="connsiteX92" fmla="*/ 271629 w 604399"/>
              <a:gd name="connsiteY92" fmla="*/ 35844 h 110081"/>
              <a:gd name="connsiteX93" fmla="*/ 307634 w 604399"/>
              <a:gd name="connsiteY93" fmla="*/ 12134 h 110081"/>
              <a:gd name="connsiteX94" fmla="*/ 296878 w 604399"/>
              <a:gd name="connsiteY94" fmla="*/ 14810 h 110081"/>
              <a:gd name="connsiteX95" fmla="*/ 288810 w 604399"/>
              <a:gd name="connsiteY95" fmla="*/ 22589 h 110081"/>
              <a:gd name="connsiteX96" fmla="*/ 285822 w 604399"/>
              <a:gd name="connsiteY96" fmla="*/ 35532 h 110081"/>
              <a:gd name="connsiteX97" fmla="*/ 288810 w 604399"/>
              <a:gd name="connsiteY97" fmla="*/ 48725 h 110081"/>
              <a:gd name="connsiteX98" fmla="*/ 296429 w 604399"/>
              <a:gd name="connsiteY98" fmla="*/ 56752 h 110081"/>
              <a:gd name="connsiteX99" fmla="*/ 306140 w 604399"/>
              <a:gd name="connsiteY99" fmla="*/ 59428 h 110081"/>
              <a:gd name="connsiteX100" fmla="*/ 322574 w 604399"/>
              <a:gd name="connsiteY100" fmla="*/ 53329 h 110081"/>
              <a:gd name="connsiteX101" fmla="*/ 329297 w 604399"/>
              <a:gd name="connsiteY101" fmla="*/ 35283 h 110081"/>
              <a:gd name="connsiteX102" fmla="*/ 323470 w 604399"/>
              <a:gd name="connsiteY102" fmla="*/ 18544 h 110081"/>
              <a:gd name="connsiteX103" fmla="*/ 307634 w 604399"/>
              <a:gd name="connsiteY103" fmla="*/ 12134 h 110081"/>
              <a:gd name="connsiteX104" fmla="*/ 412337 w 604399"/>
              <a:gd name="connsiteY104" fmla="*/ 108588 h 110081"/>
              <a:gd name="connsiteX105" fmla="*/ 399190 w 604399"/>
              <a:gd name="connsiteY105" fmla="*/ 108588 h 110081"/>
              <a:gd name="connsiteX106" fmla="*/ 399190 w 604399"/>
              <a:gd name="connsiteY106" fmla="*/ 83199 h 110081"/>
              <a:gd name="connsiteX107" fmla="*/ 352877 w 604399"/>
              <a:gd name="connsiteY107" fmla="*/ 83199 h 110081"/>
              <a:gd name="connsiteX108" fmla="*/ 352877 w 604399"/>
              <a:gd name="connsiteY108" fmla="*/ 73927 h 110081"/>
              <a:gd name="connsiteX109" fmla="*/ 394708 w 604399"/>
              <a:gd name="connsiteY109" fmla="*/ 1493 h 110081"/>
              <a:gd name="connsiteX110" fmla="*/ 412337 w 604399"/>
              <a:gd name="connsiteY110" fmla="*/ 1493 h 110081"/>
              <a:gd name="connsiteX111" fmla="*/ 412337 w 604399"/>
              <a:gd name="connsiteY111" fmla="*/ 71873 h 110081"/>
              <a:gd name="connsiteX112" fmla="*/ 426829 w 604399"/>
              <a:gd name="connsiteY112" fmla="*/ 71873 h 110081"/>
              <a:gd name="connsiteX113" fmla="*/ 426829 w 604399"/>
              <a:gd name="connsiteY113" fmla="*/ 83199 h 110081"/>
              <a:gd name="connsiteX114" fmla="*/ 412337 w 604399"/>
              <a:gd name="connsiteY114" fmla="*/ 83199 h 110081"/>
              <a:gd name="connsiteX115" fmla="*/ 412337 w 604399"/>
              <a:gd name="connsiteY115" fmla="*/ 108588 h 110081"/>
              <a:gd name="connsiteX116" fmla="*/ 366472 w 604399"/>
              <a:gd name="connsiteY116" fmla="*/ 71873 h 110081"/>
              <a:gd name="connsiteX117" fmla="*/ 399190 w 604399"/>
              <a:gd name="connsiteY117" fmla="*/ 71873 h 110081"/>
              <a:gd name="connsiteX118" fmla="*/ 399190 w 604399"/>
              <a:gd name="connsiteY118" fmla="*/ 16117 h 110081"/>
              <a:gd name="connsiteX119" fmla="*/ 366472 w 604399"/>
              <a:gd name="connsiteY119" fmla="*/ 71873 h 110081"/>
              <a:gd name="connsiteX120" fmla="*/ 455781 w 604399"/>
              <a:gd name="connsiteY120" fmla="*/ 58992 h 110081"/>
              <a:gd name="connsiteX121" fmla="*/ 455781 w 604399"/>
              <a:gd name="connsiteY121" fmla="*/ 46298 h 110081"/>
              <a:gd name="connsiteX122" fmla="*/ 470123 w 604399"/>
              <a:gd name="connsiteY122" fmla="*/ 46298 h 110081"/>
              <a:gd name="connsiteX123" fmla="*/ 483718 w 604399"/>
              <a:gd name="connsiteY123" fmla="*/ 41817 h 110081"/>
              <a:gd name="connsiteX124" fmla="*/ 489096 w 604399"/>
              <a:gd name="connsiteY124" fmla="*/ 28812 h 110081"/>
              <a:gd name="connsiteX125" fmla="*/ 484166 w 604399"/>
              <a:gd name="connsiteY125" fmla="*/ 16864 h 110081"/>
              <a:gd name="connsiteX126" fmla="*/ 469973 w 604399"/>
              <a:gd name="connsiteY126" fmla="*/ 12383 h 110081"/>
              <a:gd name="connsiteX127" fmla="*/ 455332 w 604399"/>
              <a:gd name="connsiteY127" fmla="*/ 15246 h 110081"/>
              <a:gd name="connsiteX128" fmla="*/ 441289 w 604399"/>
              <a:gd name="connsiteY128" fmla="*/ 24331 h 110081"/>
              <a:gd name="connsiteX129" fmla="*/ 441289 w 604399"/>
              <a:gd name="connsiteY129" fmla="*/ 9707 h 110081"/>
              <a:gd name="connsiteX130" fmla="*/ 470123 w 604399"/>
              <a:gd name="connsiteY130" fmla="*/ 0 h 110081"/>
              <a:gd name="connsiteX131" fmla="*/ 494176 w 604399"/>
              <a:gd name="connsiteY131" fmla="*/ 7779 h 110081"/>
              <a:gd name="connsiteX132" fmla="*/ 502990 w 604399"/>
              <a:gd name="connsiteY132" fmla="*/ 28065 h 110081"/>
              <a:gd name="connsiteX133" fmla="*/ 497313 w 604399"/>
              <a:gd name="connsiteY133" fmla="*/ 44244 h 110081"/>
              <a:gd name="connsiteX134" fmla="*/ 484017 w 604399"/>
              <a:gd name="connsiteY134" fmla="*/ 52147 h 110081"/>
              <a:gd name="connsiteX135" fmla="*/ 495520 w 604399"/>
              <a:gd name="connsiteY135" fmla="*/ 56441 h 110081"/>
              <a:gd name="connsiteX136" fmla="*/ 504185 w 604399"/>
              <a:gd name="connsiteY136" fmla="*/ 65153 h 110081"/>
              <a:gd name="connsiteX137" fmla="*/ 507472 w 604399"/>
              <a:gd name="connsiteY137" fmla="*/ 77661 h 110081"/>
              <a:gd name="connsiteX138" fmla="*/ 502542 w 604399"/>
              <a:gd name="connsiteY138" fmla="*/ 94836 h 110081"/>
              <a:gd name="connsiteX139" fmla="*/ 488947 w 604399"/>
              <a:gd name="connsiteY139" fmla="*/ 106224 h 110081"/>
              <a:gd name="connsiteX140" fmla="*/ 469077 w 604399"/>
              <a:gd name="connsiteY140" fmla="*/ 110082 h 110081"/>
              <a:gd name="connsiteX141" fmla="*/ 438600 w 604399"/>
              <a:gd name="connsiteY141" fmla="*/ 100997 h 110081"/>
              <a:gd name="connsiteX142" fmla="*/ 438600 w 604399"/>
              <a:gd name="connsiteY142" fmla="*/ 86062 h 110081"/>
              <a:gd name="connsiteX143" fmla="*/ 452344 w 604399"/>
              <a:gd name="connsiteY143" fmla="*/ 94711 h 110081"/>
              <a:gd name="connsiteX144" fmla="*/ 469226 w 604399"/>
              <a:gd name="connsiteY144" fmla="*/ 97823 h 110081"/>
              <a:gd name="connsiteX145" fmla="*/ 486556 w 604399"/>
              <a:gd name="connsiteY145" fmla="*/ 92596 h 110081"/>
              <a:gd name="connsiteX146" fmla="*/ 492981 w 604399"/>
              <a:gd name="connsiteY146" fmla="*/ 77972 h 110081"/>
              <a:gd name="connsiteX147" fmla="*/ 487154 w 604399"/>
              <a:gd name="connsiteY147" fmla="*/ 64095 h 110081"/>
              <a:gd name="connsiteX148" fmla="*/ 469525 w 604399"/>
              <a:gd name="connsiteY148" fmla="*/ 58992 h 110081"/>
              <a:gd name="connsiteX149" fmla="*/ 455781 w 604399"/>
              <a:gd name="connsiteY149" fmla="*/ 58992 h 110081"/>
              <a:gd name="connsiteX150" fmla="*/ 572130 w 604399"/>
              <a:gd name="connsiteY150" fmla="*/ 110082 h 110081"/>
              <a:gd name="connsiteX151" fmla="*/ 544342 w 604399"/>
              <a:gd name="connsiteY151" fmla="*/ 103486 h 110081"/>
              <a:gd name="connsiteX152" fmla="*/ 525966 w 604399"/>
              <a:gd name="connsiteY152" fmla="*/ 84693 h 110081"/>
              <a:gd name="connsiteX153" fmla="*/ 519393 w 604399"/>
              <a:gd name="connsiteY153" fmla="*/ 55134 h 110081"/>
              <a:gd name="connsiteX154" fmla="*/ 532988 w 604399"/>
              <a:gd name="connsiteY154" fmla="*/ 14810 h 110081"/>
              <a:gd name="connsiteX155" fmla="*/ 571831 w 604399"/>
              <a:gd name="connsiteY155" fmla="*/ 186 h 110081"/>
              <a:gd name="connsiteX156" fmla="*/ 589759 w 604399"/>
              <a:gd name="connsiteY156" fmla="*/ 2240 h 110081"/>
              <a:gd name="connsiteX157" fmla="*/ 604400 w 604399"/>
              <a:gd name="connsiteY157" fmla="*/ 7902 h 110081"/>
              <a:gd name="connsiteX158" fmla="*/ 604400 w 604399"/>
              <a:gd name="connsiteY158" fmla="*/ 21344 h 110081"/>
              <a:gd name="connsiteX159" fmla="*/ 589311 w 604399"/>
              <a:gd name="connsiteY159" fmla="*/ 15121 h 110081"/>
              <a:gd name="connsiteX160" fmla="*/ 571682 w 604399"/>
              <a:gd name="connsiteY160" fmla="*/ 12881 h 110081"/>
              <a:gd name="connsiteX161" fmla="*/ 543744 w 604399"/>
              <a:gd name="connsiteY161" fmla="*/ 23459 h 110081"/>
              <a:gd name="connsiteX162" fmla="*/ 534631 w 604399"/>
              <a:gd name="connsiteY162" fmla="*/ 55134 h 110081"/>
              <a:gd name="connsiteX163" fmla="*/ 544491 w 604399"/>
              <a:gd name="connsiteY163" fmla="*/ 86933 h 110081"/>
              <a:gd name="connsiteX164" fmla="*/ 573325 w 604399"/>
              <a:gd name="connsiteY164" fmla="*/ 97387 h 110081"/>
              <a:gd name="connsiteX165" fmla="*/ 604400 w 604399"/>
              <a:gd name="connsiteY165" fmla="*/ 87555 h 110081"/>
              <a:gd name="connsiteX166" fmla="*/ 604400 w 604399"/>
              <a:gd name="connsiteY166" fmla="*/ 100997 h 110081"/>
              <a:gd name="connsiteX167" fmla="*/ 590506 w 604399"/>
              <a:gd name="connsiteY167" fmla="*/ 107717 h 110081"/>
              <a:gd name="connsiteX168" fmla="*/ 572130 w 604399"/>
              <a:gd name="connsiteY168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60439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25" y="110082"/>
                </a:moveTo>
                <a:cubicBezTo>
                  <a:pt x="119773" y="110082"/>
                  <a:pt x="110261" y="107530"/>
                  <a:pt x="103190" y="102490"/>
                </a:cubicBezTo>
                <a:lnTo>
                  <a:pt x="103190" y="87804"/>
                </a:lnTo>
                <a:cubicBezTo>
                  <a:pt x="107373" y="91226"/>
                  <a:pt x="111755" y="93778"/>
                  <a:pt x="116337" y="95458"/>
                </a:cubicBezTo>
                <a:cubicBezTo>
                  <a:pt x="120919" y="97014"/>
                  <a:pt x="126048" y="97823"/>
                  <a:pt x="131725" y="97823"/>
                </a:cubicBezTo>
                <a:cubicBezTo>
                  <a:pt x="139095" y="97823"/>
                  <a:pt x="144772" y="95583"/>
                  <a:pt x="148756" y="91102"/>
                </a:cubicBezTo>
                <a:cubicBezTo>
                  <a:pt x="152840" y="86621"/>
                  <a:pt x="154881" y="80772"/>
                  <a:pt x="154881" y="73491"/>
                </a:cubicBezTo>
                <a:cubicBezTo>
                  <a:pt x="154881" y="65713"/>
                  <a:pt x="152889" y="60050"/>
                  <a:pt x="148906" y="56441"/>
                </a:cubicBezTo>
                <a:cubicBezTo>
                  <a:pt x="144922" y="52894"/>
                  <a:pt x="139892" y="51089"/>
                  <a:pt x="133816" y="51089"/>
                </a:cubicBezTo>
                <a:cubicBezTo>
                  <a:pt x="129434" y="51089"/>
                  <a:pt x="125898" y="51836"/>
                  <a:pt x="123209" y="53329"/>
                </a:cubicBezTo>
                <a:cubicBezTo>
                  <a:pt x="120520" y="54698"/>
                  <a:pt x="118478" y="56192"/>
                  <a:pt x="117084" y="57810"/>
                </a:cubicBezTo>
                <a:lnTo>
                  <a:pt x="106178" y="57810"/>
                </a:lnTo>
                <a:lnTo>
                  <a:pt x="106178" y="1493"/>
                </a:lnTo>
                <a:lnTo>
                  <a:pt x="164144" y="1493"/>
                </a:lnTo>
                <a:lnTo>
                  <a:pt x="164144" y="14374"/>
                </a:lnTo>
                <a:lnTo>
                  <a:pt x="118429" y="14374"/>
                </a:lnTo>
                <a:lnTo>
                  <a:pt x="118429" y="44991"/>
                </a:lnTo>
                <a:cubicBezTo>
                  <a:pt x="120421" y="43498"/>
                  <a:pt x="122861" y="42190"/>
                  <a:pt x="125749" y="41071"/>
                </a:cubicBezTo>
                <a:cubicBezTo>
                  <a:pt x="128637" y="39888"/>
                  <a:pt x="132073" y="39266"/>
                  <a:pt x="136057" y="39266"/>
                </a:cubicBezTo>
                <a:cubicBezTo>
                  <a:pt x="142233" y="39266"/>
                  <a:pt x="147810" y="40572"/>
                  <a:pt x="152790" y="43186"/>
                </a:cubicBezTo>
                <a:cubicBezTo>
                  <a:pt x="157770" y="45675"/>
                  <a:pt x="161704" y="49471"/>
                  <a:pt x="164592" y="54512"/>
                </a:cubicBezTo>
                <a:cubicBezTo>
                  <a:pt x="167580" y="59490"/>
                  <a:pt x="169074" y="65713"/>
                  <a:pt x="169074" y="73181"/>
                </a:cubicBezTo>
                <a:cubicBezTo>
                  <a:pt x="169074" y="80586"/>
                  <a:pt x="167531" y="87058"/>
                  <a:pt x="164443" y="92596"/>
                </a:cubicBezTo>
                <a:cubicBezTo>
                  <a:pt x="161455" y="98196"/>
                  <a:pt x="157172" y="102490"/>
                  <a:pt x="151595" y="105601"/>
                </a:cubicBezTo>
                <a:cubicBezTo>
                  <a:pt x="146017" y="108588"/>
                  <a:pt x="139394" y="110082"/>
                  <a:pt x="131725" y="110082"/>
                </a:cubicBezTo>
                <a:close/>
                <a:moveTo>
                  <a:pt x="189965" y="1493"/>
                </a:moveTo>
                <a:lnTo>
                  <a:pt x="256297" y="1493"/>
                </a:lnTo>
                <a:lnTo>
                  <a:pt x="256297" y="14374"/>
                </a:lnTo>
                <a:lnTo>
                  <a:pt x="204008" y="14374"/>
                </a:lnTo>
                <a:lnTo>
                  <a:pt x="204008" y="46734"/>
                </a:lnTo>
                <a:lnTo>
                  <a:pt x="248380" y="46734"/>
                </a:lnTo>
                <a:lnTo>
                  <a:pt x="248380" y="59428"/>
                </a:lnTo>
                <a:lnTo>
                  <a:pt x="204008" y="59428"/>
                </a:lnTo>
                <a:lnTo>
                  <a:pt x="204008" y="95893"/>
                </a:lnTo>
                <a:lnTo>
                  <a:pt x="257045" y="95893"/>
                </a:lnTo>
                <a:lnTo>
                  <a:pt x="257045" y="108588"/>
                </a:lnTo>
                <a:lnTo>
                  <a:pt x="189965" y="108588"/>
                </a:lnTo>
                <a:lnTo>
                  <a:pt x="189965" y="1493"/>
                </a:lnTo>
                <a:close/>
                <a:moveTo>
                  <a:pt x="271629" y="35844"/>
                </a:moveTo>
                <a:cubicBezTo>
                  <a:pt x="271629" y="28687"/>
                  <a:pt x="273173" y="22402"/>
                  <a:pt x="276261" y="17051"/>
                </a:cubicBezTo>
                <a:cubicBezTo>
                  <a:pt x="279448" y="11637"/>
                  <a:pt x="283731" y="7467"/>
                  <a:pt x="289109" y="4480"/>
                </a:cubicBezTo>
                <a:cubicBezTo>
                  <a:pt x="294487" y="1493"/>
                  <a:pt x="300513" y="0"/>
                  <a:pt x="307186" y="0"/>
                </a:cubicBezTo>
                <a:cubicBezTo>
                  <a:pt x="316150" y="0"/>
                  <a:pt x="323371" y="1929"/>
                  <a:pt x="328849" y="5849"/>
                </a:cubicBezTo>
                <a:cubicBezTo>
                  <a:pt x="334426" y="9645"/>
                  <a:pt x="338460" y="14934"/>
                  <a:pt x="340950" y="21842"/>
                </a:cubicBezTo>
                <a:cubicBezTo>
                  <a:pt x="343440" y="28563"/>
                  <a:pt x="344685" y="36466"/>
                  <a:pt x="344685" y="45426"/>
                </a:cubicBezTo>
                <a:cubicBezTo>
                  <a:pt x="344685" y="58868"/>
                  <a:pt x="343141" y="70380"/>
                  <a:pt x="340054" y="80088"/>
                </a:cubicBezTo>
                <a:cubicBezTo>
                  <a:pt x="336966" y="89733"/>
                  <a:pt x="332185" y="97138"/>
                  <a:pt x="325711" y="102303"/>
                </a:cubicBezTo>
                <a:cubicBezTo>
                  <a:pt x="319337" y="107468"/>
                  <a:pt x="311170" y="110082"/>
                  <a:pt x="301210" y="110082"/>
                </a:cubicBezTo>
                <a:cubicBezTo>
                  <a:pt x="292246" y="110082"/>
                  <a:pt x="284577" y="108215"/>
                  <a:pt x="278203" y="104543"/>
                </a:cubicBezTo>
                <a:lnTo>
                  <a:pt x="278203" y="91413"/>
                </a:lnTo>
                <a:cubicBezTo>
                  <a:pt x="284976" y="95769"/>
                  <a:pt x="292645" y="98010"/>
                  <a:pt x="301210" y="98010"/>
                </a:cubicBezTo>
                <a:cubicBezTo>
                  <a:pt x="307385" y="98010"/>
                  <a:pt x="312564" y="96267"/>
                  <a:pt x="316747" y="92907"/>
                </a:cubicBezTo>
                <a:cubicBezTo>
                  <a:pt x="320931" y="89546"/>
                  <a:pt x="324168" y="84941"/>
                  <a:pt x="326458" y="79154"/>
                </a:cubicBezTo>
                <a:cubicBezTo>
                  <a:pt x="328849" y="73367"/>
                  <a:pt x="330293" y="66896"/>
                  <a:pt x="330791" y="59739"/>
                </a:cubicBezTo>
                <a:cubicBezTo>
                  <a:pt x="327703" y="63660"/>
                  <a:pt x="324018" y="66522"/>
                  <a:pt x="319735" y="68389"/>
                </a:cubicBezTo>
                <a:cubicBezTo>
                  <a:pt x="315453" y="70193"/>
                  <a:pt x="310821" y="71127"/>
                  <a:pt x="305841" y="71127"/>
                </a:cubicBezTo>
                <a:cubicBezTo>
                  <a:pt x="299467" y="71127"/>
                  <a:pt x="293691" y="69758"/>
                  <a:pt x="288511" y="67082"/>
                </a:cubicBezTo>
                <a:cubicBezTo>
                  <a:pt x="283332" y="64406"/>
                  <a:pt x="279199" y="60424"/>
                  <a:pt x="276111" y="55134"/>
                </a:cubicBezTo>
                <a:cubicBezTo>
                  <a:pt x="273123" y="49845"/>
                  <a:pt x="271629" y="43435"/>
                  <a:pt x="271629" y="35844"/>
                </a:cubicBezTo>
                <a:close/>
                <a:moveTo>
                  <a:pt x="307634" y="12134"/>
                </a:moveTo>
                <a:cubicBezTo>
                  <a:pt x="303849" y="12134"/>
                  <a:pt x="300264" y="13006"/>
                  <a:pt x="296878" y="14810"/>
                </a:cubicBezTo>
                <a:cubicBezTo>
                  <a:pt x="293591" y="16490"/>
                  <a:pt x="290902" y="19104"/>
                  <a:pt x="288810" y="22589"/>
                </a:cubicBezTo>
                <a:cubicBezTo>
                  <a:pt x="286818" y="25949"/>
                  <a:pt x="285822" y="30305"/>
                  <a:pt x="285822" y="35532"/>
                </a:cubicBezTo>
                <a:cubicBezTo>
                  <a:pt x="285822" y="40759"/>
                  <a:pt x="286818" y="45116"/>
                  <a:pt x="288810" y="48725"/>
                </a:cubicBezTo>
                <a:cubicBezTo>
                  <a:pt x="290802" y="52271"/>
                  <a:pt x="293342" y="54947"/>
                  <a:pt x="296429" y="56752"/>
                </a:cubicBezTo>
                <a:cubicBezTo>
                  <a:pt x="299517" y="58556"/>
                  <a:pt x="302754" y="59428"/>
                  <a:pt x="306140" y="59428"/>
                </a:cubicBezTo>
                <a:cubicBezTo>
                  <a:pt x="312714" y="59428"/>
                  <a:pt x="318192" y="57437"/>
                  <a:pt x="322574" y="53329"/>
                </a:cubicBezTo>
                <a:cubicBezTo>
                  <a:pt x="327056" y="49160"/>
                  <a:pt x="329297" y="43124"/>
                  <a:pt x="329297" y="35283"/>
                </a:cubicBezTo>
                <a:cubicBezTo>
                  <a:pt x="329297" y="28313"/>
                  <a:pt x="327355" y="22713"/>
                  <a:pt x="323470" y="18544"/>
                </a:cubicBezTo>
                <a:cubicBezTo>
                  <a:pt x="319586" y="14250"/>
                  <a:pt x="314307" y="12134"/>
                  <a:pt x="307634" y="12134"/>
                </a:cubicBezTo>
                <a:close/>
                <a:moveTo>
                  <a:pt x="412337" y="108588"/>
                </a:moveTo>
                <a:lnTo>
                  <a:pt x="399190" y="108588"/>
                </a:lnTo>
                <a:lnTo>
                  <a:pt x="399190" y="83199"/>
                </a:lnTo>
                <a:lnTo>
                  <a:pt x="352877" y="83199"/>
                </a:lnTo>
                <a:lnTo>
                  <a:pt x="352877" y="73927"/>
                </a:lnTo>
                <a:lnTo>
                  <a:pt x="394708" y="1493"/>
                </a:lnTo>
                <a:lnTo>
                  <a:pt x="412337" y="1493"/>
                </a:lnTo>
                <a:lnTo>
                  <a:pt x="412337" y="71873"/>
                </a:lnTo>
                <a:lnTo>
                  <a:pt x="426829" y="71873"/>
                </a:lnTo>
                <a:lnTo>
                  <a:pt x="426829" y="83199"/>
                </a:lnTo>
                <a:lnTo>
                  <a:pt x="412337" y="83199"/>
                </a:lnTo>
                <a:lnTo>
                  <a:pt x="412337" y="108588"/>
                </a:lnTo>
                <a:close/>
                <a:moveTo>
                  <a:pt x="366472" y="71873"/>
                </a:moveTo>
                <a:lnTo>
                  <a:pt x="399190" y="71873"/>
                </a:lnTo>
                <a:lnTo>
                  <a:pt x="399190" y="16117"/>
                </a:lnTo>
                <a:lnTo>
                  <a:pt x="366472" y="71873"/>
                </a:lnTo>
                <a:close/>
                <a:moveTo>
                  <a:pt x="455781" y="58992"/>
                </a:moveTo>
                <a:lnTo>
                  <a:pt x="455781" y="46298"/>
                </a:lnTo>
                <a:lnTo>
                  <a:pt x="470123" y="46298"/>
                </a:lnTo>
                <a:cubicBezTo>
                  <a:pt x="475700" y="46298"/>
                  <a:pt x="480232" y="44804"/>
                  <a:pt x="483718" y="41817"/>
                </a:cubicBezTo>
                <a:cubicBezTo>
                  <a:pt x="487303" y="38768"/>
                  <a:pt x="489096" y="34412"/>
                  <a:pt x="489096" y="28812"/>
                </a:cubicBezTo>
                <a:cubicBezTo>
                  <a:pt x="489096" y="23771"/>
                  <a:pt x="487453" y="19788"/>
                  <a:pt x="484166" y="16864"/>
                </a:cubicBezTo>
                <a:cubicBezTo>
                  <a:pt x="480879" y="13877"/>
                  <a:pt x="476148" y="12383"/>
                  <a:pt x="469973" y="12383"/>
                </a:cubicBezTo>
                <a:cubicBezTo>
                  <a:pt x="464794" y="12383"/>
                  <a:pt x="459914" y="13379"/>
                  <a:pt x="455332" y="15246"/>
                </a:cubicBezTo>
                <a:cubicBezTo>
                  <a:pt x="450850" y="17113"/>
                  <a:pt x="446169" y="20162"/>
                  <a:pt x="441289" y="24331"/>
                </a:cubicBezTo>
                <a:lnTo>
                  <a:pt x="441289" y="9707"/>
                </a:lnTo>
                <a:cubicBezTo>
                  <a:pt x="449257" y="3235"/>
                  <a:pt x="458868" y="0"/>
                  <a:pt x="470123" y="0"/>
                </a:cubicBezTo>
                <a:cubicBezTo>
                  <a:pt x="480381" y="0"/>
                  <a:pt x="488399" y="2613"/>
                  <a:pt x="494176" y="7779"/>
                </a:cubicBezTo>
                <a:cubicBezTo>
                  <a:pt x="500052" y="12943"/>
                  <a:pt x="502990" y="19726"/>
                  <a:pt x="502990" y="28065"/>
                </a:cubicBezTo>
                <a:cubicBezTo>
                  <a:pt x="502990" y="34848"/>
                  <a:pt x="501098" y="40262"/>
                  <a:pt x="497313" y="44244"/>
                </a:cubicBezTo>
                <a:cubicBezTo>
                  <a:pt x="493628" y="48227"/>
                  <a:pt x="489196" y="50840"/>
                  <a:pt x="484017" y="52147"/>
                </a:cubicBezTo>
                <a:cubicBezTo>
                  <a:pt x="488200" y="52707"/>
                  <a:pt x="492034" y="54201"/>
                  <a:pt x="495520" y="56441"/>
                </a:cubicBezTo>
                <a:cubicBezTo>
                  <a:pt x="499106" y="58681"/>
                  <a:pt x="501994" y="61543"/>
                  <a:pt x="504185" y="65153"/>
                </a:cubicBezTo>
                <a:cubicBezTo>
                  <a:pt x="506376" y="68700"/>
                  <a:pt x="507472" y="72869"/>
                  <a:pt x="507472" y="77661"/>
                </a:cubicBezTo>
                <a:cubicBezTo>
                  <a:pt x="507472" y="84257"/>
                  <a:pt x="505829" y="89982"/>
                  <a:pt x="502542" y="94836"/>
                </a:cubicBezTo>
                <a:cubicBezTo>
                  <a:pt x="499255" y="99752"/>
                  <a:pt x="494723" y="103486"/>
                  <a:pt x="488947" y="106224"/>
                </a:cubicBezTo>
                <a:cubicBezTo>
                  <a:pt x="483270" y="108775"/>
                  <a:pt x="476646" y="110082"/>
                  <a:pt x="469077" y="110082"/>
                </a:cubicBezTo>
                <a:cubicBezTo>
                  <a:pt x="455930" y="110082"/>
                  <a:pt x="445771" y="107033"/>
                  <a:pt x="438600" y="100997"/>
                </a:cubicBezTo>
                <a:lnTo>
                  <a:pt x="438600" y="86062"/>
                </a:lnTo>
                <a:cubicBezTo>
                  <a:pt x="442385" y="89733"/>
                  <a:pt x="446966" y="92596"/>
                  <a:pt x="452344" y="94711"/>
                </a:cubicBezTo>
                <a:cubicBezTo>
                  <a:pt x="457723" y="96765"/>
                  <a:pt x="463350" y="97823"/>
                  <a:pt x="469226" y="97823"/>
                </a:cubicBezTo>
                <a:cubicBezTo>
                  <a:pt x="476597" y="97823"/>
                  <a:pt x="482373" y="96080"/>
                  <a:pt x="486556" y="92596"/>
                </a:cubicBezTo>
                <a:cubicBezTo>
                  <a:pt x="490839" y="89048"/>
                  <a:pt x="492981" y="84132"/>
                  <a:pt x="492981" y="77972"/>
                </a:cubicBezTo>
                <a:cubicBezTo>
                  <a:pt x="492981" y="71998"/>
                  <a:pt x="491038" y="67393"/>
                  <a:pt x="487154" y="64095"/>
                </a:cubicBezTo>
                <a:cubicBezTo>
                  <a:pt x="483369" y="60673"/>
                  <a:pt x="477493" y="58992"/>
                  <a:pt x="469525" y="58992"/>
                </a:cubicBezTo>
                <a:lnTo>
                  <a:pt x="455781" y="58992"/>
                </a:lnTo>
                <a:close/>
                <a:moveTo>
                  <a:pt x="572130" y="110082"/>
                </a:moveTo>
                <a:cubicBezTo>
                  <a:pt x="561573" y="110082"/>
                  <a:pt x="552310" y="107904"/>
                  <a:pt x="544342" y="103486"/>
                </a:cubicBezTo>
                <a:cubicBezTo>
                  <a:pt x="536474" y="99129"/>
                  <a:pt x="530349" y="92844"/>
                  <a:pt x="525966" y="84693"/>
                </a:cubicBezTo>
                <a:cubicBezTo>
                  <a:pt x="521584" y="76416"/>
                  <a:pt x="519393" y="66584"/>
                  <a:pt x="519393" y="55134"/>
                </a:cubicBezTo>
                <a:cubicBezTo>
                  <a:pt x="519393" y="37897"/>
                  <a:pt x="523925" y="24455"/>
                  <a:pt x="532988" y="14810"/>
                </a:cubicBezTo>
                <a:cubicBezTo>
                  <a:pt x="542051" y="5040"/>
                  <a:pt x="554999" y="186"/>
                  <a:pt x="571831" y="186"/>
                </a:cubicBezTo>
                <a:cubicBezTo>
                  <a:pt x="578106" y="186"/>
                  <a:pt x="584082" y="871"/>
                  <a:pt x="589759" y="2240"/>
                </a:cubicBezTo>
                <a:cubicBezTo>
                  <a:pt x="595536" y="3547"/>
                  <a:pt x="600416" y="5414"/>
                  <a:pt x="604400" y="7902"/>
                </a:cubicBezTo>
                <a:lnTo>
                  <a:pt x="604400" y="21344"/>
                </a:lnTo>
                <a:cubicBezTo>
                  <a:pt x="600117" y="18669"/>
                  <a:pt x="595087" y="16615"/>
                  <a:pt x="589311" y="15121"/>
                </a:cubicBezTo>
                <a:cubicBezTo>
                  <a:pt x="583634" y="13628"/>
                  <a:pt x="577757" y="12881"/>
                  <a:pt x="571682" y="12881"/>
                </a:cubicBezTo>
                <a:cubicBezTo>
                  <a:pt x="559132" y="12881"/>
                  <a:pt x="549820" y="16366"/>
                  <a:pt x="543744" y="23459"/>
                </a:cubicBezTo>
                <a:cubicBezTo>
                  <a:pt x="537669" y="30554"/>
                  <a:pt x="534631" y="41071"/>
                  <a:pt x="534631" y="55134"/>
                </a:cubicBezTo>
                <a:cubicBezTo>
                  <a:pt x="534631" y="69260"/>
                  <a:pt x="537918" y="79839"/>
                  <a:pt x="544491" y="86933"/>
                </a:cubicBezTo>
                <a:cubicBezTo>
                  <a:pt x="551065" y="93902"/>
                  <a:pt x="560676" y="97387"/>
                  <a:pt x="573325" y="97387"/>
                </a:cubicBezTo>
                <a:cubicBezTo>
                  <a:pt x="585277" y="97387"/>
                  <a:pt x="595635" y="94089"/>
                  <a:pt x="604400" y="87555"/>
                </a:cubicBezTo>
                <a:lnTo>
                  <a:pt x="604400" y="100997"/>
                </a:lnTo>
                <a:cubicBezTo>
                  <a:pt x="600914" y="103734"/>
                  <a:pt x="596283" y="105974"/>
                  <a:pt x="590506" y="107717"/>
                </a:cubicBezTo>
                <a:cubicBezTo>
                  <a:pt x="584729" y="109273"/>
                  <a:pt x="578604" y="110082"/>
                  <a:pt x="57213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7" name="Полилиния 1026">
            <a:extLst>
              <a:ext uri="{FF2B5EF4-FFF2-40B4-BE49-F238E27FC236}">
                <a16:creationId xmlns:a16="http://schemas.microsoft.com/office/drawing/2014/main" id="{66C7906E-C367-7D95-B111-410E85314B8C}"/>
              </a:ext>
            </a:extLst>
          </p:cNvPr>
          <p:cNvSpPr/>
          <p:nvPr userDrawn="1"/>
        </p:nvSpPr>
        <p:spPr>
          <a:xfrm>
            <a:off x="15359119" y="5966300"/>
            <a:ext cx="1398954" cy="726227"/>
          </a:xfrm>
          <a:custGeom>
            <a:avLst/>
            <a:gdLst>
              <a:gd name="connsiteX0" fmla="*/ 425 w 1198727"/>
              <a:gd name="connsiteY0" fmla="*/ 1322 h 622284"/>
              <a:gd name="connsiteX1" fmla="*/ 1199153 w 1198727"/>
              <a:gd name="connsiteY1" fmla="*/ 1322 h 622284"/>
              <a:gd name="connsiteX2" fmla="*/ 1199153 w 1198727"/>
              <a:gd name="connsiteY2" fmla="*/ 623606 h 622284"/>
              <a:gd name="connsiteX3" fmla="*/ 425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322"/>
                </a:moveTo>
                <a:lnTo>
                  <a:pt x="1199153" y="1322"/>
                </a:lnTo>
                <a:lnTo>
                  <a:pt x="1199153" y="623606"/>
                </a:lnTo>
                <a:lnTo>
                  <a:pt x="425" y="623606"/>
                </a:lnTo>
                <a:close/>
              </a:path>
            </a:pathLst>
          </a:custGeom>
          <a:solidFill>
            <a:srgbClr val="79C04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8" name="Полилиния 1027">
            <a:extLst>
              <a:ext uri="{FF2B5EF4-FFF2-40B4-BE49-F238E27FC236}">
                <a16:creationId xmlns:a16="http://schemas.microsoft.com/office/drawing/2014/main" id="{349EF87A-6D92-1325-F35C-7FBD9F8C3A78}"/>
              </a:ext>
            </a:extLst>
          </p:cNvPr>
          <p:cNvSpPr/>
          <p:nvPr userDrawn="1"/>
        </p:nvSpPr>
        <p:spPr>
          <a:xfrm>
            <a:off x="15482328" y="6268047"/>
            <a:ext cx="727540" cy="128468"/>
          </a:xfrm>
          <a:custGeom>
            <a:avLst/>
            <a:gdLst>
              <a:gd name="connsiteX0" fmla="*/ 22111 w 623410"/>
              <a:gd name="connsiteY0" fmla="*/ 108588 h 110081"/>
              <a:gd name="connsiteX1" fmla="*/ 10159 w 623410"/>
              <a:gd name="connsiteY1" fmla="*/ 108588 h 110081"/>
              <a:gd name="connsiteX2" fmla="*/ 16434 w 623410"/>
              <a:gd name="connsiteY2" fmla="*/ 77661 h 110081"/>
              <a:gd name="connsiteX3" fmla="*/ 0 w 623410"/>
              <a:gd name="connsiteY3" fmla="*/ 77661 h 110081"/>
              <a:gd name="connsiteX4" fmla="*/ 0 w 623410"/>
              <a:gd name="connsiteY4" fmla="*/ 67206 h 110081"/>
              <a:gd name="connsiteX5" fmla="*/ 18675 w 623410"/>
              <a:gd name="connsiteY5" fmla="*/ 67206 h 110081"/>
              <a:gd name="connsiteX6" fmla="*/ 24202 w 623410"/>
              <a:gd name="connsiteY6" fmla="*/ 40012 h 110081"/>
              <a:gd name="connsiteX7" fmla="*/ 4034 w 623410"/>
              <a:gd name="connsiteY7" fmla="*/ 40012 h 110081"/>
              <a:gd name="connsiteX8" fmla="*/ 4034 w 623410"/>
              <a:gd name="connsiteY8" fmla="*/ 29559 h 110081"/>
              <a:gd name="connsiteX9" fmla="*/ 26294 w 623410"/>
              <a:gd name="connsiteY9" fmla="*/ 29559 h 110081"/>
              <a:gd name="connsiteX10" fmla="*/ 32120 w 623410"/>
              <a:gd name="connsiteY10" fmla="*/ 1493 h 110081"/>
              <a:gd name="connsiteX11" fmla="*/ 44072 w 623410"/>
              <a:gd name="connsiteY11" fmla="*/ 1493 h 110081"/>
              <a:gd name="connsiteX12" fmla="*/ 38246 w 623410"/>
              <a:gd name="connsiteY12" fmla="*/ 29559 h 110081"/>
              <a:gd name="connsiteX13" fmla="*/ 60655 w 623410"/>
              <a:gd name="connsiteY13" fmla="*/ 29559 h 110081"/>
              <a:gd name="connsiteX14" fmla="*/ 66482 w 623410"/>
              <a:gd name="connsiteY14" fmla="*/ 1493 h 110081"/>
              <a:gd name="connsiteX15" fmla="*/ 78434 w 623410"/>
              <a:gd name="connsiteY15" fmla="*/ 1493 h 110081"/>
              <a:gd name="connsiteX16" fmla="*/ 72607 w 623410"/>
              <a:gd name="connsiteY16" fmla="*/ 29559 h 110081"/>
              <a:gd name="connsiteX17" fmla="*/ 89340 w 623410"/>
              <a:gd name="connsiteY17" fmla="*/ 29559 h 110081"/>
              <a:gd name="connsiteX18" fmla="*/ 89340 w 623410"/>
              <a:gd name="connsiteY18" fmla="*/ 40012 h 110081"/>
              <a:gd name="connsiteX19" fmla="*/ 70515 w 623410"/>
              <a:gd name="connsiteY19" fmla="*/ 40012 h 110081"/>
              <a:gd name="connsiteX20" fmla="*/ 64988 w 623410"/>
              <a:gd name="connsiteY20" fmla="*/ 67206 h 110081"/>
              <a:gd name="connsiteX21" fmla="*/ 85306 w 623410"/>
              <a:gd name="connsiteY21" fmla="*/ 67206 h 110081"/>
              <a:gd name="connsiteX22" fmla="*/ 85306 w 623410"/>
              <a:gd name="connsiteY22" fmla="*/ 77661 h 110081"/>
              <a:gd name="connsiteX23" fmla="*/ 62747 w 623410"/>
              <a:gd name="connsiteY23" fmla="*/ 77661 h 110081"/>
              <a:gd name="connsiteX24" fmla="*/ 56472 w 623410"/>
              <a:gd name="connsiteY24" fmla="*/ 108588 h 110081"/>
              <a:gd name="connsiteX25" fmla="*/ 44520 w 623410"/>
              <a:gd name="connsiteY25" fmla="*/ 108588 h 110081"/>
              <a:gd name="connsiteX26" fmla="*/ 50795 w 623410"/>
              <a:gd name="connsiteY26" fmla="*/ 77661 h 110081"/>
              <a:gd name="connsiteX27" fmla="*/ 28386 w 623410"/>
              <a:gd name="connsiteY27" fmla="*/ 77661 h 110081"/>
              <a:gd name="connsiteX28" fmla="*/ 22111 w 623410"/>
              <a:gd name="connsiteY28" fmla="*/ 108588 h 110081"/>
              <a:gd name="connsiteX29" fmla="*/ 30626 w 623410"/>
              <a:gd name="connsiteY29" fmla="*/ 67206 h 110081"/>
              <a:gd name="connsiteX30" fmla="*/ 53036 w 623410"/>
              <a:gd name="connsiteY30" fmla="*/ 67206 h 110081"/>
              <a:gd name="connsiteX31" fmla="*/ 58564 w 623410"/>
              <a:gd name="connsiteY31" fmla="*/ 40012 h 110081"/>
              <a:gd name="connsiteX32" fmla="*/ 36154 w 623410"/>
              <a:gd name="connsiteY32" fmla="*/ 40012 h 110081"/>
              <a:gd name="connsiteX33" fmla="*/ 30626 w 623410"/>
              <a:gd name="connsiteY33" fmla="*/ 67206 h 110081"/>
              <a:gd name="connsiteX34" fmla="*/ 170867 w 623410"/>
              <a:gd name="connsiteY34" fmla="*/ 13628 h 110081"/>
              <a:gd name="connsiteX35" fmla="*/ 125450 w 623410"/>
              <a:gd name="connsiteY35" fmla="*/ 108588 h 110081"/>
              <a:gd name="connsiteX36" fmla="*/ 110809 w 623410"/>
              <a:gd name="connsiteY36" fmla="*/ 108588 h 110081"/>
              <a:gd name="connsiteX37" fmla="*/ 156525 w 623410"/>
              <a:gd name="connsiteY37" fmla="*/ 14374 h 110081"/>
              <a:gd name="connsiteX38" fmla="*/ 101995 w 623410"/>
              <a:gd name="connsiteY38" fmla="*/ 14374 h 110081"/>
              <a:gd name="connsiteX39" fmla="*/ 101995 w 623410"/>
              <a:gd name="connsiteY39" fmla="*/ 1493 h 110081"/>
              <a:gd name="connsiteX40" fmla="*/ 170867 w 623410"/>
              <a:gd name="connsiteY40" fmla="*/ 1493 h 110081"/>
              <a:gd name="connsiteX41" fmla="*/ 170867 w 623410"/>
              <a:gd name="connsiteY41" fmla="*/ 13628 h 110081"/>
              <a:gd name="connsiteX42" fmla="*/ 182346 w 623410"/>
              <a:gd name="connsiteY42" fmla="*/ 35844 h 110081"/>
              <a:gd name="connsiteX43" fmla="*/ 186977 w 623410"/>
              <a:gd name="connsiteY43" fmla="*/ 17051 h 110081"/>
              <a:gd name="connsiteX44" fmla="*/ 199825 w 623410"/>
              <a:gd name="connsiteY44" fmla="*/ 4480 h 110081"/>
              <a:gd name="connsiteX45" fmla="*/ 217902 w 623410"/>
              <a:gd name="connsiteY45" fmla="*/ 0 h 110081"/>
              <a:gd name="connsiteX46" fmla="*/ 239565 w 623410"/>
              <a:gd name="connsiteY46" fmla="*/ 5849 h 110081"/>
              <a:gd name="connsiteX47" fmla="*/ 251666 w 623410"/>
              <a:gd name="connsiteY47" fmla="*/ 21842 h 110081"/>
              <a:gd name="connsiteX48" fmla="*/ 255401 w 623410"/>
              <a:gd name="connsiteY48" fmla="*/ 45426 h 110081"/>
              <a:gd name="connsiteX49" fmla="*/ 250770 w 623410"/>
              <a:gd name="connsiteY49" fmla="*/ 80088 h 110081"/>
              <a:gd name="connsiteX50" fmla="*/ 236428 w 623410"/>
              <a:gd name="connsiteY50" fmla="*/ 102303 h 110081"/>
              <a:gd name="connsiteX51" fmla="*/ 211926 w 623410"/>
              <a:gd name="connsiteY51" fmla="*/ 110082 h 110081"/>
              <a:gd name="connsiteX52" fmla="*/ 188919 w 623410"/>
              <a:gd name="connsiteY52" fmla="*/ 104543 h 110081"/>
              <a:gd name="connsiteX53" fmla="*/ 188919 w 623410"/>
              <a:gd name="connsiteY53" fmla="*/ 91413 h 110081"/>
              <a:gd name="connsiteX54" fmla="*/ 211926 w 623410"/>
              <a:gd name="connsiteY54" fmla="*/ 98010 h 110081"/>
              <a:gd name="connsiteX55" fmla="*/ 227464 w 623410"/>
              <a:gd name="connsiteY55" fmla="*/ 92907 h 110081"/>
              <a:gd name="connsiteX56" fmla="*/ 237175 w 623410"/>
              <a:gd name="connsiteY56" fmla="*/ 79154 h 110081"/>
              <a:gd name="connsiteX57" fmla="*/ 241507 w 623410"/>
              <a:gd name="connsiteY57" fmla="*/ 59739 h 110081"/>
              <a:gd name="connsiteX58" fmla="*/ 230452 w 623410"/>
              <a:gd name="connsiteY58" fmla="*/ 68389 h 110081"/>
              <a:gd name="connsiteX59" fmla="*/ 216558 w 623410"/>
              <a:gd name="connsiteY59" fmla="*/ 71127 h 110081"/>
              <a:gd name="connsiteX60" fmla="*/ 199228 w 623410"/>
              <a:gd name="connsiteY60" fmla="*/ 67082 h 110081"/>
              <a:gd name="connsiteX61" fmla="*/ 186828 w 623410"/>
              <a:gd name="connsiteY61" fmla="*/ 55134 h 110081"/>
              <a:gd name="connsiteX62" fmla="*/ 182346 w 623410"/>
              <a:gd name="connsiteY62" fmla="*/ 35844 h 110081"/>
              <a:gd name="connsiteX63" fmla="*/ 218351 w 623410"/>
              <a:gd name="connsiteY63" fmla="*/ 12134 h 110081"/>
              <a:gd name="connsiteX64" fmla="*/ 207594 w 623410"/>
              <a:gd name="connsiteY64" fmla="*/ 14810 h 110081"/>
              <a:gd name="connsiteX65" fmla="*/ 199526 w 623410"/>
              <a:gd name="connsiteY65" fmla="*/ 22589 h 110081"/>
              <a:gd name="connsiteX66" fmla="*/ 196539 w 623410"/>
              <a:gd name="connsiteY66" fmla="*/ 35532 h 110081"/>
              <a:gd name="connsiteX67" fmla="*/ 199526 w 623410"/>
              <a:gd name="connsiteY67" fmla="*/ 48725 h 110081"/>
              <a:gd name="connsiteX68" fmla="*/ 207146 w 623410"/>
              <a:gd name="connsiteY68" fmla="*/ 56752 h 110081"/>
              <a:gd name="connsiteX69" fmla="*/ 216857 w 623410"/>
              <a:gd name="connsiteY69" fmla="*/ 59428 h 110081"/>
              <a:gd name="connsiteX70" fmla="*/ 233290 w 623410"/>
              <a:gd name="connsiteY70" fmla="*/ 53329 h 110081"/>
              <a:gd name="connsiteX71" fmla="*/ 240013 w 623410"/>
              <a:gd name="connsiteY71" fmla="*/ 35283 h 110081"/>
              <a:gd name="connsiteX72" fmla="*/ 234187 w 623410"/>
              <a:gd name="connsiteY72" fmla="*/ 18544 h 110081"/>
              <a:gd name="connsiteX73" fmla="*/ 218351 w 623410"/>
              <a:gd name="connsiteY73" fmla="*/ 12134 h 110081"/>
              <a:gd name="connsiteX74" fmla="*/ 318565 w 623410"/>
              <a:gd name="connsiteY74" fmla="*/ 110082 h 110081"/>
              <a:gd name="connsiteX75" fmla="*/ 290777 w 623410"/>
              <a:gd name="connsiteY75" fmla="*/ 103486 h 110081"/>
              <a:gd name="connsiteX76" fmla="*/ 272401 w 623410"/>
              <a:gd name="connsiteY76" fmla="*/ 84693 h 110081"/>
              <a:gd name="connsiteX77" fmla="*/ 265828 w 623410"/>
              <a:gd name="connsiteY77" fmla="*/ 55134 h 110081"/>
              <a:gd name="connsiteX78" fmla="*/ 279423 w 623410"/>
              <a:gd name="connsiteY78" fmla="*/ 14810 h 110081"/>
              <a:gd name="connsiteX79" fmla="*/ 318266 w 623410"/>
              <a:gd name="connsiteY79" fmla="*/ 186 h 110081"/>
              <a:gd name="connsiteX80" fmla="*/ 336194 w 623410"/>
              <a:gd name="connsiteY80" fmla="*/ 2240 h 110081"/>
              <a:gd name="connsiteX81" fmla="*/ 350835 w 623410"/>
              <a:gd name="connsiteY81" fmla="*/ 7902 h 110081"/>
              <a:gd name="connsiteX82" fmla="*/ 350835 w 623410"/>
              <a:gd name="connsiteY82" fmla="*/ 21344 h 110081"/>
              <a:gd name="connsiteX83" fmla="*/ 335746 w 623410"/>
              <a:gd name="connsiteY83" fmla="*/ 15121 h 110081"/>
              <a:gd name="connsiteX84" fmla="*/ 318117 w 623410"/>
              <a:gd name="connsiteY84" fmla="*/ 12881 h 110081"/>
              <a:gd name="connsiteX85" fmla="*/ 290180 w 623410"/>
              <a:gd name="connsiteY85" fmla="*/ 23459 h 110081"/>
              <a:gd name="connsiteX86" fmla="*/ 281066 w 623410"/>
              <a:gd name="connsiteY86" fmla="*/ 55134 h 110081"/>
              <a:gd name="connsiteX87" fmla="*/ 290927 w 623410"/>
              <a:gd name="connsiteY87" fmla="*/ 86933 h 110081"/>
              <a:gd name="connsiteX88" fmla="*/ 319760 w 623410"/>
              <a:gd name="connsiteY88" fmla="*/ 97387 h 110081"/>
              <a:gd name="connsiteX89" fmla="*/ 350835 w 623410"/>
              <a:gd name="connsiteY89" fmla="*/ 87555 h 110081"/>
              <a:gd name="connsiteX90" fmla="*/ 350835 w 623410"/>
              <a:gd name="connsiteY90" fmla="*/ 100997 h 110081"/>
              <a:gd name="connsiteX91" fmla="*/ 336941 w 623410"/>
              <a:gd name="connsiteY91" fmla="*/ 107717 h 110081"/>
              <a:gd name="connsiteX92" fmla="*/ 318565 w 623410"/>
              <a:gd name="connsiteY92" fmla="*/ 110082 h 110081"/>
              <a:gd name="connsiteX93" fmla="*/ 401163 w 623410"/>
              <a:gd name="connsiteY93" fmla="*/ 110082 h 110081"/>
              <a:gd name="connsiteX94" fmla="*/ 382937 w 623410"/>
              <a:gd name="connsiteY94" fmla="*/ 104233 h 110081"/>
              <a:gd name="connsiteX95" fmla="*/ 370238 w 623410"/>
              <a:gd name="connsiteY95" fmla="*/ 86311 h 110081"/>
              <a:gd name="connsiteX96" fmla="*/ 365756 w 623410"/>
              <a:gd name="connsiteY96" fmla="*/ 54947 h 110081"/>
              <a:gd name="connsiteX97" fmla="*/ 370238 w 623410"/>
              <a:gd name="connsiteY97" fmla="*/ 23584 h 110081"/>
              <a:gd name="connsiteX98" fmla="*/ 382937 w 623410"/>
              <a:gd name="connsiteY98" fmla="*/ 5849 h 110081"/>
              <a:gd name="connsiteX99" fmla="*/ 401163 w 623410"/>
              <a:gd name="connsiteY99" fmla="*/ 186 h 110081"/>
              <a:gd name="connsiteX100" fmla="*/ 419240 w 623410"/>
              <a:gd name="connsiteY100" fmla="*/ 5849 h 110081"/>
              <a:gd name="connsiteX101" fmla="*/ 431640 w 623410"/>
              <a:gd name="connsiteY101" fmla="*/ 23584 h 110081"/>
              <a:gd name="connsiteX102" fmla="*/ 436122 w 623410"/>
              <a:gd name="connsiteY102" fmla="*/ 54698 h 110081"/>
              <a:gd name="connsiteX103" fmla="*/ 431640 w 623410"/>
              <a:gd name="connsiteY103" fmla="*/ 86062 h 110081"/>
              <a:gd name="connsiteX104" fmla="*/ 419240 w 623410"/>
              <a:gd name="connsiteY104" fmla="*/ 104233 h 110081"/>
              <a:gd name="connsiteX105" fmla="*/ 401163 w 623410"/>
              <a:gd name="connsiteY105" fmla="*/ 110082 h 110081"/>
              <a:gd name="connsiteX106" fmla="*/ 401014 w 623410"/>
              <a:gd name="connsiteY106" fmla="*/ 98258 h 110081"/>
              <a:gd name="connsiteX107" fmla="*/ 412368 w 623410"/>
              <a:gd name="connsiteY107" fmla="*/ 94275 h 110081"/>
              <a:gd name="connsiteX108" fmla="*/ 419539 w 623410"/>
              <a:gd name="connsiteY108" fmla="*/ 80648 h 110081"/>
              <a:gd name="connsiteX109" fmla="*/ 422079 w 623410"/>
              <a:gd name="connsiteY109" fmla="*/ 55134 h 110081"/>
              <a:gd name="connsiteX110" fmla="*/ 419689 w 623410"/>
              <a:gd name="connsiteY110" fmla="*/ 29745 h 110081"/>
              <a:gd name="connsiteX111" fmla="*/ 412517 w 623410"/>
              <a:gd name="connsiteY111" fmla="*/ 16117 h 110081"/>
              <a:gd name="connsiteX112" fmla="*/ 401163 w 623410"/>
              <a:gd name="connsiteY112" fmla="*/ 11947 h 110081"/>
              <a:gd name="connsiteX113" fmla="*/ 389660 w 623410"/>
              <a:gd name="connsiteY113" fmla="*/ 16117 h 110081"/>
              <a:gd name="connsiteX114" fmla="*/ 382339 w 623410"/>
              <a:gd name="connsiteY114" fmla="*/ 29745 h 110081"/>
              <a:gd name="connsiteX115" fmla="*/ 379800 w 623410"/>
              <a:gd name="connsiteY115" fmla="*/ 55134 h 110081"/>
              <a:gd name="connsiteX116" fmla="*/ 382190 w 623410"/>
              <a:gd name="connsiteY116" fmla="*/ 80648 h 110081"/>
              <a:gd name="connsiteX117" fmla="*/ 389510 w 623410"/>
              <a:gd name="connsiteY117" fmla="*/ 94275 h 110081"/>
              <a:gd name="connsiteX118" fmla="*/ 401014 w 623410"/>
              <a:gd name="connsiteY118" fmla="*/ 98258 h 110081"/>
              <a:gd name="connsiteX119" fmla="*/ 505418 w 623410"/>
              <a:gd name="connsiteY119" fmla="*/ 108588 h 110081"/>
              <a:gd name="connsiteX120" fmla="*/ 492271 w 623410"/>
              <a:gd name="connsiteY120" fmla="*/ 108588 h 110081"/>
              <a:gd name="connsiteX121" fmla="*/ 492271 w 623410"/>
              <a:gd name="connsiteY121" fmla="*/ 83199 h 110081"/>
              <a:gd name="connsiteX122" fmla="*/ 445958 w 623410"/>
              <a:gd name="connsiteY122" fmla="*/ 83199 h 110081"/>
              <a:gd name="connsiteX123" fmla="*/ 445958 w 623410"/>
              <a:gd name="connsiteY123" fmla="*/ 73927 h 110081"/>
              <a:gd name="connsiteX124" fmla="*/ 487789 w 623410"/>
              <a:gd name="connsiteY124" fmla="*/ 1493 h 110081"/>
              <a:gd name="connsiteX125" fmla="*/ 505418 w 623410"/>
              <a:gd name="connsiteY125" fmla="*/ 1493 h 110081"/>
              <a:gd name="connsiteX126" fmla="*/ 505418 w 623410"/>
              <a:gd name="connsiteY126" fmla="*/ 71873 h 110081"/>
              <a:gd name="connsiteX127" fmla="*/ 519909 w 623410"/>
              <a:gd name="connsiteY127" fmla="*/ 71873 h 110081"/>
              <a:gd name="connsiteX128" fmla="*/ 519909 w 623410"/>
              <a:gd name="connsiteY128" fmla="*/ 83199 h 110081"/>
              <a:gd name="connsiteX129" fmla="*/ 505418 w 623410"/>
              <a:gd name="connsiteY129" fmla="*/ 83199 h 110081"/>
              <a:gd name="connsiteX130" fmla="*/ 505418 w 623410"/>
              <a:gd name="connsiteY130" fmla="*/ 108588 h 110081"/>
              <a:gd name="connsiteX131" fmla="*/ 459553 w 623410"/>
              <a:gd name="connsiteY131" fmla="*/ 71873 h 110081"/>
              <a:gd name="connsiteX132" fmla="*/ 492271 w 623410"/>
              <a:gd name="connsiteY132" fmla="*/ 71873 h 110081"/>
              <a:gd name="connsiteX133" fmla="*/ 492271 w 623410"/>
              <a:gd name="connsiteY133" fmla="*/ 16117 h 110081"/>
              <a:gd name="connsiteX134" fmla="*/ 459553 w 623410"/>
              <a:gd name="connsiteY134" fmla="*/ 71873 h 110081"/>
              <a:gd name="connsiteX135" fmla="*/ 536611 w 623410"/>
              <a:gd name="connsiteY135" fmla="*/ 1493 h 110081"/>
              <a:gd name="connsiteX136" fmla="*/ 572616 w 623410"/>
              <a:gd name="connsiteY136" fmla="*/ 1493 h 110081"/>
              <a:gd name="connsiteX137" fmla="*/ 592635 w 623410"/>
              <a:gd name="connsiteY137" fmla="*/ 4044 h 110081"/>
              <a:gd name="connsiteX138" fmla="*/ 608770 w 623410"/>
              <a:gd name="connsiteY138" fmla="*/ 12383 h 110081"/>
              <a:gd name="connsiteX139" fmla="*/ 619526 w 623410"/>
              <a:gd name="connsiteY139" fmla="*/ 27629 h 110081"/>
              <a:gd name="connsiteX140" fmla="*/ 623411 w 623410"/>
              <a:gd name="connsiteY140" fmla="*/ 51401 h 110081"/>
              <a:gd name="connsiteX141" fmla="*/ 616539 w 623410"/>
              <a:gd name="connsiteY141" fmla="*/ 83075 h 110081"/>
              <a:gd name="connsiteX142" fmla="*/ 598013 w 623410"/>
              <a:gd name="connsiteY142" fmla="*/ 102179 h 110081"/>
              <a:gd name="connsiteX143" fmla="*/ 570972 w 623410"/>
              <a:gd name="connsiteY143" fmla="*/ 108588 h 110081"/>
              <a:gd name="connsiteX144" fmla="*/ 536611 w 623410"/>
              <a:gd name="connsiteY144" fmla="*/ 108588 h 110081"/>
              <a:gd name="connsiteX145" fmla="*/ 536611 w 623410"/>
              <a:gd name="connsiteY145" fmla="*/ 1493 h 110081"/>
              <a:gd name="connsiteX146" fmla="*/ 570972 w 623410"/>
              <a:gd name="connsiteY146" fmla="*/ 95893 h 110081"/>
              <a:gd name="connsiteX147" fmla="*/ 590394 w 623410"/>
              <a:gd name="connsiteY147" fmla="*/ 91413 h 110081"/>
              <a:gd name="connsiteX148" fmla="*/ 603392 w 623410"/>
              <a:gd name="connsiteY148" fmla="*/ 77225 h 110081"/>
              <a:gd name="connsiteX149" fmla="*/ 608172 w 623410"/>
              <a:gd name="connsiteY149" fmla="*/ 52458 h 110081"/>
              <a:gd name="connsiteX150" fmla="*/ 603541 w 623410"/>
              <a:gd name="connsiteY150" fmla="*/ 29122 h 110081"/>
              <a:gd name="connsiteX151" fmla="*/ 590842 w 623410"/>
              <a:gd name="connsiteY151" fmla="*/ 17610 h 110081"/>
              <a:gd name="connsiteX152" fmla="*/ 572616 w 623410"/>
              <a:gd name="connsiteY152" fmla="*/ 14374 h 110081"/>
              <a:gd name="connsiteX153" fmla="*/ 550654 w 623410"/>
              <a:gd name="connsiteY153" fmla="*/ 14374 h 110081"/>
              <a:gd name="connsiteX154" fmla="*/ 550654 w 623410"/>
              <a:gd name="connsiteY154" fmla="*/ 95893 h 110081"/>
              <a:gd name="connsiteX155" fmla="*/ 570972 w 623410"/>
              <a:gd name="connsiteY155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623410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0867" y="13628"/>
                </a:moveTo>
                <a:lnTo>
                  <a:pt x="125450" y="108588"/>
                </a:lnTo>
                <a:lnTo>
                  <a:pt x="110809" y="108588"/>
                </a:lnTo>
                <a:lnTo>
                  <a:pt x="156525" y="14374"/>
                </a:lnTo>
                <a:lnTo>
                  <a:pt x="101995" y="14374"/>
                </a:lnTo>
                <a:lnTo>
                  <a:pt x="101995" y="1493"/>
                </a:lnTo>
                <a:lnTo>
                  <a:pt x="170867" y="1493"/>
                </a:lnTo>
                <a:lnTo>
                  <a:pt x="170867" y="13628"/>
                </a:lnTo>
                <a:close/>
                <a:moveTo>
                  <a:pt x="182346" y="35844"/>
                </a:moveTo>
                <a:cubicBezTo>
                  <a:pt x="182346" y="28687"/>
                  <a:pt x="183890" y="22402"/>
                  <a:pt x="186977" y="17051"/>
                </a:cubicBezTo>
                <a:cubicBezTo>
                  <a:pt x="190164" y="11637"/>
                  <a:pt x="194447" y="7467"/>
                  <a:pt x="199825" y="4480"/>
                </a:cubicBezTo>
                <a:cubicBezTo>
                  <a:pt x="205204" y="1493"/>
                  <a:pt x="211229" y="0"/>
                  <a:pt x="217902" y="0"/>
                </a:cubicBezTo>
                <a:cubicBezTo>
                  <a:pt x="226866" y="0"/>
                  <a:pt x="234087" y="1929"/>
                  <a:pt x="239565" y="5849"/>
                </a:cubicBezTo>
                <a:cubicBezTo>
                  <a:pt x="245142" y="9645"/>
                  <a:pt x="249176" y="14934"/>
                  <a:pt x="251666" y="21842"/>
                </a:cubicBezTo>
                <a:cubicBezTo>
                  <a:pt x="254156" y="28563"/>
                  <a:pt x="255401" y="36466"/>
                  <a:pt x="255401" y="45426"/>
                </a:cubicBezTo>
                <a:cubicBezTo>
                  <a:pt x="255401" y="58868"/>
                  <a:pt x="253857" y="70380"/>
                  <a:pt x="250770" y="80088"/>
                </a:cubicBezTo>
                <a:cubicBezTo>
                  <a:pt x="247682" y="89733"/>
                  <a:pt x="242902" y="97138"/>
                  <a:pt x="236428" y="102303"/>
                </a:cubicBezTo>
                <a:cubicBezTo>
                  <a:pt x="230053" y="107468"/>
                  <a:pt x="221886" y="110082"/>
                  <a:pt x="211926" y="110082"/>
                </a:cubicBezTo>
                <a:cubicBezTo>
                  <a:pt x="202963" y="110082"/>
                  <a:pt x="195294" y="108215"/>
                  <a:pt x="188919" y="104543"/>
                </a:cubicBezTo>
                <a:lnTo>
                  <a:pt x="188919" y="91413"/>
                </a:lnTo>
                <a:cubicBezTo>
                  <a:pt x="195692" y="95769"/>
                  <a:pt x="203361" y="98010"/>
                  <a:pt x="211926" y="98010"/>
                </a:cubicBezTo>
                <a:cubicBezTo>
                  <a:pt x="218102" y="98010"/>
                  <a:pt x="223281" y="96267"/>
                  <a:pt x="227464" y="92907"/>
                </a:cubicBezTo>
                <a:cubicBezTo>
                  <a:pt x="231647" y="89546"/>
                  <a:pt x="234884" y="84941"/>
                  <a:pt x="237175" y="79154"/>
                </a:cubicBezTo>
                <a:cubicBezTo>
                  <a:pt x="239565" y="73367"/>
                  <a:pt x="241009" y="66896"/>
                  <a:pt x="241507" y="59739"/>
                </a:cubicBezTo>
                <a:cubicBezTo>
                  <a:pt x="238420" y="63660"/>
                  <a:pt x="234734" y="66522"/>
                  <a:pt x="230452" y="68389"/>
                </a:cubicBezTo>
                <a:cubicBezTo>
                  <a:pt x="226169" y="70193"/>
                  <a:pt x="221538" y="71127"/>
                  <a:pt x="216558" y="71127"/>
                </a:cubicBezTo>
                <a:cubicBezTo>
                  <a:pt x="210183" y="71127"/>
                  <a:pt x="204407" y="69758"/>
                  <a:pt x="199228" y="67082"/>
                </a:cubicBezTo>
                <a:cubicBezTo>
                  <a:pt x="194048" y="64406"/>
                  <a:pt x="189915" y="60424"/>
                  <a:pt x="186828" y="55134"/>
                </a:cubicBezTo>
                <a:cubicBezTo>
                  <a:pt x="183840" y="49845"/>
                  <a:pt x="182346" y="43435"/>
                  <a:pt x="182346" y="35844"/>
                </a:cubicBezTo>
                <a:close/>
                <a:moveTo>
                  <a:pt x="218351" y="12134"/>
                </a:moveTo>
                <a:cubicBezTo>
                  <a:pt x="214566" y="12134"/>
                  <a:pt x="210980" y="13006"/>
                  <a:pt x="207594" y="14810"/>
                </a:cubicBezTo>
                <a:cubicBezTo>
                  <a:pt x="204307" y="16490"/>
                  <a:pt x="201618" y="19104"/>
                  <a:pt x="199526" y="22589"/>
                </a:cubicBezTo>
                <a:cubicBezTo>
                  <a:pt x="197535" y="25949"/>
                  <a:pt x="196539" y="30305"/>
                  <a:pt x="196539" y="35532"/>
                </a:cubicBezTo>
                <a:cubicBezTo>
                  <a:pt x="196539" y="40759"/>
                  <a:pt x="197535" y="45116"/>
                  <a:pt x="199526" y="48725"/>
                </a:cubicBezTo>
                <a:cubicBezTo>
                  <a:pt x="201518" y="52271"/>
                  <a:pt x="204058" y="54947"/>
                  <a:pt x="207146" y="56752"/>
                </a:cubicBezTo>
                <a:cubicBezTo>
                  <a:pt x="210233" y="58556"/>
                  <a:pt x="213470" y="59428"/>
                  <a:pt x="216857" y="59428"/>
                </a:cubicBezTo>
                <a:cubicBezTo>
                  <a:pt x="223430" y="59428"/>
                  <a:pt x="228908" y="57437"/>
                  <a:pt x="233290" y="53329"/>
                </a:cubicBezTo>
                <a:cubicBezTo>
                  <a:pt x="237772" y="49160"/>
                  <a:pt x="240013" y="43124"/>
                  <a:pt x="240013" y="35283"/>
                </a:cubicBezTo>
                <a:cubicBezTo>
                  <a:pt x="240013" y="28313"/>
                  <a:pt x="238071" y="22713"/>
                  <a:pt x="234187" y="18544"/>
                </a:cubicBezTo>
                <a:cubicBezTo>
                  <a:pt x="230302" y="14250"/>
                  <a:pt x="225024" y="12134"/>
                  <a:pt x="218351" y="12134"/>
                </a:cubicBezTo>
                <a:close/>
                <a:moveTo>
                  <a:pt x="318565" y="110082"/>
                </a:moveTo>
                <a:cubicBezTo>
                  <a:pt x="308008" y="110082"/>
                  <a:pt x="298745" y="107904"/>
                  <a:pt x="290777" y="103486"/>
                </a:cubicBezTo>
                <a:cubicBezTo>
                  <a:pt x="282909" y="99129"/>
                  <a:pt x="276784" y="92844"/>
                  <a:pt x="272401" y="84693"/>
                </a:cubicBezTo>
                <a:cubicBezTo>
                  <a:pt x="268019" y="76416"/>
                  <a:pt x="265828" y="66584"/>
                  <a:pt x="265828" y="55134"/>
                </a:cubicBezTo>
                <a:cubicBezTo>
                  <a:pt x="265828" y="37897"/>
                  <a:pt x="270359" y="24455"/>
                  <a:pt x="279423" y="14810"/>
                </a:cubicBezTo>
                <a:cubicBezTo>
                  <a:pt x="288487" y="5040"/>
                  <a:pt x="301434" y="186"/>
                  <a:pt x="318266" y="186"/>
                </a:cubicBezTo>
                <a:cubicBezTo>
                  <a:pt x="324541" y="186"/>
                  <a:pt x="330517" y="871"/>
                  <a:pt x="336194" y="2240"/>
                </a:cubicBezTo>
                <a:cubicBezTo>
                  <a:pt x="341971" y="3547"/>
                  <a:pt x="346851" y="5414"/>
                  <a:pt x="350835" y="7902"/>
                </a:cubicBezTo>
                <a:lnTo>
                  <a:pt x="350835" y="21344"/>
                </a:lnTo>
                <a:cubicBezTo>
                  <a:pt x="346552" y="18669"/>
                  <a:pt x="341523" y="16615"/>
                  <a:pt x="335746" y="15121"/>
                </a:cubicBezTo>
                <a:cubicBezTo>
                  <a:pt x="330069" y="13628"/>
                  <a:pt x="324192" y="12881"/>
                  <a:pt x="318117" y="12881"/>
                </a:cubicBezTo>
                <a:cubicBezTo>
                  <a:pt x="305568" y="12881"/>
                  <a:pt x="296255" y="16366"/>
                  <a:pt x="290180" y="23459"/>
                </a:cubicBezTo>
                <a:cubicBezTo>
                  <a:pt x="284104" y="30554"/>
                  <a:pt x="281066" y="41071"/>
                  <a:pt x="281066" y="55134"/>
                </a:cubicBezTo>
                <a:cubicBezTo>
                  <a:pt x="281066" y="69260"/>
                  <a:pt x="284353" y="79839"/>
                  <a:pt x="290927" y="86933"/>
                </a:cubicBezTo>
                <a:cubicBezTo>
                  <a:pt x="297500" y="93902"/>
                  <a:pt x="307111" y="97387"/>
                  <a:pt x="319760" y="97387"/>
                </a:cubicBezTo>
                <a:cubicBezTo>
                  <a:pt x="331712" y="97387"/>
                  <a:pt x="342070" y="94089"/>
                  <a:pt x="350835" y="87555"/>
                </a:cubicBezTo>
                <a:lnTo>
                  <a:pt x="350835" y="100997"/>
                </a:lnTo>
                <a:cubicBezTo>
                  <a:pt x="347349" y="103734"/>
                  <a:pt x="342718" y="105974"/>
                  <a:pt x="336941" y="107717"/>
                </a:cubicBezTo>
                <a:cubicBezTo>
                  <a:pt x="331164" y="109273"/>
                  <a:pt x="325039" y="110082"/>
                  <a:pt x="318565" y="110082"/>
                </a:cubicBezTo>
                <a:close/>
                <a:moveTo>
                  <a:pt x="401163" y="110082"/>
                </a:moveTo>
                <a:cubicBezTo>
                  <a:pt x="394391" y="110082"/>
                  <a:pt x="388315" y="108153"/>
                  <a:pt x="382937" y="104233"/>
                </a:cubicBezTo>
                <a:cubicBezTo>
                  <a:pt x="377558" y="100374"/>
                  <a:pt x="373326" y="94400"/>
                  <a:pt x="370238" y="86311"/>
                </a:cubicBezTo>
                <a:cubicBezTo>
                  <a:pt x="367250" y="78159"/>
                  <a:pt x="365756" y="67705"/>
                  <a:pt x="365756" y="54947"/>
                </a:cubicBezTo>
                <a:cubicBezTo>
                  <a:pt x="365756" y="42128"/>
                  <a:pt x="367250" y="31674"/>
                  <a:pt x="370238" y="23584"/>
                </a:cubicBezTo>
                <a:cubicBezTo>
                  <a:pt x="373326" y="15557"/>
                  <a:pt x="377558" y="9645"/>
                  <a:pt x="382937" y="5849"/>
                </a:cubicBezTo>
                <a:cubicBezTo>
                  <a:pt x="388315" y="2053"/>
                  <a:pt x="394391" y="186"/>
                  <a:pt x="401163" y="186"/>
                </a:cubicBezTo>
                <a:cubicBezTo>
                  <a:pt x="407936" y="186"/>
                  <a:pt x="413962" y="2053"/>
                  <a:pt x="419240" y="5849"/>
                </a:cubicBezTo>
                <a:cubicBezTo>
                  <a:pt x="424519" y="9645"/>
                  <a:pt x="428652" y="15557"/>
                  <a:pt x="431640" y="23584"/>
                </a:cubicBezTo>
                <a:cubicBezTo>
                  <a:pt x="434628" y="31549"/>
                  <a:pt x="436122" y="41942"/>
                  <a:pt x="436122" y="54698"/>
                </a:cubicBezTo>
                <a:cubicBezTo>
                  <a:pt x="436122" y="67331"/>
                  <a:pt x="434628" y="77786"/>
                  <a:pt x="431640" y="86062"/>
                </a:cubicBezTo>
                <a:cubicBezTo>
                  <a:pt x="428652" y="94213"/>
                  <a:pt x="424519" y="100250"/>
                  <a:pt x="419240" y="104233"/>
                </a:cubicBezTo>
                <a:cubicBezTo>
                  <a:pt x="413962" y="108153"/>
                  <a:pt x="407936" y="110082"/>
                  <a:pt x="401163" y="110082"/>
                </a:cubicBezTo>
                <a:close/>
                <a:moveTo>
                  <a:pt x="401014" y="98258"/>
                </a:moveTo>
                <a:cubicBezTo>
                  <a:pt x="405496" y="98258"/>
                  <a:pt x="409281" y="96952"/>
                  <a:pt x="412368" y="94275"/>
                </a:cubicBezTo>
                <a:cubicBezTo>
                  <a:pt x="415555" y="91475"/>
                  <a:pt x="417946" y="86933"/>
                  <a:pt x="419539" y="80648"/>
                </a:cubicBezTo>
                <a:cubicBezTo>
                  <a:pt x="421232" y="74300"/>
                  <a:pt x="422079" y="65775"/>
                  <a:pt x="422079" y="55134"/>
                </a:cubicBezTo>
                <a:cubicBezTo>
                  <a:pt x="422079" y="44493"/>
                  <a:pt x="421282" y="36030"/>
                  <a:pt x="419689" y="29745"/>
                </a:cubicBezTo>
                <a:cubicBezTo>
                  <a:pt x="418095" y="23336"/>
                  <a:pt x="415705" y="18855"/>
                  <a:pt x="412517" y="16117"/>
                </a:cubicBezTo>
                <a:cubicBezTo>
                  <a:pt x="409430" y="13379"/>
                  <a:pt x="405645" y="11947"/>
                  <a:pt x="401163" y="11947"/>
                </a:cubicBezTo>
                <a:cubicBezTo>
                  <a:pt x="396681" y="11947"/>
                  <a:pt x="392847" y="13379"/>
                  <a:pt x="389660" y="16117"/>
                </a:cubicBezTo>
                <a:cubicBezTo>
                  <a:pt x="386473" y="18855"/>
                  <a:pt x="384032" y="23336"/>
                  <a:pt x="382339" y="29745"/>
                </a:cubicBezTo>
                <a:cubicBezTo>
                  <a:pt x="380646" y="36030"/>
                  <a:pt x="379800" y="44493"/>
                  <a:pt x="379800" y="55134"/>
                </a:cubicBezTo>
                <a:cubicBezTo>
                  <a:pt x="379800" y="65775"/>
                  <a:pt x="380596" y="74300"/>
                  <a:pt x="382190" y="80648"/>
                </a:cubicBezTo>
                <a:cubicBezTo>
                  <a:pt x="383883" y="86933"/>
                  <a:pt x="386323" y="91475"/>
                  <a:pt x="389510" y="94275"/>
                </a:cubicBezTo>
                <a:cubicBezTo>
                  <a:pt x="392697" y="96952"/>
                  <a:pt x="396532" y="98258"/>
                  <a:pt x="401014" y="98258"/>
                </a:cubicBezTo>
                <a:close/>
                <a:moveTo>
                  <a:pt x="505418" y="108588"/>
                </a:moveTo>
                <a:lnTo>
                  <a:pt x="492271" y="108588"/>
                </a:lnTo>
                <a:lnTo>
                  <a:pt x="492271" y="83199"/>
                </a:lnTo>
                <a:lnTo>
                  <a:pt x="445958" y="83199"/>
                </a:lnTo>
                <a:lnTo>
                  <a:pt x="445958" y="73927"/>
                </a:lnTo>
                <a:lnTo>
                  <a:pt x="487789" y="1493"/>
                </a:lnTo>
                <a:lnTo>
                  <a:pt x="505418" y="1493"/>
                </a:lnTo>
                <a:lnTo>
                  <a:pt x="505418" y="71873"/>
                </a:lnTo>
                <a:lnTo>
                  <a:pt x="519909" y="71873"/>
                </a:lnTo>
                <a:lnTo>
                  <a:pt x="519909" y="83199"/>
                </a:lnTo>
                <a:lnTo>
                  <a:pt x="505418" y="83199"/>
                </a:lnTo>
                <a:lnTo>
                  <a:pt x="505418" y="108588"/>
                </a:lnTo>
                <a:close/>
                <a:moveTo>
                  <a:pt x="459553" y="71873"/>
                </a:moveTo>
                <a:lnTo>
                  <a:pt x="492271" y="71873"/>
                </a:lnTo>
                <a:lnTo>
                  <a:pt x="492271" y="16117"/>
                </a:lnTo>
                <a:lnTo>
                  <a:pt x="459553" y="71873"/>
                </a:lnTo>
                <a:close/>
                <a:moveTo>
                  <a:pt x="536611" y="1493"/>
                </a:moveTo>
                <a:lnTo>
                  <a:pt x="572616" y="1493"/>
                </a:lnTo>
                <a:cubicBezTo>
                  <a:pt x="579787" y="1493"/>
                  <a:pt x="586460" y="2365"/>
                  <a:pt x="592635" y="4044"/>
                </a:cubicBezTo>
                <a:cubicBezTo>
                  <a:pt x="598810" y="5725"/>
                  <a:pt x="604188" y="8525"/>
                  <a:pt x="608770" y="12383"/>
                </a:cubicBezTo>
                <a:cubicBezTo>
                  <a:pt x="613351" y="16179"/>
                  <a:pt x="616937" y="21282"/>
                  <a:pt x="619526" y="27629"/>
                </a:cubicBezTo>
                <a:cubicBezTo>
                  <a:pt x="622116" y="34039"/>
                  <a:pt x="623411" y="41942"/>
                  <a:pt x="623411" y="51401"/>
                </a:cubicBezTo>
                <a:cubicBezTo>
                  <a:pt x="623411" y="63908"/>
                  <a:pt x="621120" y="74487"/>
                  <a:pt x="616539" y="83075"/>
                </a:cubicBezTo>
                <a:cubicBezTo>
                  <a:pt x="612056" y="91538"/>
                  <a:pt x="605881" y="97885"/>
                  <a:pt x="598013" y="102179"/>
                </a:cubicBezTo>
                <a:cubicBezTo>
                  <a:pt x="590145" y="106473"/>
                  <a:pt x="581131" y="108588"/>
                  <a:pt x="570972" y="108588"/>
                </a:cubicBezTo>
                <a:lnTo>
                  <a:pt x="536611" y="108588"/>
                </a:lnTo>
                <a:lnTo>
                  <a:pt x="536611" y="1493"/>
                </a:lnTo>
                <a:close/>
                <a:moveTo>
                  <a:pt x="570972" y="95893"/>
                </a:moveTo>
                <a:cubicBezTo>
                  <a:pt x="578342" y="95893"/>
                  <a:pt x="584816" y="94400"/>
                  <a:pt x="590394" y="91413"/>
                </a:cubicBezTo>
                <a:cubicBezTo>
                  <a:pt x="595971" y="88302"/>
                  <a:pt x="600304" y="83572"/>
                  <a:pt x="603392" y="77225"/>
                </a:cubicBezTo>
                <a:cubicBezTo>
                  <a:pt x="606578" y="70754"/>
                  <a:pt x="608172" y="62477"/>
                  <a:pt x="608172" y="52458"/>
                </a:cubicBezTo>
                <a:cubicBezTo>
                  <a:pt x="608172" y="42377"/>
                  <a:pt x="606628" y="34599"/>
                  <a:pt x="603541" y="29122"/>
                </a:cubicBezTo>
                <a:cubicBezTo>
                  <a:pt x="600453" y="23646"/>
                  <a:pt x="596220" y="19851"/>
                  <a:pt x="590842" y="17610"/>
                </a:cubicBezTo>
                <a:cubicBezTo>
                  <a:pt x="585563" y="15433"/>
                  <a:pt x="579488" y="14374"/>
                  <a:pt x="572616" y="14374"/>
                </a:cubicBezTo>
                <a:lnTo>
                  <a:pt x="550654" y="14374"/>
                </a:lnTo>
                <a:lnTo>
                  <a:pt x="550654" y="95893"/>
                </a:lnTo>
                <a:lnTo>
                  <a:pt x="570972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9" name="Полилиния 1028">
            <a:extLst>
              <a:ext uri="{FF2B5EF4-FFF2-40B4-BE49-F238E27FC236}">
                <a16:creationId xmlns:a16="http://schemas.microsoft.com/office/drawing/2014/main" id="{98D9317E-5C22-9C0E-5364-065A2AD1B92A}"/>
              </a:ext>
            </a:extLst>
          </p:cNvPr>
          <p:cNvSpPr/>
          <p:nvPr userDrawn="1"/>
        </p:nvSpPr>
        <p:spPr>
          <a:xfrm>
            <a:off x="15359119" y="6692525"/>
            <a:ext cx="1398954" cy="726227"/>
          </a:xfrm>
          <a:custGeom>
            <a:avLst/>
            <a:gdLst>
              <a:gd name="connsiteX0" fmla="*/ 425 w 1198727"/>
              <a:gd name="connsiteY0" fmla="*/ 1422 h 622284"/>
              <a:gd name="connsiteX1" fmla="*/ 1199153 w 1198727"/>
              <a:gd name="connsiteY1" fmla="*/ 1422 h 622284"/>
              <a:gd name="connsiteX2" fmla="*/ 1199153 w 1198727"/>
              <a:gd name="connsiteY2" fmla="*/ 623706 h 622284"/>
              <a:gd name="connsiteX3" fmla="*/ 425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422"/>
                </a:moveTo>
                <a:lnTo>
                  <a:pt x="1199153" y="1422"/>
                </a:lnTo>
                <a:lnTo>
                  <a:pt x="1199153" y="623706"/>
                </a:lnTo>
                <a:lnTo>
                  <a:pt x="425" y="623706"/>
                </a:lnTo>
                <a:close/>
              </a:path>
            </a:pathLst>
          </a:custGeom>
          <a:solidFill>
            <a:srgbClr val="94EA5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0" name="Полилиния 1029">
            <a:extLst>
              <a:ext uri="{FF2B5EF4-FFF2-40B4-BE49-F238E27FC236}">
                <a16:creationId xmlns:a16="http://schemas.microsoft.com/office/drawing/2014/main" id="{7E1005BE-54FA-B597-3A78-55C76C303265}"/>
              </a:ext>
            </a:extLst>
          </p:cNvPr>
          <p:cNvSpPr/>
          <p:nvPr userDrawn="1"/>
        </p:nvSpPr>
        <p:spPr>
          <a:xfrm>
            <a:off x="15482328" y="6994273"/>
            <a:ext cx="714696" cy="128468"/>
          </a:xfrm>
          <a:custGeom>
            <a:avLst/>
            <a:gdLst>
              <a:gd name="connsiteX0" fmla="*/ 22111 w 612405"/>
              <a:gd name="connsiteY0" fmla="*/ 108588 h 110081"/>
              <a:gd name="connsiteX1" fmla="*/ 10159 w 612405"/>
              <a:gd name="connsiteY1" fmla="*/ 108588 h 110081"/>
              <a:gd name="connsiteX2" fmla="*/ 16434 w 612405"/>
              <a:gd name="connsiteY2" fmla="*/ 77661 h 110081"/>
              <a:gd name="connsiteX3" fmla="*/ 0 w 612405"/>
              <a:gd name="connsiteY3" fmla="*/ 77661 h 110081"/>
              <a:gd name="connsiteX4" fmla="*/ 0 w 612405"/>
              <a:gd name="connsiteY4" fmla="*/ 67206 h 110081"/>
              <a:gd name="connsiteX5" fmla="*/ 18675 w 612405"/>
              <a:gd name="connsiteY5" fmla="*/ 67206 h 110081"/>
              <a:gd name="connsiteX6" fmla="*/ 24202 w 612405"/>
              <a:gd name="connsiteY6" fmla="*/ 40012 h 110081"/>
              <a:gd name="connsiteX7" fmla="*/ 4034 w 612405"/>
              <a:gd name="connsiteY7" fmla="*/ 40012 h 110081"/>
              <a:gd name="connsiteX8" fmla="*/ 4034 w 612405"/>
              <a:gd name="connsiteY8" fmla="*/ 29559 h 110081"/>
              <a:gd name="connsiteX9" fmla="*/ 26294 w 612405"/>
              <a:gd name="connsiteY9" fmla="*/ 29559 h 110081"/>
              <a:gd name="connsiteX10" fmla="*/ 32120 w 612405"/>
              <a:gd name="connsiteY10" fmla="*/ 1493 h 110081"/>
              <a:gd name="connsiteX11" fmla="*/ 44072 w 612405"/>
              <a:gd name="connsiteY11" fmla="*/ 1493 h 110081"/>
              <a:gd name="connsiteX12" fmla="*/ 38246 w 612405"/>
              <a:gd name="connsiteY12" fmla="*/ 29559 h 110081"/>
              <a:gd name="connsiteX13" fmla="*/ 60655 w 612405"/>
              <a:gd name="connsiteY13" fmla="*/ 29559 h 110081"/>
              <a:gd name="connsiteX14" fmla="*/ 66482 w 612405"/>
              <a:gd name="connsiteY14" fmla="*/ 1493 h 110081"/>
              <a:gd name="connsiteX15" fmla="*/ 78434 w 612405"/>
              <a:gd name="connsiteY15" fmla="*/ 1493 h 110081"/>
              <a:gd name="connsiteX16" fmla="*/ 72607 w 612405"/>
              <a:gd name="connsiteY16" fmla="*/ 29559 h 110081"/>
              <a:gd name="connsiteX17" fmla="*/ 89340 w 612405"/>
              <a:gd name="connsiteY17" fmla="*/ 29559 h 110081"/>
              <a:gd name="connsiteX18" fmla="*/ 89340 w 612405"/>
              <a:gd name="connsiteY18" fmla="*/ 40012 h 110081"/>
              <a:gd name="connsiteX19" fmla="*/ 70515 w 612405"/>
              <a:gd name="connsiteY19" fmla="*/ 40012 h 110081"/>
              <a:gd name="connsiteX20" fmla="*/ 64988 w 612405"/>
              <a:gd name="connsiteY20" fmla="*/ 67206 h 110081"/>
              <a:gd name="connsiteX21" fmla="*/ 85306 w 612405"/>
              <a:gd name="connsiteY21" fmla="*/ 67206 h 110081"/>
              <a:gd name="connsiteX22" fmla="*/ 85306 w 612405"/>
              <a:gd name="connsiteY22" fmla="*/ 77661 h 110081"/>
              <a:gd name="connsiteX23" fmla="*/ 62747 w 612405"/>
              <a:gd name="connsiteY23" fmla="*/ 77661 h 110081"/>
              <a:gd name="connsiteX24" fmla="*/ 56472 w 612405"/>
              <a:gd name="connsiteY24" fmla="*/ 108588 h 110081"/>
              <a:gd name="connsiteX25" fmla="*/ 44520 w 612405"/>
              <a:gd name="connsiteY25" fmla="*/ 108588 h 110081"/>
              <a:gd name="connsiteX26" fmla="*/ 50795 w 612405"/>
              <a:gd name="connsiteY26" fmla="*/ 77661 h 110081"/>
              <a:gd name="connsiteX27" fmla="*/ 28386 w 612405"/>
              <a:gd name="connsiteY27" fmla="*/ 77661 h 110081"/>
              <a:gd name="connsiteX28" fmla="*/ 22111 w 612405"/>
              <a:gd name="connsiteY28" fmla="*/ 108588 h 110081"/>
              <a:gd name="connsiteX29" fmla="*/ 30626 w 612405"/>
              <a:gd name="connsiteY29" fmla="*/ 67206 h 110081"/>
              <a:gd name="connsiteX30" fmla="*/ 53036 w 612405"/>
              <a:gd name="connsiteY30" fmla="*/ 67206 h 110081"/>
              <a:gd name="connsiteX31" fmla="*/ 58564 w 612405"/>
              <a:gd name="connsiteY31" fmla="*/ 40012 h 110081"/>
              <a:gd name="connsiteX32" fmla="*/ 36154 w 612405"/>
              <a:gd name="connsiteY32" fmla="*/ 40012 h 110081"/>
              <a:gd name="connsiteX33" fmla="*/ 30626 w 612405"/>
              <a:gd name="connsiteY33" fmla="*/ 67206 h 110081"/>
              <a:gd name="connsiteX34" fmla="*/ 100202 w 612405"/>
              <a:gd name="connsiteY34" fmla="*/ 35844 h 110081"/>
              <a:gd name="connsiteX35" fmla="*/ 104833 w 612405"/>
              <a:gd name="connsiteY35" fmla="*/ 17051 h 110081"/>
              <a:gd name="connsiteX36" fmla="*/ 117682 w 612405"/>
              <a:gd name="connsiteY36" fmla="*/ 4480 h 110081"/>
              <a:gd name="connsiteX37" fmla="*/ 135759 w 612405"/>
              <a:gd name="connsiteY37" fmla="*/ 0 h 110081"/>
              <a:gd name="connsiteX38" fmla="*/ 157421 w 612405"/>
              <a:gd name="connsiteY38" fmla="*/ 5849 h 110081"/>
              <a:gd name="connsiteX39" fmla="*/ 169523 w 612405"/>
              <a:gd name="connsiteY39" fmla="*/ 21842 h 110081"/>
              <a:gd name="connsiteX40" fmla="*/ 173257 w 612405"/>
              <a:gd name="connsiteY40" fmla="*/ 45426 h 110081"/>
              <a:gd name="connsiteX41" fmla="*/ 168626 w 612405"/>
              <a:gd name="connsiteY41" fmla="*/ 80088 h 110081"/>
              <a:gd name="connsiteX42" fmla="*/ 154284 w 612405"/>
              <a:gd name="connsiteY42" fmla="*/ 102303 h 110081"/>
              <a:gd name="connsiteX43" fmla="*/ 129783 w 612405"/>
              <a:gd name="connsiteY43" fmla="*/ 110082 h 110081"/>
              <a:gd name="connsiteX44" fmla="*/ 106776 w 612405"/>
              <a:gd name="connsiteY44" fmla="*/ 104543 h 110081"/>
              <a:gd name="connsiteX45" fmla="*/ 106776 w 612405"/>
              <a:gd name="connsiteY45" fmla="*/ 91413 h 110081"/>
              <a:gd name="connsiteX46" fmla="*/ 129783 w 612405"/>
              <a:gd name="connsiteY46" fmla="*/ 98010 h 110081"/>
              <a:gd name="connsiteX47" fmla="*/ 145320 w 612405"/>
              <a:gd name="connsiteY47" fmla="*/ 92907 h 110081"/>
              <a:gd name="connsiteX48" fmla="*/ 155031 w 612405"/>
              <a:gd name="connsiteY48" fmla="*/ 79154 h 110081"/>
              <a:gd name="connsiteX49" fmla="*/ 159363 w 612405"/>
              <a:gd name="connsiteY49" fmla="*/ 59739 h 110081"/>
              <a:gd name="connsiteX50" fmla="*/ 148308 w 612405"/>
              <a:gd name="connsiteY50" fmla="*/ 68389 h 110081"/>
              <a:gd name="connsiteX51" fmla="*/ 134414 w 612405"/>
              <a:gd name="connsiteY51" fmla="*/ 71127 h 110081"/>
              <a:gd name="connsiteX52" fmla="*/ 117084 w 612405"/>
              <a:gd name="connsiteY52" fmla="*/ 67082 h 110081"/>
              <a:gd name="connsiteX53" fmla="*/ 104684 w 612405"/>
              <a:gd name="connsiteY53" fmla="*/ 55134 h 110081"/>
              <a:gd name="connsiteX54" fmla="*/ 100202 w 612405"/>
              <a:gd name="connsiteY54" fmla="*/ 35844 h 110081"/>
              <a:gd name="connsiteX55" fmla="*/ 136207 w 612405"/>
              <a:gd name="connsiteY55" fmla="*/ 12134 h 110081"/>
              <a:gd name="connsiteX56" fmla="*/ 125450 w 612405"/>
              <a:gd name="connsiteY56" fmla="*/ 14810 h 110081"/>
              <a:gd name="connsiteX57" fmla="*/ 117383 w 612405"/>
              <a:gd name="connsiteY57" fmla="*/ 22589 h 110081"/>
              <a:gd name="connsiteX58" fmla="*/ 114395 w 612405"/>
              <a:gd name="connsiteY58" fmla="*/ 35532 h 110081"/>
              <a:gd name="connsiteX59" fmla="*/ 117383 w 612405"/>
              <a:gd name="connsiteY59" fmla="*/ 48725 h 110081"/>
              <a:gd name="connsiteX60" fmla="*/ 125002 w 612405"/>
              <a:gd name="connsiteY60" fmla="*/ 56752 h 110081"/>
              <a:gd name="connsiteX61" fmla="*/ 134713 w 612405"/>
              <a:gd name="connsiteY61" fmla="*/ 59428 h 110081"/>
              <a:gd name="connsiteX62" fmla="*/ 151147 w 612405"/>
              <a:gd name="connsiteY62" fmla="*/ 53329 h 110081"/>
              <a:gd name="connsiteX63" fmla="*/ 157870 w 612405"/>
              <a:gd name="connsiteY63" fmla="*/ 35283 h 110081"/>
              <a:gd name="connsiteX64" fmla="*/ 152043 w 612405"/>
              <a:gd name="connsiteY64" fmla="*/ 18544 h 110081"/>
              <a:gd name="connsiteX65" fmla="*/ 136207 w 612405"/>
              <a:gd name="connsiteY65" fmla="*/ 12134 h 110081"/>
              <a:gd name="connsiteX66" fmla="*/ 240910 w 612405"/>
              <a:gd name="connsiteY66" fmla="*/ 108588 h 110081"/>
              <a:gd name="connsiteX67" fmla="*/ 227763 w 612405"/>
              <a:gd name="connsiteY67" fmla="*/ 108588 h 110081"/>
              <a:gd name="connsiteX68" fmla="*/ 227763 w 612405"/>
              <a:gd name="connsiteY68" fmla="*/ 83199 h 110081"/>
              <a:gd name="connsiteX69" fmla="*/ 181449 w 612405"/>
              <a:gd name="connsiteY69" fmla="*/ 83199 h 110081"/>
              <a:gd name="connsiteX70" fmla="*/ 181449 w 612405"/>
              <a:gd name="connsiteY70" fmla="*/ 73927 h 110081"/>
              <a:gd name="connsiteX71" fmla="*/ 223281 w 612405"/>
              <a:gd name="connsiteY71" fmla="*/ 1493 h 110081"/>
              <a:gd name="connsiteX72" fmla="*/ 240910 w 612405"/>
              <a:gd name="connsiteY72" fmla="*/ 1493 h 110081"/>
              <a:gd name="connsiteX73" fmla="*/ 240910 w 612405"/>
              <a:gd name="connsiteY73" fmla="*/ 71873 h 110081"/>
              <a:gd name="connsiteX74" fmla="*/ 255401 w 612405"/>
              <a:gd name="connsiteY74" fmla="*/ 71873 h 110081"/>
              <a:gd name="connsiteX75" fmla="*/ 255401 w 612405"/>
              <a:gd name="connsiteY75" fmla="*/ 83199 h 110081"/>
              <a:gd name="connsiteX76" fmla="*/ 240910 w 612405"/>
              <a:gd name="connsiteY76" fmla="*/ 83199 h 110081"/>
              <a:gd name="connsiteX77" fmla="*/ 240910 w 612405"/>
              <a:gd name="connsiteY77" fmla="*/ 108588 h 110081"/>
              <a:gd name="connsiteX78" fmla="*/ 195044 w 612405"/>
              <a:gd name="connsiteY78" fmla="*/ 71873 h 110081"/>
              <a:gd name="connsiteX79" fmla="*/ 227763 w 612405"/>
              <a:gd name="connsiteY79" fmla="*/ 71873 h 110081"/>
              <a:gd name="connsiteX80" fmla="*/ 227763 w 612405"/>
              <a:gd name="connsiteY80" fmla="*/ 16117 h 110081"/>
              <a:gd name="connsiteX81" fmla="*/ 195044 w 612405"/>
              <a:gd name="connsiteY81" fmla="*/ 71873 h 110081"/>
              <a:gd name="connsiteX82" fmla="*/ 272102 w 612405"/>
              <a:gd name="connsiteY82" fmla="*/ 1493 h 110081"/>
              <a:gd name="connsiteX83" fmla="*/ 338435 w 612405"/>
              <a:gd name="connsiteY83" fmla="*/ 1493 h 110081"/>
              <a:gd name="connsiteX84" fmla="*/ 338435 w 612405"/>
              <a:gd name="connsiteY84" fmla="*/ 14374 h 110081"/>
              <a:gd name="connsiteX85" fmla="*/ 286146 w 612405"/>
              <a:gd name="connsiteY85" fmla="*/ 14374 h 110081"/>
              <a:gd name="connsiteX86" fmla="*/ 286146 w 612405"/>
              <a:gd name="connsiteY86" fmla="*/ 46734 h 110081"/>
              <a:gd name="connsiteX87" fmla="*/ 330517 w 612405"/>
              <a:gd name="connsiteY87" fmla="*/ 46734 h 110081"/>
              <a:gd name="connsiteX88" fmla="*/ 330517 w 612405"/>
              <a:gd name="connsiteY88" fmla="*/ 59428 h 110081"/>
              <a:gd name="connsiteX89" fmla="*/ 286146 w 612405"/>
              <a:gd name="connsiteY89" fmla="*/ 59428 h 110081"/>
              <a:gd name="connsiteX90" fmla="*/ 286146 w 612405"/>
              <a:gd name="connsiteY90" fmla="*/ 95893 h 110081"/>
              <a:gd name="connsiteX91" fmla="*/ 339182 w 612405"/>
              <a:gd name="connsiteY91" fmla="*/ 95893 h 110081"/>
              <a:gd name="connsiteX92" fmla="*/ 339182 w 612405"/>
              <a:gd name="connsiteY92" fmla="*/ 108588 h 110081"/>
              <a:gd name="connsiteX93" fmla="*/ 272102 w 612405"/>
              <a:gd name="connsiteY93" fmla="*/ 108588 h 110081"/>
              <a:gd name="connsiteX94" fmla="*/ 272102 w 612405"/>
              <a:gd name="connsiteY94" fmla="*/ 1493 h 110081"/>
              <a:gd name="connsiteX95" fmla="*/ 449238 w 612405"/>
              <a:gd name="connsiteY95" fmla="*/ 108588 h 110081"/>
              <a:gd name="connsiteX96" fmla="*/ 434298 w 612405"/>
              <a:gd name="connsiteY96" fmla="*/ 108588 h 110081"/>
              <a:gd name="connsiteX97" fmla="*/ 423243 w 612405"/>
              <a:gd name="connsiteY97" fmla="*/ 77972 h 110081"/>
              <a:gd name="connsiteX98" fmla="*/ 375884 w 612405"/>
              <a:gd name="connsiteY98" fmla="*/ 77972 h 110081"/>
              <a:gd name="connsiteX99" fmla="*/ 364978 w 612405"/>
              <a:gd name="connsiteY99" fmla="*/ 108588 h 110081"/>
              <a:gd name="connsiteX100" fmla="*/ 351831 w 612405"/>
              <a:gd name="connsiteY100" fmla="*/ 108588 h 110081"/>
              <a:gd name="connsiteX101" fmla="*/ 389927 w 612405"/>
              <a:gd name="connsiteY101" fmla="*/ 1493 h 110081"/>
              <a:gd name="connsiteX102" fmla="*/ 410843 w 612405"/>
              <a:gd name="connsiteY102" fmla="*/ 1493 h 110081"/>
              <a:gd name="connsiteX103" fmla="*/ 449238 w 612405"/>
              <a:gd name="connsiteY103" fmla="*/ 108588 h 110081"/>
              <a:gd name="connsiteX104" fmla="*/ 380515 w 612405"/>
              <a:gd name="connsiteY104" fmla="*/ 65278 h 110081"/>
              <a:gd name="connsiteX105" fmla="*/ 418761 w 612405"/>
              <a:gd name="connsiteY105" fmla="*/ 65278 h 110081"/>
              <a:gd name="connsiteX106" fmla="*/ 399638 w 612405"/>
              <a:gd name="connsiteY106" fmla="*/ 11947 h 110081"/>
              <a:gd name="connsiteX107" fmla="*/ 380515 w 612405"/>
              <a:gd name="connsiteY107" fmla="*/ 65278 h 110081"/>
              <a:gd name="connsiteX108" fmla="*/ 488735 w 612405"/>
              <a:gd name="connsiteY108" fmla="*/ 110082 h 110081"/>
              <a:gd name="connsiteX109" fmla="*/ 460200 w 612405"/>
              <a:gd name="connsiteY109" fmla="*/ 102490 h 110081"/>
              <a:gd name="connsiteX110" fmla="*/ 460200 w 612405"/>
              <a:gd name="connsiteY110" fmla="*/ 87804 h 110081"/>
              <a:gd name="connsiteX111" fmla="*/ 473347 w 612405"/>
              <a:gd name="connsiteY111" fmla="*/ 95458 h 110081"/>
              <a:gd name="connsiteX112" fmla="*/ 488735 w 612405"/>
              <a:gd name="connsiteY112" fmla="*/ 97823 h 110081"/>
              <a:gd name="connsiteX113" fmla="*/ 505766 w 612405"/>
              <a:gd name="connsiteY113" fmla="*/ 91102 h 110081"/>
              <a:gd name="connsiteX114" fmla="*/ 511892 w 612405"/>
              <a:gd name="connsiteY114" fmla="*/ 73491 h 110081"/>
              <a:gd name="connsiteX115" fmla="*/ 505916 w 612405"/>
              <a:gd name="connsiteY115" fmla="*/ 56441 h 110081"/>
              <a:gd name="connsiteX116" fmla="*/ 490827 w 612405"/>
              <a:gd name="connsiteY116" fmla="*/ 51089 h 110081"/>
              <a:gd name="connsiteX117" fmla="*/ 480219 w 612405"/>
              <a:gd name="connsiteY117" fmla="*/ 53329 h 110081"/>
              <a:gd name="connsiteX118" fmla="*/ 474094 w 612405"/>
              <a:gd name="connsiteY118" fmla="*/ 57810 h 110081"/>
              <a:gd name="connsiteX119" fmla="*/ 463188 w 612405"/>
              <a:gd name="connsiteY119" fmla="*/ 57810 h 110081"/>
              <a:gd name="connsiteX120" fmla="*/ 463188 w 612405"/>
              <a:gd name="connsiteY120" fmla="*/ 1493 h 110081"/>
              <a:gd name="connsiteX121" fmla="*/ 521154 w 612405"/>
              <a:gd name="connsiteY121" fmla="*/ 1493 h 110081"/>
              <a:gd name="connsiteX122" fmla="*/ 521154 w 612405"/>
              <a:gd name="connsiteY122" fmla="*/ 14374 h 110081"/>
              <a:gd name="connsiteX123" fmla="*/ 475439 w 612405"/>
              <a:gd name="connsiteY123" fmla="*/ 14374 h 110081"/>
              <a:gd name="connsiteX124" fmla="*/ 475439 w 612405"/>
              <a:gd name="connsiteY124" fmla="*/ 44991 h 110081"/>
              <a:gd name="connsiteX125" fmla="*/ 482759 w 612405"/>
              <a:gd name="connsiteY125" fmla="*/ 41071 h 110081"/>
              <a:gd name="connsiteX126" fmla="*/ 493068 w 612405"/>
              <a:gd name="connsiteY126" fmla="*/ 39266 h 110081"/>
              <a:gd name="connsiteX127" fmla="*/ 509800 w 612405"/>
              <a:gd name="connsiteY127" fmla="*/ 43186 h 110081"/>
              <a:gd name="connsiteX128" fmla="*/ 521602 w 612405"/>
              <a:gd name="connsiteY128" fmla="*/ 54512 h 110081"/>
              <a:gd name="connsiteX129" fmla="*/ 526085 w 612405"/>
              <a:gd name="connsiteY129" fmla="*/ 73181 h 110081"/>
              <a:gd name="connsiteX130" fmla="*/ 521453 w 612405"/>
              <a:gd name="connsiteY130" fmla="*/ 92596 h 110081"/>
              <a:gd name="connsiteX131" fmla="*/ 508605 w 612405"/>
              <a:gd name="connsiteY131" fmla="*/ 105601 h 110081"/>
              <a:gd name="connsiteX132" fmla="*/ 488735 w 612405"/>
              <a:gd name="connsiteY132" fmla="*/ 110082 h 110081"/>
              <a:gd name="connsiteX133" fmla="*/ 546969 w 612405"/>
              <a:gd name="connsiteY133" fmla="*/ 1493 h 110081"/>
              <a:gd name="connsiteX134" fmla="*/ 612405 w 612405"/>
              <a:gd name="connsiteY134" fmla="*/ 1493 h 110081"/>
              <a:gd name="connsiteX135" fmla="*/ 612405 w 612405"/>
              <a:gd name="connsiteY135" fmla="*/ 14374 h 110081"/>
              <a:gd name="connsiteX136" fmla="*/ 561012 w 612405"/>
              <a:gd name="connsiteY136" fmla="*/ 14374 h 110081"/>
              <a:gd name="connsiteX137" fmla="*/ 561012 w 612405"/>
              <a:gd name="connsiteY137" fmla="*/ 49907 h 110081"/>
              <a:gd name="connsiteX138" fmla="*/ 604636 w 612405"/>
              <a:gd name="connsiteY138" fmla="*/ 49907 h 110081"/>
              <a:gd name="connsiteX139" fmla="*/ 604636 w 612405"/>
              <a:gd name="connsiteY139" fmla="*/ 62601 h 110081"/>
              <a:gd name="connsiteX140" fmla="*/ 561012 w 612405"/>
              <a:gd name="connsiteY140" fmla="*/ 62601 h 110081"/>
              <a:gd name="connsiteX141" fmla="*/ 561012 w 612405"/>
              <a:gd name="connsiteY141" fmla="*/ 108588 h 110081"/>
              <a:gd name="connsiteX142" fmla="*/ 546969 w 612405"/>
              <a:gd name="connsiteY142" fmla="*/ 108588 h 110081"/>
              <a:gd name="connsiteX143" fmla="*/ 546969 w 612405"/>
              <a:gd name="connsiteY143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612405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0202" y="35844"/>
                </a:moveTo>
                <a:cubicBezTo>
                  <a:pt x="100202" y="28687"/>
                  <a:pt x="101746" y="22402"/>
                  <a:pt x="104833" y="17051"/>
                </a:cubicBezTo>
                <a:cubicBezTo>
                  <a:pt x="108021" y="11637"/>
                  <a:pt x="112303" y="7467"/>
                  <a:pt x="117682" y="4480"/>
                </a:cubicBezTo>
                <a:cubicBezTo>
                  <a:pt x="123060" y="1493"/>
                  <a:pt x="129086" y="0"/>
                  <a:pt x="135759" y="0"/>
                </a:cubicBezTo>
                <a:cubicBezTo>
                  <a:pt x="144723" y="0"/>
                  <a:pt x="151943" y="1929"/>
                  <a:pt x="157421" y="5849"/>
                </a:cubicBezTo>
                <a:cubicBezTo>
                  <a:pt x="162999" y="9645"/>
                  <a:pt x="167032" y="14934"/>
                  <a:pt x="169523" y="21842"/>
                </a:cubicBezTo>
                <a:cubicBezTo>
                  <a:pt x="172012" y="28563"/>
                  <a:pt x="173257" y="36466"/>
                  <a:pt x="173257" y="45426"/>
                </a:cubicBezTo>
                <a:cubicBezTo>
                  <a:pt x="173257" y="58868"/>
                  <a:pt x="171714" y="70380"/>
                  <a:pt x="168626" y="80088"/>
                </a:cubicBezTo>
                <a:cubicBezTo>
                  <a:pt x="165539" y="89733"/>
                  <a:pt x="160758" y="97138"/>
                  <a:pt x="154284" y="102303"/>
                </a:cubicBezTo>
                <a:cubicBezTo>
                  <a:pt x="147910" y="107468"/>
                  <a:pt x="139743" y="110082"/>
                  <a:pt x="129783" y="110082"/>
                </a:cubicBezTo>
                <a:cubicBezTo>
                  <a:pt x="120819" y="110082"/>
                  <a:pt x="113150" y="108215"/>
                  <a:pt x="106776" y="104543"/>
                </a:cubicBezTo>
                <a:lnTo>
                  <a:pt x="106776" y="91413"/>
                </a:lnTo>
                <a:cubicBezTo>
                  <a:pt x="113548" y="95769"/>
                  <a:pt x="121217" y="98010"/>
                  <a:pt x="129783" y="98010"/>
                </a:cubicBezTo>
                <a:cubicBezTo>
                  <a:pt x="135958" y="98010"/>
                  <a:pt x="141137" y="96267"/>
                  <a:pt x="145320" y="92907"/>
                </a:cubicBezTo>
                <a:cubicBezTo>
                  <a:pt x="149503" y="89546"/>
                  <a:pt x="152740" y="84941"/>
                  <a:pt x="155031" y="79154"/>
                </a:cubicBezTo>
                <a:cubicBezTo>
                  <a:pt x="157421" y="73367"/>
                  <a:pt x="158866" y="66896"/>
                  <a:pt x="159363" y="59739"/>
                </a:cubicBezTo>
                <a:cubicBezTo>
                  <a:pt x="156276" y="63660"/>
                  <a:pt x="152591" y="66522"/>
                  <a:pt x="148308" y="68389"/>
                </a:cubicBezTo>
                <a:cubicBezTo>
                  <a:pt x="144025" y="70193"/>
                  <a:pt x="139394" y="71127"/>
                  <a:pt x="134414" y="71127"/>
                </a:cubicBezTo>
                <a:cubicBezTo>
                  <a:pt x="128040" y="71127"/>
                  <a:pt x="122263" y="69758"/>
                  <a:pt x="117084" y="67082"/>
                </a:cubicBezTo>
                <a:cubicBezTo>
                  <a:pt x="111905" y="64406"/>
                  <a:pt x="107772" y="60424"/>
                  <a:pt x="104684" y="55134"/>
                </a:cubicBezTo>
                <a:cubicBezTo>
                  <a:pt x="101696" y="49845"/>
                  <a:pt x="100202" y="43435"/>
                  <a:pt x="100202" y="35844"/>
                </a:cubicBezTo>
                <a:close/>
                <a:moveTo>
                  <a:pt x="136207" y="12134"/>
                </a:moveTo>
                <a:cubicBezTo>
                  <a:pt x="132422" y="12134"/>
                  <a:pt x="128837" y="13006"/>
                  <a:pt x="125450" y="14810"/>
                </a:cubicBezTo>
                <a:cubicBezTo>
                  <a:pt x="122164" y="16490"/>
                  <a:pt x="119474" y="19104"/>
                  <a:pt x="117383" y="22589"/>
                </a:cubicBezTo>
                <a:cubicBezTo>
                  <a:pt x="115391" y="25949"/>
                  <a:pt x="114395" y="30305"/>
                  <a:pt x="114395" y="35532"/>
                </a:cubicBezTo>
                <a:cubicBezTo>
                  <a:pt x="114395" y="40759"/>
                  <a:pt x="115391" y="45116"/>
                  <a:pt x="117383" y="48725"/>
                </a:cubicBezTo>
                <a:cubicBezTo>
                  <a:pt x="119375" y="52271"/>
                  <a:pt x="121915" y="54947"/>
                  <a:pt x="125002" y="56752"/>
                </a:cubicBezTo>
                <a:cubicBezTo>
                  <a:pt x="128090" y="58556"/>
                  <a:pt x="131327" y="59428"/>
                  <a:pt x="134713" y="59428"/>
                </a:cubicBezTo>
                <a:cubicBezTo>
                  <a:pt x="141286" y="59428"/>
                  <a:pt x="146764" y="57437"/>
                  <a:pt x="151147" y="53329"/>
                </a:cubicBezTo>
                <a:cubicBezTo>
                  <a:pt x="155628" y="49160"/>
                  <a:pt x="157870" y="43124"/>
                  <a:pt x="157870" y="35283"/>
                </a:cubicBezTo>
                <a:cubicBezTo>
                  <a:pt x="157870" y="28313"/>
                  <a:pt x="155927" y="22713"/>
                  <a:pt x="152043" y="18544"/>
                </a:cubicBezTo>
                <a:cubicBezTo>
                  <a:pt x="148159" y="14250"/>
                  <a:pt x="142880" y="12134"/>
                  <a:pt x="136207" y="12134"/>
                </a:cubicBezTo>
                <a:close/>
                <a:moveTo>
                  <a:pt x="240910" y="108588"/>
                </a:moveTo>
                <a:lnTo>
                  <a:pt x="227763" y="108588"/>
                </a:lnTo>
                <a:lnTo>
                  <a:pt x="227763" y="83199"/>
                </a:lnTo>
                <a:lnTo>
                  <a:pt x="181449" y="83199"/>
                </a:lnTo>
                <a:lnTo>
                  <a:pt x="181449" y="73927"/>
                </a:lnTo>
                <a:lnTo>
                  <a:pt x="223281" y="1493"/>
                </a:lnTo>
                <a:lnTo>
                  <a:pt x="240910" y="1493"/>
                </a:lnTo>
                <a:lnTo>
                  <a:pt x="240910" y="71873"/>
                </a:lnTo>
                <a:lnTo>
                  <a:pt x="255401" y="71873"/>
                </a:lnTo>
                <a:lnTo>
                  <a:pt x="255401" y="83199"/>
                </a:lnTo>
                <a:lnTo>
                  <a:pt x="240910" y="83199"/>
                </a:lnTo>
                <a:lnTo>
                  <a:pt x="240910" y="108588"/>
                </a:lnTo>
                <a:close/>
                <a:moveTo>
                  <a:pt x="195044" y="71873"/>
                </a:moveTo>
                <a:lnTo>
                  <a:pt x="227763" y="71873"/>
                </a:lnTo>
                <a:lnTo>
                  <a:pt x="227763" y="16117"/>
                </a:lnTo>
                <a:lnTo>
                  <a:pt x="195044" y="71873"/>
                </a:lnTo>
                <a:close/>
                <a:moveTo>
                  <a:pt x="272102" y="1493"/>
                </a:moveTo>
                <a:lnTo>
                  <a:pt x="338435" y="1493"/>
                </a:lnTo>
                <a:lnTo>
                  <a:pt x="338435" y="14374"/>
                </a:lnTo>
                <a:lnTo>
                  <a:pt x="286146" y="14374"/>
                </a:lnTo>
                <a:lnTo>
                  <a:pt x="286146" y="46734"/>
                </a:lnTo>
                <a:lnTo>
                  <a:pt x="330517" y="46734"/>
                </a:lnTo>
                <a:lnTo>
                  <a:pt x="330517" y="59428"/>
                </a:lnTo>
                <a:lnTo>
                  <a:pt x="286146" y="59428"/>
                </a:lnTo>
                <a:lnTo>
                  <a:pt x="286146" y="95893"/>
                </a:lnTo>
                <a:lnTo>
                  <a:pt x="339182" y="95893"/>
                </a:lnTo>
                <a:lnTo>
                  <a:pt x="339182" y="108588"/>
                </a:lnTo>
                <a:lnTo>
                  <a:pt x="272102" y="108588"/>
                </a:lnTo>
                <a:lnTo>
                  <a:pt x="272102" y="1493"/>
                </a:lnTo>
                <a:close/>
                <a:moveTo>
                  <a:pt x="449238" y="108588"/>
                </a:moveTo>
                <a:lnTo>
                  <a:pt x="434298" y="108588"/>
                </a:lnTo>
                <a:lnTo>
                  <a:pt x="423243" y="77972"/>
                </a:lnTo>
                <a:lnTo>
                  <a:pt x="375884" y="77972"/>
                </a:lnTo>
                <a:lnTo>
                  <a:pt x="364978" y="108588"/>
                </a:lnTo>
                <a:lnTo>
                  <a:pt x="351831" y="108588"/>
                </a:lnTo>
                <a:lnTo>
                  <a:pt x="389927" y="1493"/>
                </a:lnTo>
                <a:lnTo>
                  <a:pt x="410843" y="1493"/>
                </a:lnTo>
                <a:lnTo>
                  <a:pt x="449238" y="108588"/>
                </a:lnTo>
                <a:close/>
                <a:moveTo>
                  <a:pt x="380515" y="65278"/>
                </a:moveTo>
                <a:lnTo>
                  <a:pt x="418761" y="65278"/>
                </a:lnTo>
                <a:lnTo>
                  <a:pt x="399638" y="11947"/>
                </a:lnTo>
                <a:lnTo>
                  <a:pt x="380515" y="65278"/>
                </a:lnTo>
                <a:close/>
                <a:moveTo>
                  <a:pt x="488735" y="110082"/>
                </a:moveTo>
                <a:cubicBezTo>
                  <a:pt x="476783" y="110082"/>
                  <a:pt x="467272" y="107530"/>
                  <a:pt x="460200" y="102490"/>
                </a:cubicBezTo>
                <a:lnTo>
                  <a:pt x="460200" y="87804"/>
                </a:lnTo>
                <a:cubicBezTo>
                  <a:pt x="464383" y="91226"/>
                  <a:pt x="468766" y="93778"/>
                  <a:pt x="473347" y="95458"/>
                </a:cubicBezTo>
                <a:cubicBezTo>
                  <a:pt x="477929" y="97014"/>
                  <a:pt x="483058" y="97823"/>
                  <a:pt x="488735" y="97823"/>
                </a:cubicBezTo>
                <a:cubicBezTo>
                  <a:pt x="496105" y="97823"/>
                  <a:pt x="501783" y="95583"/>
                  <a:pt x="505766" y="91102"/>
                </a:cubicBezTo>
                <a:cubicBezTo>
                  <a:pt x="509850" y="86621"/>
                  <a:pt x="511892" y="80772"/>
                  <a:pt x="511892" y="73491"/>
                </a:cubicBezTo>
                <a:cubicBezTo>
                  <a:pt x="511892" y="65713"/>
                  <a:pt x="509900" y="60050"/>
                  <a:pt x="505916" y="56441"/>
                </a:cubicBezTo>
                <a:cubicBezTo>
                  <a:pt x="501932" y="52894"/>
                  <a:pt x="496902" y="51089"/>
                  <a:pt x="490827" y="51089"/>
                </a:cubicBezTo>
                <a:cubicBezTo>
                  <a:pt x="486444" y="51089"/>
                  <a:pt x="482908" y="51836"/>
                  <a:pt x="480219" y="53329"/>
                </a:cubicBezTo>
                <a:cubicBezTo>
                  <a:pt x="477530" y="54698"/>
                  <a:pt x="475489" y="56192"/>
                  <a:pt x="474094" y="57810"/>
                </a:cubicBezTo>
                <a:lnTo>
                  <a:pt x="463188" y="57810"/>
                </a:lnTo>
                <a:lnTo>
                  <a:pt x="463188" y="1493"/>
                </a:lnTo>
                <a:lnTo>
                  <a:pt x="521154" y="1493"/>
                </a:lnTo>
                <a:lnTo>
                  <a:pt x="521154" y="14374"/>
                </a:lnTo>
                <a:lnTo>
                  <a:pt x="475439" y="14374"/>
                </a:lnTo>
                <a:lnTo>
                  <a:pt x="475439" y="44991"/>
                </a:lnTo>
                <a:cubicBezTo>
                  <a:pt x="477431" y="43498"/>
                  <a:pt x="479871" y="42190"/>
                  <a:pt x="482759" y="41071"/>
                </a:cubicBezTo>
                <a:cubicBezTo>
                  <a:pt x="485647" y="39888"/>
                  <a:pt x="489084" y="39266"/>
                  <a:pt x="493068" y="39266"/>
                </a:cubicBezTo>
                <a:cubicBezTo>
                  <a:pt x="499243" y="39266"/>
                  <a:pt x="504820" y="40572"/>
                  <a:pt x="509800" y="43186"/>
                </a:cubicBezTo>
                <a:cubicBezTo>
                  <a:pt x="514780" y="45675"/>
                  <a:pt x="518714" y="49471"/>
                  <a:pt x="521602" y="54512"/>
                </a:cubicBezTo>
                <a:cubicBezTo>
                  <a:pt x="524591" y="59490"/>
                  <a:pt x="526085" y="65713"/>
                  <a:pt x="526085" y="73181"/>
                </a:cubicBezTo>
                <a:cubicBezTo>
                  <a:pt x="526085" y="80586"/>
                  <a:pt x="524541" y="87058"/>
                  <a:pt x="521453" y="92596"/>
                </a:cubicBezTo>
                <a:cubicBezTo>
                  <a:pt x="518465" y="98196"/>
                  <a:pt x="514183" y="102490"/>
                  <a:pt x="508605" y="105601"/>
                </a:cubicBezTo>
                <a:cubicBezTo>
                  <a:pt x="503027" y="108588"/>
                  <a:pt x="496404" y="110082"/>
                  <a:pt x="488735" y="110082"/>
                </a:cubicBezTo>
                <a:close/>
                <a:moveTo>
                  <a:pt x="546969" y="1493"/>
                </a:moveTo>
                <a:lnTo>
                  <a:pt x="612405" y="1493"/>
                </a:lnTo>
                <a:lnTo>
                  <a:pt x="612405" y="14374"/>
                </a:lnTo>
                <a:lnTo>
                  <a:pt x="561012" y="14374"/>
                </a:lnTo>
                <a:lnTo>
                  <a:pt x="561012" y="49907"/>
                </a:lnTo>
                <a:lnTo>
                  <a:pt x="604636" y="49907"/>
                </a:lnTo>
                <a:lnTo>
                  <a:pt x="604636" y="62601"/>
                </a:lnTo>
                <a:lnTo>
                  <a:pt x="561012" y="62601"/>
                </a:lnTo>
                <a:lnTo>
                  <a:pt x="561012" y="108588"/>
                </a:lnTo>
                <a:lnTo>
                  <a:pt x="546969" y="108588"/>
                </a:lnTo>
                <a:lnTo>
                  <a:pt x="546969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1" name="Полилиния 1030">
            <a:extLst>
              <a:ext uri="{FF2B5EF4-FFF2-40B4-BE49-F238E27FC236}">
                <a16:creationId xmlns:a16="http://schemas.microsoft.com/office/drawing/2014/main" id="{E0EDB722-C464-3497-2A3B-FC368AF556B7}"/>
              </a:ext>
            </a:extLst>
          </p:cNvPr>
          <p:cNvSpPr/>
          <p:nvPr userDrawn="1"/>
        </p:nvSpPr>
        <p:spPr>
          <a:xfrm>
            <a:off x="15359119" y="7418752"/>
            <a:ext cx="1398954" cy="726227"/>
          </a:xfrm>
          <a:custGeom>
            <a:avLst/>
            <a:gdLst>
              <a:gd name="connsiteX0" fmla="*/ 425 w 1198727"/>
              <a:gd name="connsiteY0" fmla="*/ 1522 h 622284"/>
              <a:gd name="connsiteX1" fmla="*/ 1199153 w 1198727"/>
              <a:gd name="connsiteY1" fmla="*/ 1522 h 622284"/>
              <a:gd name="connsiteX2" fmla="*/ 1199153 w 1198727"/>
              <a:gd name="connsiteY2" fmla="*/ 623806 h 622284"/>
              <a:gd name="connsiteX3" fmla="*/ 425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522"/>
                </a:moveTo>
                <a:lnTo>
                  <a:pt x="1199153" y="1522"/>
                </a:lnTo>
                <a:lnTo>
                  <a:pt x="1199153" y="623806"/>
                </a:lnTo>
                <a:lnTo>
                  <a:pt x="425" y="623806"/>
                </a:lnTo>
                <a:close/>
              </a:path>
            </a:pathLst>
          </a:custGeom>
          <a:solidFill>
            <a:srgbClr val="A2FF6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2" name="Полилиния 1031">
            <a:extLst>
              <a:ext uri="{FF2B5EF4-FFF2-40B4-BE49-F238E27FC236}">
                <a16:creationId xmlns:a16="http://schemas.microsoft.com/office/drawing/2014/main" id="{97492615-5F09-3AD6-D0F3-39ECB450860C}"/>
              </a:ext>
            </a:extLst>
          </p:cNvPr>
          <p:cNvSpPr/>
          <p:nvPr userDrawn="1"/>
        </p:nvSpPr>
        <p:spPr>
          <a:xfrm>
            <a:off x="15482328" y="7720500"/>
            <a:ext cx="703050" cy="128468"/>
          </a:xfrm>
          <a:custGeom>
            <a:avLst/>
            <a:gdLst>
              <a:gd name="connsiteX0" fmla="*/ 22111 w 602426"/>
              <a:gd name="connsiteY0" fmla="*/ 108588 h 110081"/>
              <a:gd name="connsiteX1" fmla="*/ 10159 w 602426"/>
              <a:gd name="connsiteY1" fmla="*/ 108588 h 110081"/>
              <a:gd name="connsiteX2" fmla="*/ 16434 w 602426"/>
              <a:gd name="connsiteY2" fmla="*/ 77661 h 110081"/>
              <a:gd name="connsiteX3" fmla="*/ 0 w 602426"/>
              <a:gd name="connsiteY3" fmla="*/ 77661 h 110081"/>
              <a:gd name="connsiteX4" fmla="*/ 0 w 602426"/>
              <a:gd name="connsiteY4" fmla="*/ 67206 h 110081"/>
              <a:gd name="connsiteX5" fmla="*/ 18675 w 602426"/>
              <a:gd name="connsiteY5" fmla="*/ 67206 h 110081"/>
              <a:gd name="connsiteX6" fmla="*/ 24202 w 602426"/>
              <a:gd name="connsiteY6" fmla="*/ 40012 h 110081"/>
              <a:gd name="connsiteX7" fmla="*/ 4034 w 602426"/>
              <a:gd name="connsiteY7" fmla="*/ 40012 h 110081"/>
              <a:gd name="connsiteX8" fmla="*/ 4034 w 602426"/>
              <a:gd name="connsiteY8" fmla="*/ 29559 h 110081"/>
              <a:gd name="connsiteX9" fmla="*/ 26294 w 602426"/>
              <a:gd name="connsiteY9" fmla="*/ 29559 h 110081"/>
              <a:gd name="connsiteX10" fmla="*/ 32120 w 602426"/>
              <a:gd name="connsiteY10" fmla="*/ 1493 h 110081"/>
              <a:gd name="connsiteX11" fmla="*/ 44072 w 602426"/>
              <a:gd name="connsiteY11" fmla="*/ 1493 h 110081"/>
              <a:gd name="connsiteX12" fmla="*/ 38246 w 602426"/>
              <a:gd name="connsiteY12" fmla="*/ 29559 h 110081"/>
              <a:gd name="connsiteX13" fmla="*/ 60655 w 602426"/>
              <a:gd name="connsiteY13" fmla="*/ 29559 h 110081"/>
              <a:gd name="connsiteX14" fmla="*/ 66482 w 602426"/>
              <a:gd name="connsiteY14" fmla="*/ 1493 h 110081"/>
              <a:gd name="connsiteX15" fmla="*/ 78434 w 602426"/>
              <a:gd name="connsiteY15" fmla="*/ 1493 h 110081"/>
              <a:gd name="connsiteX16" fmla="*/ 72607 w 602426"/>
              <a:gd name="connsiteY16" fmla="*/ 29559 h 110081"/>
              <a:gd name="connsiteX17" fmla="*/ 89340 w 602426"/>
              <a:gd name="connsiteY17" fmla="*/ 29559 h 110081"/>
              <a:gd name="connsiteX18" fmla="*/ 89340 w 602426"/>
              <a:gd name="connsiteY18" fmla="*/ 40012 h 110081"/>
              <a:gd name="connsiteX19" fmla="*/ 70515 w 602426"/>
              <a:gd name="connsiteY19" fmla="*/ 40012 h 110081"/>
              <a:gd name="connsiteX20" fmla="*/ 64988 w 602426"/>
              <a:gd name="connsiteY20" fmla="*/ 67206 h 110081"/>
              <a:gd name="connsiteX21" fmla="*/ 85306 w 602426"/>
              <a:gd name="connsiteY21" fmla="*/ 67206 h 110081"/>
              <a:gd name="connsiteX22" fmla="*/ 85306 w 602426"/>
              <a:gd name="connsiteY22" fmla="*/ 77661 h 110081"/>
              <a:gd name="connsiteX23" fmla="*/ 62747 w 602426"/>
              <a:gd name="connsiteY23" fmla="*/ 77661 h 110081"/>
              <a:gd name="connsiteX24" fmla="*/ 56472 w 602426"/>
              <a:gd name="connsiteY24" fmla="*/ 108588 h 110081"/>
              <a:gd name="connsiteX25" fmla="*/ 44520 w 602426"/>
              <a:gd name="connsiteY25" fmla="*/ 108588 h 110081"/>
              <a:gd name="connsiteX26" fmla="*/ 50795 w 602426"/>
              <a:gd name="connsiteY26" fmla="*/ 77661 h 110081"/>
              <a:gd name="connsiteX27" fmla="*/ 28386 w 602426"/>
              <a:gd name="connsiteY27" fmla="*/ 77661 h 110081"/>
              <a:gd name="connsiteX28" fmla="*/ 22111 w 602426"/>
              <a:gd name="connsiteY28" fmla="*/ 108588 h 110081"/>
              <a:gd name="connsiteX29" fmla="*/ 30626 w 602426"/>
              <a:gd name="connsiteY29" fmla="*/ 67206 h 110081"/>
              <a:gd name="connsiteX30" fmla="*/ 53036 w 602426"/>
              <a:gd name="connsiteY30" fmla="*/ 67206 h 110081"/>
              <a:gd name="connsiteX31" fmla="*/ 58564 w 602426"/>
              <a:gd name="connsiteY31" fmla="*/ 40012 h 110081"/>
              <a:gd name="connsiteX32" fmla="*/ 36154 w 602426"/>
              <a:gd name="connsiteY32" fmla="*/ 40012 h 110081"/>
              <a:gd name="connsiteX33" fmla="*/ 30626 w 602426"/>
              <a:gd name="connsiteY33" fmla="*/ 67206 h 110081"/>
              <a:gd name="connsiteX34" fmla="*/ 189685 w 602426"/>
              <a:gd name="connsiteY34" fmla="*/ 108588 h 110081"/>
              <a:gd name="connsiteX35" fmla="*/ 174745 w 602426"/>
              <a:gd name="connsiteY35" fmla="*/ 108588 h 110081"/>
              <a:gd name="connsiteX36" fmla="*/ 163690 w 602426"/>
              <a:gd name="connsiteY36" fmla="*/ 77972 h 110081"/>
              <a:gd name="connsiteX37" fmla="*/ 116331 w 602426"/>
              <a:gd name="connsiteY37" fmla="*/ 77972 h 110081"/>
              <a:gd name="connsiteX38" fmla="*/ 105425 w 602426"/>
              <a:gd name="connsiteY38" fmla="*/ 108588 h 110081"/>
              <a:gd name="connsiteX39" fmla="*/ 92278 w 602426"/>
              <a:gd name="connsiteY39" fmla="*/ 108588 h 110081"/>
              <a:gd name="connsiteX40" fmla="*/ 130374 w 602426"/>
              <a:gd name="connsiteY40" fmla="*/ 1493 h 110081"/>
              <a:gd name="connsiteX41" fmla="*/ 151290 w 602426"/>
              <a:gd name="connsiteY41" fmla="*/ 1493 h 110081"/>
              <a:gd name="connsiteX42" fmla="*/ 189685 w 602426"/>
              <a:gd name="connsiteY42" fmla="*/ 108588 h 110081"/>
              <a:gd name="connsiteX43" fmla="*/ 120962 w 602426"/>
              <a:gd name="connsiteY43" fmla="*/ 65278 h 110081"/>
              <a:gd name="connsiteX44" fmla="*/ 159208 w 602426"/>
              <a:gd name="connsiteY44" fmla="*/ 65278 h 110081"/>
              <a:gd name="connsiteX45" fmla="*/ 140085 w 602426"/>
              <a:gd name="connsiteY45" fmla="*/ 11947 h 110081"/>
              <a:gd name="connsiteX46" fmla="*/ 120962 w 602426"/>
              <a:gd name="connsiteY46" fmla="*/ 65278 h 110081"/>
              <a:gd name="connsiteX47" fmla="*/ 268330 w 602426"/>
              <a:gd name="connsiteY47" fmla="*/ 108588 h 110081"/>
              <a:gd name="connsiteX48" fmla="*/ 200056 w 602426"/>
              <a:gd name="connsiteY48" fmla="*/ 108588 h 110081"/>
              <a:gd name="connsiteX49" fmla="*/ 200056 w 602426"/>
              <a:gd name="connsiteY49" fmla="*/ 94400 h 110081"/>
              <a:gd name="connsiteX50" fmla="*/ 226200 w 602426"/>
              <a:gd name="connsiteY50" fmla="*/ 72433 h 110081"/>
              <a:gd name="connsiteX51" fmla="*/ 242186 w 602426"/>
              <a:gd name="connsiteY51" fmla="*/ 56628 h 110081"/>
              <a:gd name="connsiteX52" fmla="*/ 250253 w 602426"/>
              <a:gd name="connsiteY52" fmla="*/ 43933 h 110081"/>
              <a:gd name="connsiteX53" fmla="*/ 252644 w 602426"/>
              <a:gd name="connsiteY53" fmla="*/ 32109 h 110081"/>
              <a:gd name="connsiteX54" fmla="*/ 247116 w 602426"/>
              <a:gd name="connsiteY54" fmla="*/ 17610 h 110081"/>
              <a:gd name="connsiteX55" fmla="*/ 231877 w 602426"/>
              <a:gd name="connsiteY55" fmla="*/ 12383 h 110081"/>
              <a:gd name="connsiteX56" fmla="*/ 202894 w 602426"/>
              <a:gd name="connsiteY56" fmla="*/ 27194 h 110081"/>
              <a:gd name="connsiteX57" fmla="*/ 202894 w 602426"/>
              <a:gd name="connsiteY57" fmla="*/ 12134 h 110081"/>
              <a:gd name="connsiteX58" fmla="*/ 232325 w 602426"/>
              <a:gd name="connsiteY58" fmla="*/ 0 h 110081"/>
              <a:gd name="connsiteX59" fmla="*/ 257723 w 602426"/>
              <a:gd name="connsiteY59" fmla="*/ 8401 h 110081"/>
              <a:gd name="connsiteX60" fmla="*/ 267135 w 602426"/>
              <a:gd name="connsiteY60" fmla="*/ 30803 h 110081"/>
              <a:gd name="connsiteX61" fmla="*/ 264745 w 602426"/>
              <a:gd name="connsiteY61" fmla="*/ 44804 h 110081"/>
              <a:gd name="connsiteX62" fmla="*/ 256677 w 602426"/>
              <a:gd name="connsiteY62" fmla="*/ 58681 h 110081"/>
              <a:gd name="connsiteX63" fmla="*/ 240991 w 602426"/>
              <a:gd name="connsiteY63" fmla="*/ 74860 h 110081"/>
              <a:gd name="connsiteX64" fmla="*/ 215593 w 602426"/>
              <a:gd name="connsiteY64" fmla="*/ 95769 h 110081"/>
              <a:gd name="connsiteX65" fmla="*/ 268330 w 602426"/>
              <a:gd name="connsiteY65" fmla="*/ 95769 h 110081"/>
              <a:gd name="connsiteX66" fmla="*/ 268330 w 602426"/>
              <a:gd name="connsiteY66" fmla="*/ 108588 h 110081"/>
              <a:gd name="connsiteX67" fmla="*/ 287422 w 602426"/>
              <a:gd name="connsiteY67" fmla="*/ 1493 h 110081"/>
              <a:gd name="connsiteX68" fmla="*/ 352858 w 602426"/>
              <a:gd name="connsiteY68" fmla="*/ 1493 h 110081"/>
              <a:gd name="connsiteX69" fmla="*/ 352858 w 602426"/>
              <a:gd name="connsiteY69" fmla="*/ 14374 h 110081"/>
              <a:gd name="connsiteX70" fmla="*/ 301465 w 602426"/>
              <a:gd name="connsiteY70" fmla="*/ 14374 h 110081"/>
              <a:gd name="connsiteX71" fmla="*/ 301465 w 602426"/>
              <a:gd name="connsiteY71" fmla="*/ 49907 h 110081"/>
              <a:gd name="connsiteX72" fmla="*/ 345089 w 602426"/>
              <a:gd name="connsiteY72" fmla="*/ 49907 h 110081"/>
              <a:gd name="connsiteX73" fmla="*/ 345089 w 602426"/>
              <a:gd name="connsiteY73" fmla="*/ 62601 h 110081"/>
              <a:gd name="connsiteX74" fmla="*/ 301465 w 602426"/>
              <a:gd name="connsiteY74" fmla="*/ 62601 h 110081"/>
              <a:gd name="connsiteX75" fmla="*/ 301465 w 602426"/>
              <a:gd name="connsiteY75" fmla="*/ 108588 h 110081"/>
              <a:gd name="connsiteX76" fmla="*/ 287422 w 602426"/>
              <a:gd name="connsiteY76" fmla="*/ 108588 h 110081"/>
              <a:gd name="connsiteX77" fmla="*/ 287422 w 602426"/>
              <a:gd name="connsiteY77" fmla="*/ 1493 h 110081"/>
              <a:gd name="connsiteX78" fmla="*/ 372330 w 602426"/>
              <a:gd name="connsiteY78" fmla="*/ 1493 h 110081"/>
              <a:gd name="connsiteX79" fmla="*/ 437766 w 602426"/>
              <a:gd name="connsiteY79" fmla="*/ 1493 h 110081"/>
              <a:gd name="connsiteX80" fmla="*/ 437766 w 602426"/>
              <a:gd name="connsiteY80" fmla="*/ 14374 h 110081"/>
              <a:gd name="connsiteX81" fmla="*/ 386373 w 602426"/>
              <a:gd name="connsiteY81" fmla="*/ 14374 h 110081"/>
              <a:gd name="connsiteX82" fmla="*/ 386373 w 602426"/>
              <a:gd name="connsiteY82" fmla="*/ 49907 h 110081"/>
              <a:gd name="connsiteX83" fmla="*/ 429997 w 602426"/>
              <a:gd name="connsiteY83" fmla="*/ 49907 h 110081"/>
              <a:gd name="connsiteX84" fmla="*/ 429997 w 602426"/>
              <a:gd name="connsiteY84" fmla="*/ 62601 h 110081"/>
              <a:gd name="connsiteX85" fmla="*/ 386373 w 602426"/>
              <a:gd name="connsiteY85" fmla="*/ 62601 h 110081"/>
              <a:gd name="connsiteX86" fmla="*/ 386373 w 602426"/>
              <a:gd name="connsiteY86" fmla="*/ 108588 h 110081"/>
              <a:gd name="connsiteX87" fmla="*/ 372330 w 602426"/>
              <a:gd name="connsiteY87" fmla="*/ 108588 h 110081"/>
              <a:gd name="connsiteX88" fmla="*/ 372330 w 602426"/>
              <a:gd name="connsiteY88" fmla="*/ 1493 h 110081"/>
              <a:gd name="connsiteX89" fmla="*/ 522680 w 602426"/>
              <a:gd name="connsiteY89" fmla="*/ 73491 h 110081"/>
              <a:gd name="connsiteX90" fmla="*/ 517899 w 602426"/>
              <a:gd name="connsiteY90" fmla="*/ 92782 h 110081"/>
              <a:gd name="connsiteX91" fmla="*/ 505200 w 602426"/>
              <a:gd name="connsiteY91" fmla="*/ 105601 h 110081"/>
              <a:gd name="connsiteX92" fmla="*/ 487123 w 602426"/>
              <a:gd name="connsiteY92" fmla="*/ 110082 h 110081"/>
              <a:gd name="connsiteX93" fmla="*/ 465460 w 602426"/>
              <a:gd name="connsiteY93" fmla="*/ 104108 h 110081"/>
              <a:gd name="connsiteX94" fmla="*/ 453359 w 602426"/>
              <a:gd name="connsiteY94" fmla="*/ 87555 h 110081"/>
              <a:gd name="connsiteX95" fmla="*/ 449624 w 602426"/>
              <a:gd name="connsiteY95" fmla="*/ 63161 h 110081"/>
              <a:gd name="connsiteX96" fmla="*/ 454106 w 602426"/>
              <a:gd name="connsiteY96" fmla="*/ 30181 h 110081"/>
              <a:gd name="connsiteX97" fmla="*/ 468149 w 602426"/>
              <a:gd name="connsiteY97" fmla="*/ 8089 h 110081"/>
              <a:gd name="connsiteX98" fmla="*/ 492650 w 602426"/>
              <a:gd name="connsiteY98" fmla="*/ 0 h 110081"/>
              <a:gd name="connsiteX99" fmla="*/ 515210 w 602426"/>
              <a:gd name="connsiteY99" fmla="*/ 5538 h 110081"/>
              <a:gd name="connsiteX100" fmla="*/ 515210 w 602426"/>
              <a:gd name="connsiteY100" fmla="*/ 18855 h 110081"/>
              <a:gd name="connsiteX101" fmla="*/ 492650 w 602426"/>
              <a:gd name="connsiteY101" fmla="*/ 12259 h 110081"/>
              <a:gd name="connsiteX102" fmla="*/ 477113 w 602426"/>
              <a:gd name="connsiteY102" fmla="*/ 17361 h 110081"/>
              <a:gd name="connsiteX103" fmla="*/ 467253 w 602426"/>
              <a:gd name="connsiteY103" fmla="*/ 31238 h 110081"/>
              <a:gd name="connsiteX104" fmla="*/ 463070 w 602426"/>
              <a:gd name="connsiteY104" fmla="*/ 50778 h 110081"/>
              <a:gd name="connsiteX105" fmla="*/ 474424 w 602426"/>
              <a:gd name="connsiteY105" fmla="*/ 40759 h 110081"/>
              <a:gd name="connsiteX106" fmla="*/ 488467 w 602426"/>
              <a:gd name="connsiteY106" fmla="*/ 37523 h 110081"/>
              <a:gd name="connsiteX107" fmla="*/ 505797 w 602426"/>
              <a:gd name="connsiteY107" fmla="*/ 41693 h 110081"/>
              <a:gd name="connsiteX108" fmla="*/ 518048 w 602426"/>
              <a:gd name="connsiteY108" fmla="*/ 53952 h 110081"/>
              <a:gd name="connsiteX109" fmla="*/ 522680 w 602426"/>
              <a:gd name="connsiteY109" fmla="*/ 73491 h 110081"/>
              <a:gd name="connsiteX110" fmla="*/ 486675 w 602426"/>
              <a:gd name="connsiteY110" fmla="*/ 98134 h 110081"/>
              <a:gd name="connsiteX111" fmla="*/ 497431 w 602426"/>
              <a:gd name="connsiteY111" fmla="*/ 95458 h 110081"/>
              <a:gd name="connsiteX112" fmla="*/ 505349 w 602426"/>
              <a:gd name="connsiteY112" fmla="*/ 87244 h 110081"/>
              <a:gd name="connsiteX113" fmla="*/ 508487 w 602426"/>
              <a:gd name="connsiteY113" fmla="*/ 73803 h 110081"/>
              <a:gd name="connsiteX114" fmla="*/ 505499 w 602426"/>
              <a:gd name="connsiteY114" fmla="*/ 60174 h 110081"/>
              <a:gd name="connsiteX115" fmla="*/ 497880 w 602426"/>
              <a:gd name="connsiteY115" fmla="*/ 51961 h 110081"/>
              <a:gd name="connsiteX116" fmla="*/ 488169 w 602426"/>
              <a:gd name="connsiteY116" fmla="*/ 49160 h 110081"/>
              <a:gd name="connsiteX117" fmla="*/ 471586 w 602426"/>
              <a:gd name="connsiteY117" fmla="*/ 55570 h 110081"/>
              <a:gd name="connsiteX118" fmla="*/ 465012 w 602426"/>
              <a:gd name="connsiteY118" fmla="*/ 74114 h 110081"/>
              <a:gd name="connsiteX119" fmla="*/ 470839 w 602426"/>
              <a:gd name="connsiteY119" fmla="*/ 91538 h 110081"/>
              <a:gd name="connsiteX120" fmla="*/ 486675 w 602426"/>
              <a:gd name="connsiteY120" fmla="*/ 98134 h 110081"/>
              <a:gd name="connsiteX121" fmla="*/ 602427 w 602426"/>
              <a:gd name="connsiteY121" fmla="*/ 13628 h 110081"/>
              <a:gd name="connsiteX122" fmla="*/ 557010 w 602426"/>
              <a:gd name="connsiteY122" fmla="*/ 108588 h 110081"/>
              <a:gd name="connsiteX123" fmla="*/ 542369 w 602426"/>
              <a:gd name="connsiteY123" fmla="*/ 108588 h 110081"/>
              <a:gd name="connsiteX124" fmla="*/ 588084 w 602426"/>
              <a:gd name="connsiteY124" fmla="*/ 14374 h 110081"/>
              <a:gd name="connsiteX125" fmla="*/ 533555 w 602426"/>
              <a:gd name="connsiteY125" fmla="*/ 14374 h 110081"/>
              <a:gd name="connsiteX126" fmla="*/ 533555 w 602426"/>
              <a:gd name="connsiteY126" fmla="*/ 1493 h 110081"/>
              <a:gd name="connsiteX127" fmla="*/ 602427 w 602426"/>
              <a:gd name="connsiteY127" fmla="*/ 1493 h 110081"/>
              <a:gd name="connsiteX128" fmla="*/ 602427 w 602426"/>
              <a:gd name="connsiteY128" fmla="*/ 1362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</a:cxnLst>
            <a:rect l="l" t="t" r="r" b="b"/>
            <a:pathLst>
              <a:path w="60242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89685" y="108588"/>
                </a:moveTo>
                <a:lnTo>
                  <a:pt x="174745" y="108588"/>
                </a:lnTo>
                <a:lnTo>
                  <a:pt x="163690" y="77972"/>
                </a:lnTo>
                <a:lnTo>
                  <a:pt x="116331" y="77972"/>
                </a:lnTo>
                <a:lnTo>
                  <a:pt x="105425" y="108588"/>
                </a:lnTo>
                <a:lnTo>
                  <a:pt x="92278" y="108588"/>
                </a:lnTo>
                <a:lnTo>
                  <a:pt x="130374" y="1493"/>
                </a:lnTo>
                <a:lnTo>
                  <a:pt x="151290" y="1493"/>
                </a:lnTo>
                <a:lnTo>
                  <a:pt x="189685" y="108588"/>
                </a:lnTo>
                <a:close/>
                <a:moveTo>
                  <a:pt x="120962" y="65278"/>
                </a:moveTo>
                <a:lnTo>
                  <a:pt x="159208" y="65278"/>
                </a:lnTo>
                <a:lnTo>
                  <a:pt x="140085" y="11947"/>
                </a:lnTo>
                <a:lnTo>
                  <a:pt x="120962" y="65278"/>
                </a:lnTo>
                <a:close/>
                <a:moveTo>
                  <a:pt x="268330" y="108588"/>
                </a:moveTo>
                <a:lnTo>
                  <a:pt x="200056" y="108588"/>
                </a:lnTo>
                <a:lnTo>
                  <a:pt x="200056" y="94400"/>
                </a:lnTo>
                <a:cubicBezTo>
                  <a:pt x="210713" y="85812"/>
                  <a:pt x="219428" y="78532"/>
                  <a:pt x="226200" y="72433"/>
                </a:cubicBezTo>
                <a:cubicBezTo>
                  <a:pt x="233072" y="66397"/>
                  <a:pt x="238401" y="61108"/>
                  <a:pt x="242186" y="56628"/>
                </a:cubicBezTo>
                <a:cubicBezTo>
                  <a:pt x="246070" y="52023"/>
                  <a:pt x="248759" y="47791"/>
                  <a:pt x="250253" y="43933"/>
                </a:cubicBezTo>
                <a:cubicBezTo>
                  <a:pt x="251847" y="40012"/>
                  <a:pt x="252644" y="36092"/>
                  <a:pt x="252644" y="32109"/>
                </a:cubicBezTo>
                <a:cubicBezTo>
                  <a:pt x="252644" y="25949"/>
                  <a:pt x="250801" y="21095"/>
                  <a:pt x="247116" y="17610"/>
                </a:cubicBezTo>
                <a:cubicBezTo>
                  <a:pt x="243431" y="14125"/>
                  <a:pt x="238351" y="12383"/>
                  <a:pt x="231877" y="12383"/>
                </a:cubicBezTo>
                <a:cubicBezTo>
                  <a:pt x="221519" y="12383"/>
                  <a:pt x="211858" y="17361"/>
                  <a:pt x="202894" y="27194"/>
                </a:cubicBezTo>
                <a:lnTo>
                  <a:pt x="202894" y="12134"/>
                </a:lnTo>
                <a:cubicBezTo>
                  <a:pt x="211161" y="4044"/>
                  <a:pt x="220971" y="0"/>
                  <a:pt x="232325" y="0"/>
                </a:cubicBezTo>
                <a:cubicBezTo>
                  <a:pt x="243082" y="0"/>
                  <a:pt x="251548" y="2800"/>
                  <a:pt x="257723" y="8401"/>
                </a:cubicBezTo>
                <a:cubicBezTo>
                  <a:pt x="263998" y="13877"/>
                  <a:pt x="267135" y="21344"/>
                  <a:pt x="267135" y="30803"/>
                </a:cubicBezTo>
                <a:cubicBezTo>
                  <a:pt x="267135" y="35657"/>
                  <a:pt x="266338" y="40324"/>
                  <a:pt x="264745" y="44804"/>
                </a:cubicBezTo>
                <a:cubicBezTo>
                  <a:pt x="263251" y="49222"/>
                  <a:pt x="260562" y="53827"/>
                  <a:pt x="256677" y="58681"/>
                </a:cubicBezTo>
                <a:cubicBezTo>
                  <a:pt x="252892" y="63473"/>
                  <a:pt x="247664" y="68887"/>
                  <a:pt x="240991" y="74860"/>
                </a:cubicBezTo>
                <a:cubicBezTo>
                  <a:pt x="234317" y="80835"/>
                  <a:pt x="225852" y="87804"/>
                  <a:pt x="215593" y="95769"/>
                </a:cubicBezTo>
                <a:lnTo>
                  <a:pt x="268330" y="95769"/>
                </a:lnTo>
                <a:lnTo>
                  <a:pt x="268330" y="108588"/>
                </a:lnTo>
                <a:close/>
                <a:moveTo>
                  <a:pt x="287422" y="1493"/>
                </a:moveTo>
                <a:lnTo>
                  <a:pt x="352858" y="1493"/>
                </a:lnTo>
                <a:lnTo>
                  <a:pt x="352858" y="14374"/>
                </a:lnTo>
                <a:lnTo>
                  <a:pt x="301465" y="14374"/>
                </a:lnTo>
                <a:lnTo>
                  <a:pt x="301465" y="49907"/>
                </a:lnTo>
                <a:lnTo>
                  <a:pt x="345089" y="49907"/>
                </a:lnTo>
                <a:lnTo>
                  <a:pt x="345089" y="62601"/>
                </a:lnTo>
                <a:lnTo>
                  <a:pt x="301465" y="62601"/>
                </a:lnTo>
                <a:lnTo>
                  <a:pt x="301465" y="108588"/>
                </a:lnTo>
                <a:lnTo>
                  <a:pt x="287422" y="108588"/>
                </a:lnTo>
                <a:lnTo>
                  <a:pt x="287422" y="1493"/>
                </a:lnTo>
                <a:close/>
                <a:moveTo>
                  <a:pt x="372330" y="1493"/>
                </a:moveTo>
                <a:lnTo>
                  <a:pt x="437766" y="1493"/>
                </a:lnTo>
                <a:lnTo>
                  <a:pt x="437766" y="14374"/>
                </a:lnTo>
                <a:lnTo>
                  <a:pt x="386373" y="14374"/>
                </a:lnTo>
                <a:lnTo>
                  <a:pt x="386373" y="49907"/>
                </a:lnTo>
                <a:lnTo>
                  <a:pt x="429997" y="49907"/>
                </a:lnTo>
                <a:lnTo>
                  <a:pt x="429997" y="62601"/>
                </a:lnTo>
                <a:lnTo>
                  <a:pt x="386373" y="62601"/>
                </a:lnTo>
                <a:lnTo>
                  <a:pt x="386373" y="108588"/>
                </a:lnTo>
                <a:lnTo>
                  <a:pt x="372330" y="108588"/>
                </a:lnTo>
                <a:lnTo>
                  <a:pt x="372330" y="1493"/>
                </a:lnTo>
                <a:close/>
                <a:moveTo>
                  <a:pt x="522680" y="73491"/>
                </a:moveTo>
                <a:cubicBezTo>
                  <a:pt x="522680" y="80772"/>
                  <a:pt x="521086" y="87182"/>
                  <a:pt x="517899" y="92782"/>
                </a:cubicBezTo>
                <a:cubicBezTo>
                  <a:pt x="514811" y="98258"/>
                  <a:pt x="510578" y="102490"/>
                  <a:pt x="505200" y="105601"/>
                </a:cubicBezTo>
                <a:cubicBezTo>
                  <a:pt x="499822" y="108588"/>
                  <a:pt x="493796" y="110082"/>
                  <a:pt x="487123" y="110082"/>
                </a:cubicBezTo>
                <a:cubicBezTo>
                  <a:pt x="478159" y="110082"/>
                  <a:pt x="470938" y="108091"/>
                  <a:pt x="465460" y="104108"/>
                </a:cubicBezTo>
                <a:cubicBezTo>
                  <a:pt x="459982" y="100125"/>
                  <a:pt x="455948" y="94587"/>
                  <a:pt x="453359" y="87555"/>
                </a:cubicBezTo>
                <a:cubicBezTo>
                  <a:pt x="450869" y="80461"/>
                  <a:pt x="449624" y="72372"/>
                  <a:pt x="449624" y="63161"/>
                </a:cubicBezTo>
                <a:cubicBezTo>
                  <a:pt x="449624" y="50653"/>
                  <a:pt x="451118" y="39639"/>
                  <a:pt x="454106" y="30181"/>
                </a:cubicBezTo>
                <a:cubicBezTo>
                  <a:pt x="457194" y="20722"/>
                  <a:pt x="461875" y="13379"/>
                  <a:pt x="468149" y="8089"/>
                </a:cubicBezTo>
                <a:cubicBezTo>
                  <a:pt x="474524" y="2675"/>
                  <a:pt x="482691" y="0"/>
                  <a:pt x="492650" y="0"/>
                </a:cubicBezTo>
                <a:cubicBezTo>
                  <a:pt x="501216" y="0"/>
                  <a:pt x="508736" y="1866"/>
                  <a:pt x="515210" y="5538"/>
                </a:cubicBezTo>
                <a:lnTo>
                  <a:pt x="515210" y="18855"/>
                </a:lnTo>
                <a:cubicBezTo>
                  <a:pt x="508736" y="14437"/>
                  <a:pt x="501216" y="12259"/>
                  <a:pt x="492650" y="12259"/>
                </a:cubicBezTo>
                <a:cubicBezTo>
                  <a:pt x="486475" y="12259"/>
                  <a:pt x="481296" y="13939"/>
                  <a:pt x="477113" y="17361"/>
                </a:cubicBezTo>
                <a:cubicBezTo>
                  <a:pt x="472930" y="20722"/>
                  <a:pt x="469643" y="25327"/>
                  <a:pt x="467253" y="31238"/>
                </a:cubicBezTo>
                <a:cubicBezTo>
                  <a:pt x="464962" y="37026"/>
                  <a:pt x="463568" y="43498"/>
                  <a:pt x="463070" y="50778"/>
                </a:cubicBezTo>
                <a:cubicBezTo>
                  <a:pt x="466356" y="46298"/>
                  <a:pt x="470141" y="42999"/>
                  <a:pt x="474424" y="40759"/>
                </a:cubicBezTo>
                <a:cubicBezTo>
                  <a:pt x="478707" y="38581"/>
                  <a:pt x="483388" y="37523"/>
                  <a:pt x="488467" y="37523"/>
                </a:cubicBezTo>
                <a:cubicBezTo>
                  <a:pt x="494941" y="37523"/>
                  <a:pt x="500718" y="38893"/>
                  <a:pt x="505797" y="41693"/>
                </a:cubicBezTo>
                <a:cubicBezTo>
                  <a:pt x="510977" y="44493"/>
                  <a:pt x="515060" y="48538"/>
                  <a:pt x="518048" y="53952"/>
                </a:cubicBezTo>
                <a:cubicBezTo>
                  <a:pt x="521135" y="59179"/>
                  <a:pt x="522680" y="65713"/>
                  <a:pt x="522680" y="73491"/>
                </a:cubicBezTo>
                <a:close/>
                <a:moveTo>
                  <a:pt x="486675" y="98134"/>
                </a:moveTo>
                <a:cubicBezTo>
                  <a:pt x="490559" y="98134"/>
                  <a:pt x="494144" y="97263"/>
                  <a:pt x="497431" y="95458"/>
                </a:cubicBezTo>
                <a:cubicBezTo>
                  <a:pt x="500718" y="93529"/>
                  <a:pt x="503357" y="90791"/>
                  <a:pt x="505349" y="87244"/>
                </a:cubicBezTo>
                <a:cubicBezTo>
                  <a:pt x="507441" y="83635"/>
                  <a:pt x="508487" y="79154"/>
                  <a:pt x="508487" y="73803"/>
                </a:cubicBezTo>
                <a:cubicBezTo>
                  <a:pt x="508487" y="68389"/>
                  <a:pt x="507491" y="63908"/>
                  <a:pt x="505499" y="60174"/>
                </a:cubicBezTo>
                <a:cubicBezTo>
                  <a:pt x="503507" y="56503"/>
                  <a:pt x="500967" y="53765"/>
                  <a:pt x="497880" y="51961"/>
                </a:cubicBezTo>
                <a:cubicBezTo>
                  <a:pt x="494792" y="50093"/>
                  <a:pt x="491555" y="49160"/>
                  <a:pt x="488169" y="49160"/>
                </a:cubicBezTo>
                <a:cubicBezTo>
                  <a:pt x="481595" y="49160"/>
                  <a:pt x="476067" y="51276"/>
                  <a:pt x="471586" y="55570"/>
                </a:cubicBezTo>
                <a:cubicBezTo>
                  <a:pt x="467203" y="59739"/>
                  <a:pt x="465012" y="65900"/>
                  <a:pt x="465012" y="74114"/>
                </a:cubicBezTo>
                <a:cubicBezTo>
                  <a:pt x="465012" y="81270"/>
                  <a:pt x="466954" y="87058"/>
                  <a:pt x="470839" y="91538"/>
                </a:cubicBezTo>
                <a:cubicBezTo>
                  <a:pt x="474723" y="95956"/>
                  <a:pt x="480002" y="98134"/>
                  <a:pt x="486675" y="98134"/>
                </a:cubicBezTo>
                <a:close/>
                <a:moveTo>
                  <a:pt x="602427" y="13628"/>
                </a:moveTo>
                <a:lnTo>
                  <a:pt x="557010" y="108588"/>
                </a:lnTo>
                <a:lnTo>
                  <a:pt x="542369" y="108588"/>
                </a:lnTo>
                <a:lnTo>
                  <a:pt x="588084" y="14374"/>
                </a:lnTo>
                <a:lnTo>
                  <a:pt x="533555" y="14374"/>
                </a:lnTo>
                <a:lnTo>
                  <a:pt x="533555" y="1493"/>
                </a:lnTo>
                <a:lnTo>
                  <a:pt x="602427" y="1493"/>
                </a:lnTo>
                <a:lnTo>
                  <a:pt x="602427" y="1362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3" name="Полилиния 1032">
            <a:extLst>
              <a:ext uri="{FF2B5EF4-FFF2-40B4-BE49-F238E27FC236}">
                <a16:creationId xmlns:a16="http://schemas.microsoft.com/office/drawing/2014/main" id="{2FE08E30-BF7E-A9B6-8649-E8801B41F745}"/>
              </a:ext>
            </a:extLst>
          </p:cNvPr>
          <p:cNvSpPr/>
          <p:nvPr userDrawn="1"/>
        </p:nvSpPr>
        <p:spPr>
          <a:xfrm>
            <a:off x="15359119" y="8144980"/>
            <a:ext cx="1398954" cy="726227"/>
          </a:xfrm>
          <a:custGeom>
            <a:avLst/>
            <a:gdLst>
              <a:gd name="connsiteX0" fmla="*/ 425 w 1198727"/>
              <a:gd name="connsiteY0" fmla="*/ 1622 h 622284"/>
              <a:gd name="connsiteX1" fmla="*/ 1199153 w 1198727"/>
              <a:gd name="connsiteY1" fmla="*/ 1622 h 622284"/>
              <a:gd name="connsiteX2" fmla="*/ 1199153 w 1198727"/>
              <a:gd name="connsiteY2" fmla="*/ 623906 h 622284"/>
              <a:gd name="connsiteX3" fmla="*/ 425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622"/>
                </a:moveTo>
                <a:lnTo>
                  <a:pt x="1199153" y="1622"/>
                </a:lnTo>
                <a:lnTo>
                  <a:pt x="1199153" y="623906"/>
                </a:lnTo>
                <a:lnTo>
                  <a:pt x="425" y="623906"/>
                </a:lnTo>
                <a:close/>
              </a:path>
            </a:pathLst>
          </a:custGeom>
          <a:solidFill>
            <a:srgbClr val="BDFF9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4" name="Полилиния 1033">
            <a:extLst>
              <a:ext uri="{FF2B5EF4-FFF2-40B4-BE49-F238E27FC236}">
                <a16:creationId xmlns:a16="http://schemas.microsoft.com/office/drawing/2014/main" id="{CB9E2445-89E0-3CEC-FC2F-A00064E08AEA}"/>
              </a:ext>
            </a:extLst>
          </p:cNvPr>
          <p:cNvSpPr/>
          <p:nvPr userDrawn="1"/>
        </p:nvSpPr>
        <p:spPr>
          <a:xfrm>
            <a:off x="15482328" y="8446726"/>
            <a:ext cx="731725" cy="128468"/>
          </a:xfrm>
          <a:custGeom>
            <a:avLst/>
            <a:gdLst>
              <a:gd name="connsiteX0" fmla="*/ 22111 w 626996"/>
              <a:gd name="connsiteY0" fmla="*/ 108588 h 110081"/>
              <a:gd name="connsiteX1" fmla="*/ 10159 w 626996"/>
              <a:gd name="connsiteY1" fmla="*/ 108588 h 110081"/>
              <a:gd name="connsiteX2" fmla="*/ 16434 w 626996"/>
              <a:gd name="connsiteY2" fmla="*/ 77661 h 110081"/>
              <a:gd name="connsiteX3" fmla="*/ 0 w 626996"/>
              <a:gd name="connsiteY3" fmla="*/ 77661 h 110081"/>
              <a:gd name="connsiteX4" fmla="*/ 0 w 626996"/>
              <a:gd name="connsiteY4" fmla="*/ 67206 h 110081"/>
              <a:gd name="connsiteX5" fmla="*/ 18675 w 626996"/>
              <a:gd name="connsiteY5" fmla="*/ 67206 h 110081"/>
              <a:gd name="connsiteX6" fmla="*/ 24202 w 626996"/>
              <a:gd name="connsiteY6" fmla="*/ 40012 h 110081"/>
              <a:gd name="connsiteX7" fmla="*/ 4034 w 626996"/>
              <a:gd name="connsiteY7" fmla="*/ 40012 h 110081"/>
              <a:gd name="connsiteX8" fmla="*/ 4034 w 626996"/>
              <a:gd name="connsiteY8" fmla="*/ 29559 h 110081"/>
              <a:gd name="connsiteX9" fmla="*/ 26294 w 626996"/>
              <a:gd name="connsiteY9" fmla="*/ 29559 h 110081"/>
              <a:gd name="connsiteX10" fmla="*/ 32120 w 626996"/>
              <a:gd name="connsiteY10" fmla="*/ 1493 h 110081"/>
              <a:gd name="connsiteX11" fmla="*/ 44072 w 626996"/>
              <a:gd name="connsiteY11" fmla="*/ 1493 h 110081"/>
              <a:gd name="connsiteX12" fmla="*/ 38246 w 626996"/>
              <a:gd name="connsiteY12" fmla="*/ 29559 h 110081"/>
              <a:gd name="connsiteX13" fmla="*/ 60655 w 626996"/>
              <a:gd name="connsiteY13" fmla="*/ 29559 h 110081"/>
              <a:gd name="connsiteX14" fmla="*/ 66482 w 626996"/>
              <a:gd name="connsiteY14" fmla="*/ 1493 h 110081"/>
              <a:gd name="connsiteX15" fmla="*/ 78434 w 626996"/>
              <a:gd name="connsiteY15" fmla="*/ 1493 h 110081"/>
              <a:gd name="connsiteX16" fmla="*/ 72607 w 626996"/>
              <a:gd name="connsiteY16" fmla="*/ 29559 h 110081"/>
              <a:gd name="connsiteX17" fmla="*/ 89340 w 626996"/>
              <a:gd name="connsiteY17" fmla="*/ 29559 h 110081"/>
              <a:gd name="connsiteX18" fmla="*/ 89340 w 626996"/>
              <a:gd name="connsiteY18" fmla="*/ 40012 h 110081"/>
              <a:gd name="connsiteX19" fmla="*/ 70515 w 626996"/>
              <a:gd name="connsiteY19" fmla="*/ 40012 h 110081"/>
              <a:gd name="connsiteX20" fmla="*/ 64988 w 626996"/>
              <a:gd name="connsiteY20" fmla="*/ 67206 h 110081"/>
              <a:gd name="connsiteX21" fmla="*/ 85306 w 626996"/>
              <a:gd name="connsiteY21" fmla="*/ 67206 h 110081"/>
              <a:gd name="connsiteX22" fmla="*/ 85306 w 626996"/>
              <a:gd name="connsiteY22" fmla="*/ 77661 h 110081"/>
              <a:gd name="connsiteX23" fmla="*/ 62747 w 626996"/>
              <a:gd name="connsiteY23" fmla="*/ 77661 h 110081"/>
              <a:gd name="connsiteX24" fmla="*/ 56472 w 626996"/>
              <a:gd name="connsiteY24" fmla="*/ 108588 h 110081"/>
              <a:gd name="connsiteX25" fmla="*/ 44520 w 626996"/>
              <a:gd name="connsiteY25" fmla="*/ 108588 h 110081"/>
              <a:gd name="connsiteX26" fmla="*/ 50795 w 626996"/>
              <a:gd name="connsiteY26" fmla="*/ 77661 h 110081"/>
              <a:gd name="connsiteX27" fmla="*/ 28386 w 626996"/>
              <a:gd name="connsiteY27" fmla="*/ 77661 h 110081"/>
              <a:gd name="connsiteX28" fmla="*/ 22111 w 626996"/>
              <a:gd name="connsiteY28" fmla="*/ 108588 h 110081"/>
              <a:gd name="connsiteX29" fmla="*/ 30626 w 626996"/>
              <a:gd name="connsiteY29" fmla="*/ 67206 h 110081"/>
              <a:gd name="connsiteX30" fmla="*/ 53036 w 626996"/>
              <a:gd name="connsiteY30" fmla="*/ 67206 h 110081"/>
              <a:gd name="connsiteX31" fmla="*/ 58564 w 626996"/>
              <a:gd name="connsiteY31" fmla="*/ 40012 h 110081"/>
              <a:gd name="connsiteX32" fmla="*/ 36154 w 626996"/>
              <a:gd name="connsiteY32" fmla="*/ 40012 h 110081"/>
              <a:gd name="connsiteX33" fmla="*/ 30626 w 626996"/>
              <a:gd name="connsiteY33" fmla="*/ 67206 h 110081"/>
              <a:gd name="connsiteX34" fmla="*/ 107821 w 626996"/>
              <a:gd name="connsiteY34" fmla="*/ 1493 h 110081"/>
              <a:gd name="connsiteX35" fmla="*/ 144125 w 626996"/>
              <a:gd name="connsiteY35" fmla="*/ 1493 h 110081"/>
              <a:gd name="connsiteX36" fmla="*/ 170867 w 626996"/>
              <a:gd name="connsiteY36" fmla="*/ 7467 h 110081"/>
              <a:gd name="connsiteX37" fmla="*/ 180130 w 626996"/>
              <a:gd name="connsiteY37" fmla="*/ 27629 h 110081"/>
              <a:gd name="connsiteX38" fmla="*/ 174303 w 626996"/>
              <a:gd name="connsiteY38" fmla="*/ 45116 h 110081"/>
              <a:gd name="connsiteX39" fmla="*/ 158766 w 626996"/>
              <a:gd name="connsiteY39" fmla="*/ 53018 h 110081"/>
              <a:gd name="connsiteX40" fmla="*/ 177590 w 626996"/>
              <a:gd name="connsiteY40" fmla="*/ 60361 h 110081"/>
              <a:gd name="connsiteX41" fmla="*/ 184014 w 626996"/>
              <a:gd name="connsiteY41" fmla="*/ 77661 h 110081"/>
              <a:gd name="connsiteX42" fmla="*/ 178785 w 626996"/>
              <a:gd name="connsiteY42" fmla="*/ 95583 h 110081"/>
              <a:gd name="connsiteX43" fmla="*/ 164443 w 626996"/>
              <a:gd name="connsiteY43" fmla="*/ 105601 h 110081"/>
              <a:gd name="connsiteX44" fmla="*/ 143826 w 626996"/>
              <a:gd name="connsiteY44" fmla="*/ 108588 h 110081"/>
              <a:gd name="connsiteX45" fmla="*/ 107821 w 626996"/>
              <a:gd name="connsiteY45" fmla="*/ 108588 h 110081"/>
              <a:gd name="connsiteX46" fmla="*/ 107821 w 626996"/>
              <a:gd name="connsiteY46" fmla="*/ 1493 h 110081"/>
              <a:gd name="connsiteX47" fmla="*/ 143079 w 626996"/>
              <a:gd name="connsiteY47" fmla="*/ 47231 h 110081"/>
              <a:gd name="connsiteX48" fmla="*/ 159513 w 626996"/>
              <a:gd name="connsiteY48" fmla="*/ 42751 h 110081"/>
              <a:gd name="connsiteX49" fmla="*/ 165937 w 626996"/>
              <a:gd name="connsiteY49" fmla="*/ 28376 h 110081"/>
              <a:gd name="connsiteX50" fmla="*/ 160260 w 626996"/>
              <a:gd name="connsiteY50" fmla="*/ 17361 h 110081"/>
              <a:gd name="connsiteX51" fmla="*/ 144125 w 626996"/>
              <a:gd name="connsiteY51" fmla="*/ 14374 h 110081"/>
              <a:gd name="connsiteX52" fmla="*/ 121865 w 626996"/>
              <a:gd name="connsiteY52" fmla="*/ 14374 h 110081"/>
              <a:gd name="connsiteX53" fmla="*/ 121865 w 626996"/>
              <a:gd name="connsiteY53" fmla="*/ 47231 h 110081"/>
              <a:gd name="connsiteX54" fmla="*/ 143079 w 626996"/>
              <a:gd name="connsiteY54" fmla="*/ 47231 h 110081"/>
              <a:gd name="connsiteX55" fmla="*/ 143826 w 626996"/>
              <a:gd name="connsiteY55" fmla="*/ 95893 h 110081"/>
              <a:gd name="connsiteX56" fmla="*/ 162202 w 626996"/>
              <a:gd name="connsiteY56" fmla="*/ 92035 h 110081"/>
              <a:gd name="connsiteX57" fmla="*/ 169224 w 626996"/>
              <a:gd name="connsiteY57" fmla="*/ 77972 h 110081"/>
              <a:gd name="connsiteX58" fmla="*/ 162650 w 626996"/>
              <a:gd name="connsiteY58" fmla="*/ 63908 h 110081"/>
              <a:gd name="connsiteX59" fmla="*/ 142183 w 626996"/>
              <a:gd name="connsiteY59" fmla="*/ 59926 h 110081"/>
              <a:gd name="connsiteX60" fmla="*/ 121865 w 626996"/>
              <a:gd name="connsiteY60" fmla="*/ 59926 h 110081"/>
              <a:gd name="connsiteX61" fmla="*/ 121865 w 626996"/>
              <a:gd name="connsiteY61" fmla="*/ 95893 h 110081"/>
              <a:gd name="connsiteX62" fmla="*/ 143826 w 626996"/>
              <a:gd name="connsiteY62" fmla="*/ 95893 h 110081"/>
              <a:gd name="connsiteX63" fmla="*/ 204114 w 626996"/>
              <a:gd name="connsiteY63" fmla="*/ 1493 h 110081"/>
              <a:gd name="connsiteX64" fmla="*/ 240119 w 626996"/>
              <a:gd name="connsiteY64" fmla="*/ 1493 h 110081"/>
              <a:gd name="connsiteX65" fmla="*/ 260138 w 626996"/>
              <a:gd name="connsiteY65" fmla="*/ 4044 h 110081"/>
              <a:gd name="connsiteX66" fmla="*/ 276273 w 626996"/>
              <a:gd name="connsiteY66" fmla="*/ 12383 h 110081"/>
              <a:gd name="connsiteX67" fmla="*/ 287030 w 626996"/>
              <a:gd name="connsiteY67" fmla="*/ 27629 h 110081"/>
              <a:gd name="connsiteX68" fmla="*/ 290914 w 626996"/>
              <a:gd name="connsiteY68" fmla="*/ 51401 h 110081"/>
              <a:gd name="connsiteX69" fmla="*/ 284042 w 626996"/>
              <a:gd name="connsiteY69" fmla="*/ 83075 h 110081"/>
              <a:gd name="connsiteX70" fmla="*/ 265517 w 626996"/>
              <a:gd name="connsiteY70" fmla="*/ 102179 h 110081"/>
              <a:gd name="connsiteX71" fmla="*/ 238476 w 626996"/>
              <a:gd name="connsiteY71" fmla="*/ 108588 h 110081"/>
              <a:gd name="connsiteX72" fmla="*/ 204114 w 626996"/>
              <a:gd name="connsiteY72" fmla="*/ 108588 h 110081"/>
              <a:gd name="connsiteX73" fmla="*/ 204114 w 626996"/>
              <a:gd name="connsiteY73" fmla="*/ 1493 h 110081"/>
              <a:gd name="connsiteX74" fmla="*/ 238476 w 626996"/>
              <a:gd name="connsiteY74" fmla="*/ 95893 h 110081"/>
              <a:gd name="connsiteX75" fmla="*/ 257897 w 626996"/>
              <a:gd name="connsiteY75" fmla="*/ 91413 h 110081"/>
              <a:gd name="connsiteX76" fmla="*/ 270895 w 626996"/>
              <a:gd name="connsiteY76" fmla="*/ 77225 h 110081"/>
              <a:gd name="connsiteX77" fmla="*/ 275676 w 626996"/>
              <a:gd name="connsiteY77" fmla="*/ 52458 h 110081"/>
              <a:gd name="connsiteX78" fmla="*/ 271044 w 626996"/>
              <a:gd name="connsiteY78" fmla="*/ 29122 h 110081"/>
              <a:gd name="connsiteX79" fmla="*/ 258345 w 626996"/>
              <a:gd name="connsiteY79" fmla="*/ 17610 h 110081"/>
              <a:gd name="connsiteX80" fmla="*/ 240119 w 626996"/>
              <a:gd name="connsiteY80" fmla="*/ 14374 h 110081"/>
              <a:gd name="connsiteX81" fmla="*/ 218158 w 626996"/>
              <a:gd name="connsiteY81" fmla="*/ 14374 h 110081"/>
              <a:gd name="connsiteX82" fmla="*/ 218158 w 626996"/>
              <a:gd name="connsiteY82" fmla="*/ 95893 h 110081"/>
              <a:gd name="connsiteX83" fmla="*/ 238476 w 626996"/>
              <a:gd name="connsiteY83" fmla="*/ 95893 h 110081"/>
              <a:gd name="connsiteX84" fmla="*/ 309595 w 626996"/>
              <a:gd name="connsiteY84" fmla="*/ 1493 h 110081"/>
              <a:gd name="connsiteX85" fmla="*/ 375031 w 626996"/>
              <a:gd name="connsiteY85" fmla="*/ 1493 h 110081"/>
              <a:gd name="connsiteX86" fmla="*/ 375031 w 626996"/>
              <a:gd name="connsiteY86" fmla="*/ 14374 h 110081"/>
              <a:gd name="connsiteX87" fmla="*/ 323639 w 626996"/>
              <a:gd name="connsiteY87" fmla="*/ 14374 h 110081"/>
              <a:gd name="connsiteX88" fmla="*/ 323639 w 626996"/>
              <a:gd name="connsiteY88" fmla="*/ 49907 h 110081"/>
              <a:gd name="connsiteX89" fmla="*/ 367263 w 626996"/>
              <a:gd name="connsiteY89" fmla="*/ 49907 h 110081"/>
              <a:gd name="connsiteX90" fmla="*/ 367263 w 626996"/>
              <a:gd name="connsiteY90" fmla="*/ 62601 h 110081"/>
              <a:gd name="connsiteX91" fmla="*/ 323639 w 626996"/>
              <a:gd name="connsiteY91" fmla="*/ 62601 h 110081"/>
              <a:gd name="connsiteX92" fmla="*/ 323639 w 626996"/>
              <a:gd name="connsiteY92" fmla="*/ 108588 h 110081"/>
              <a:gd name="connsiteX93" fmla="*/ 309595 w 626996"/>
              <a:gd name="connsiteY93" fmla="*/ 108588 h 110081"/>
              <a:gd name="connsiteX94" fmla="*/ 309595 w 626996"/>
              <a:gd name="connsiteY94" fmla="*/ 1493 h 110081"/>
              <a:gd name="connsiteX95" fmla="*/ 394509 w 626996"/>
              <a:gd name="connsiteY95" fmla="*/ 1493 h 110081"/>
              <a:gd name="connsiteX96" fmla="*/ 459945 w 626996"/>
              <a:gd name="connsiteY96" fmla="*/ 1493 h 110081"/>
              <a:gd name="connsiteX97" fmla="*/ 459945 w 626996"/>
              <a:gd name="connsiteY97" fmla="*/ 14374 h 110081"/>
              <a:gd name="connsiteX98" fmla="*/ 408552 w 626996"/>
              <a:gd name="connsiteY98" fmla="*/ 14374 h 110081"/>
              <a:gd name="connsiteX99" fmla="*/ 408552 w 626996"/>
              <a:gd name="connsiteY99" fmla="*/ 49907 h 110081"/>
              <a:gd name="connsiteX100" fmla="*/ 452176 w 626996"/>
              <a:gd name="connsiteY100" fmla="*/ 49907 h 110081"/>
              <a:gd name="connsiteX101" fmla="*/ 452176 w 626996"/>
              <a:gd name="connsiteY101" fmla="*/ 62601 h 110081"/>
              <a:gd name="connsiteX102" fmla="*/ 408552 w 626996"/>
              <a:gd name="connsiteY102" fmla="*/ 62601 h 110081"/>
              <a:gd name="connsiteX103" fmla="*/ 408552 w 626996"/>
              <a:gd name="connsiteY103" fmla="*/ 108588 h 110081"/>
              <a:gd name="connsiteX104" fmla="*/ 394509 w 626996"/>
              <a:gd name="connsiteY104" fmla="*/ 108588 h 110081"/>
              <a:gd name="connsiteX105" fmla="*/ 394509 w 626996"/>
              <a:gd name="connsiteY105" fmla="*/ 1493 h 110081"/>
              <a:gd name="connsiteX106" fmla="*/ 471803 w 626996"/>
              <a:gd name="connsiteY106" fmla="*/ 35844 h 110081"/>
              <a:gd name="connsiteX107" fmla="*/ 476435 w 626996"/>
              <a:gd name="connsiteY107" fmla="*/ 17051 h 110081"/>
              <a:gd name="connsiteX108" fmla="*/ 489283 w 626996"/>
              <a:gd name="connsiteY108" fmla="*/ 4480 h 110081"/>
              <a:gd name="connsiteX109" fmla="*/ 507360 w 626996"/>
              <a:gd name="connsiteY109" fmla="*/ 0 h 110081"/>
              <a:gd name="connsiteX110" fmla="*/ 529023 w 626996"/>
              <a:gd name="connsiteY110" fmla="*/ 5849 h 110081"/>
              <a:gd name="connsiteX111" fmla="*/ 541124 w 626996"/>
              <a:gd name="connsiteY111" fmla="*/ 21842 h 110081"/>
              <a:gd name="connsiteX112" fmla="*/ 544859 w 626996"/>
              <a:gd name="connsiteY112" fmla="*/ 45426 h 110081"/>
              <a:gd name="connsiteX113" fmla="*/ 540227 w 626996"/>
              <a:gd name="connsiteY113" fmla="*/ 80088 h 110081"/>
              <a:gd name="connsiteX114" fmla="*/ 525885 w 626996"/>
              <a:gd name="connsiteY114" fmla="*/ 102303 h 110081"/>
              <a:gd name="connsiteX115" fmla="*/ 501384 w 626996"/>
              <a:gd name="connsiteY115" fmla="*/ 110082 h 110081"/>
              <a:gd name="connsiteX116" fmla="*/ 478377 w 626996"/>
              <a:gd name="connsiteY116" fmla="*/ 104543 h 110081"/>
              <a:gd name="connsiteX117" fmla="*/ 478377 w 626996"/>
              <a:gd name="connsiteY117" fmla="*/ 91413 h 110081"/>
              <a:gd name="connsiteX118" fmla="*/ 501384 w 626996"/>
              <a:gd name="connsiteY118" fmla="*/ 98010 h 110081"/>
              <a:gd name="connsiteX119" fmla="*/ 516922 w 626996"/>
              <a:gd name="connsiteY119" fmla="*/ 92907 h 110081"/>
              <a:gd name="connsiteX120" fmla="*/ 526632 w 626996"/>
              <a:gd name="connsiteY120" fmla="*/ 79154 h 110081"/>
              <a:gd name="connsiteX121" fmla="*/ 530965 w 626996"/>
              <a:gd name="connsiteY121" fmla="*/ 59739 h 110081"/>
              <a:gd name="connsiteX122" fmla="*/ 519909 w 626996"/>
              <a:gd name="connsiteY122" fmla="*/ 68389 h 110081"/>
              <a:gd name="connsiteX123" fmla="*/ 506015 w 626996"/>
              <a:gd name="connsiteY123" fmla="*/ 71127 h 110081"/>
              <a:gd name="connsiteX124" fmla="*/ 488685 w 626996"/>
              <a:gd name="connsiteY124" fmla="*/ 67082 h 110081"/>
              <a:gd name="connsiteX125" fmla="*/ 476285 w 626996"/>
              <a:gd name="connsiteY125" fmla="*/ 55134 h 110081"/>
              <a:gd name="connsiteX126" fmla="*/ 471803 w 626996"/>
              <a:gd name="connsiteY126" fmla="*/ 35844 h 110081"/>
              <a:gd name="connsiteX127" fmla="*/ 507808 w 626996"/>
              <a:gd name="connsiteY127" fmla="*/ 12134 h 110081"/>
              <a:gd name="connsiteX128" fmla="*/ 497052 w 626996"/>
              <a:gd name="connsiteY128" fmla="*/ 14810 h 110081"/>
              <a:gd name="connsiteX129" fmla="*/ 488984 w 626996"/>
              <a:gd name="connsiteY129" fmla="*/ 22589 h 110081"/>
              <a:gd name="connsiteX130" fmla="*/ 485996 w 626996"/>
              <a:gd name="connsiteY130" fmla="*/ 35532 h 110081"/>
              <a:gd name="connsiteX131" fmla="*/ 488984 w 626996"/>
              <a:gd name="connsiteY131" fmla="*/ 48725 h 110081"/>
              <a:gd name="connsiteX132" fmla="*/ 496603 w 626996"/>
              <a:gd name="connsiteY132" fmla="*/ 56752 h 110081"/>
              <a:gd name="connsiteX133" fmla="*/ 506314 w 626996"/>
              <a:gd name="connsiteY133" fmla="*/ 59428 h 110081"/>
              <a:gd name="connsiteX134" fmla="*/ 522748 w 626996"/>
              <a:gd name="connsiteY134" fmla="*/ 53329 h 110081"/>
              <a:gd name="connsiteX135" fmla="*/ 529471 w 626996"/>
              <a:gd name="connsiteY135" fmla="*/ 35283 h 110081"/>
              <a:gd name="connsiteX136" fmla="*/ 523644 w 626996"/>
              <a:gd name="connsiteY136" fmla="*/ 18544 h 110081"/>
              <a:gd name="connsiteX137" fmla="*/ 507808 w 626996"/>
              <a:gd name="connsiteY137" fmla="*/ 12134 h 110081"/>
              <a:gd name="connsiteX138" fmla="*/ 612505 w 626996"/>
              <a:gd name="connsiteY138" fmla="*/ 108588 h 110081"/>
              <a:gd name="connsiteX139" fmla="*/ 599358 w 626996"/>
              <a:gd name="connsiteY139" fmla="*/ 108588 h 110081"/>
              <a:gd name="connsiteX140" fmla="*/ 599358 w 626996"/>
              <a:gd name="connsiteY140" fmla="*/ 83199 h 110081"/>
              <a:gd name="connsiteX141" fmla="*/ 553045 w 626996"/>
              <a:gd name="connsiteY141" fmla="*/ 83199 h 110081"/>
              <a:gd name="connsiteX142" fmla="*/ 553045 w 626996"/>
              <a:gd name="connsiteY142" fmla="*/ 73927 h 110081"/>
              <a:gd name="connsiteX143" fmla="*/ 594876 w 626996"/>
              <a:gd name="connsiteY143" fmla="*/ 1493 h 110081"/>
              <a:gd name="connsiteX144" fmla="*/ 612505 w 626996"/>
              <a:gd name="connsiteY144" fmla="*/ 1493 h 110081"/>
              <a:gd name="connsiteX145" fmla="*/ 612505 w 626996"/>
              <a:gd name="connsiteY145" fmla="*/ 71873 h 110081"/>
              <a:gd name="connsiteX146" fmla="*/ 626996 w 626996"/>
              <a:gd name="connsiteY146" fmla="*/ 71873 h 110081"/>
              <a:gd name="connsiteX147" fmla="*/ 626996 w 626996"/>
              <a:gd name="connsiteY147" fmla="*/ 83199 h 110081"/>
              <a:gd name="connsiteX148" fmla="*/ 612505 w 626996"/>
              <a:gd name="connsiteY148" fmla="*/ 83199 h 110081"/>
              <a:gd name="connsiteX149" fmla="*/ 612505 w 626996"/>
              <a:gd name="connsiteY149" fmla="*/ 108588 h 110081"/>
              <a:gd name="connsiteX150" fmla="*/ 566640 w 626996"/>
              <a:gd name="connsiteY150" fmla="*/ 71873 h 110081"/>
              <a:gd name="connsiteX151" fmla="*/ 599358 w 626996"/>
              <a:gd name="connsiteY151" fmla="*/ 71873 h 110081"/>
              <a:gd name="connsiteX152" fmla="*/ 599358 w 626996"/>
              <a:gd name="connsiteY152" fmla="*/ 16117 h 110081"/>
              <a:gd name="connsiteX153" fmla="*/ 566640 w 626996"/>
              <a:gd name="connsiteY153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2699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1" y="1493"/>
                </a:moveTo>
                <a:lnTo>
                  <a:pt x="144125" y="1493"/>
                </a:lnTo>
                <a:cubicBezTo>
                  <a:pt x="155878" y="1493"/>
                  <a:pt x="164792" y="3484"/>
                  <a:pt x="170867" y="7467"/>
                </a:cubicBezTo>
                <a:cubicBezTo>
                  <a:pt x="177042" y="11450"/>
                  <a:pt x="180130" y="18170"/>
                  <a:pt x="180130" y="27629"/>
                </a:cubicBezTo>
                <a:cubicBezTo>
                  <a:pt x="180130" y="35283"/>
                  <a:pt x="178188" y="41133"/>
                  <a:pt x="174303" y="45116"/>
                </a:cubicBezTo>
                <a:cubicBezTo>
                  <a:pt x="170419" y="48974"/>
                  <a:pt x="165240" y="51649"/>
                  <a:pt x="158766" y="53018"/>
                </a:cubicBezTo>
                <a:cubicBezTo>
                  <a:pt x="167032" y="54014"/>
                  <a:pt x="173307" y="56441"/>
                  <a:pt x="177590" y="60361"/>
                </a:cubicBezTo>
                <a:cubicBezTo>
                  <a:pt x="181873" y="64157"/>
                  <a:pt x="184014" y="69882"/>
                  <a:pt x="184014" y="77661"/>
                </a:cubicBezTo>
                <a:cubicBezTo>
                  <a:pt x="184014" y="85066"/>
                  <a:pt x="182271" y="91040"/>
                  <a:pt x="178785" y="95583"/>
                </a:cubicBezTo>
                <a:cubicBezTo>
                  <a:pt x="175299" y="100188"/>
                  <a:pt x="170518" y="103486"/>
                  <a:pt x="164443" y="105601"/>
                </a:cubicBezTo>
                <a:cubicBezTo>
                  <a:pt x="158367" y="107592"/>
                  <a:pt x="151495" y="108588"/>
                  <a:pt x="143826" y="108588"/>
                </a:cubicBezTo>
                <a:lnTo>
                  <a:pt x="107821" y="108588"/>
                </a:lnTo>
                <a:lnTo>
                  <a:pt x="107821" y="1493"/>
                </a:lnTo>
                <a:close/>
                <a:moveTo>
                  <a:pt x="143079" y="47231"/>
                </a:moveTo>
                <a:cubicBezTo>
                  <a:pt x="149852" y="47231"/>
                  <a:pt x="155330" y="45738"/>
                  <a:pt x="159513" y="42751"/>
                </a:cubicBezTo>
                <a:cubicBezTo>
                  <a:pt x="163796" y="39639"/>
                  <a:pt x="165937" y="34848"/>
                  <a:pt x="165937" y="28376"/>
                </a:cubicBezTo>
                <a:cubicBezTo>
                  <a:pt x="165937" y="22900"/>
                  <a:pt x="164045" y="19228"/>
                  <a:pt x="160260" y="17361"/>
                </a:cubicBezTo>
                <a:cubicBezTo>
                  <a:pt x="156475" y="15370"/>
                  <a:pt x="151097" y="14374"/>
                  <a:pt x="144125" y="14374"/>
                </a:cubicBezTo>
                <a:lnTo>
                  <a:pt x="121865" y="14374"/>
                </a:lnTo>
                <a:lnTo>
                  <a:pt x="121865" y="47231"/>
                </a:lnTo>
                <a:lnTo>
                  <a:pt x="143079" y="47231"/>
                </a:lnTo>
                <a:close/>
                <a:moveTo>
                  <a:pt x="143826" y="95893"/>
                </a:moveTo>
                <a:cubicBezTo>
                  <a:pt x="151396" y="95893"/>
                  <a:pt x="157521" y="94587"/>
                  <a:pt x="162202" y="92035"/>
                </a:cubicBezTo>
                <a:cubicBezTo>
                  <a:pt x="166883" y="89422"/>
                  <a:pt x="169224" y="84755"/>
                  <a:pt x="169224" y="77972"/>
                </a:cubicBezTo>
                <a:cubicBezTo>
                  <a:pt x="169224" y="71189"/>
                  <a:pt x="167032" y="66522"/>
                  <a:pt x="162650" y="63908"/>
                </a:cubicBezTo>
                <a:cubicBezTo>
                  <a:pt x="158367" y="61233"/>
                  <a:pt x="151545" y="59926"/>
                  <a:pt x="142183" y="59926"/>
                </a:cubicBezTo>
                <a:lnTo>
                  <a:pt x="121865" y="59926"/>
                </a:lnTo>
                <a:lnTo>
                  <a:pt x="121865" y="95893"/>
                </a:lnTo>
                <a:lnTo>
                  <a:pt x="143826" y="95893"/>
                </a:lnTo>
                <a:close/>
                <a:moveTo>
                  <a:pt x="204114" y="1493"/>
                </a:moveTo>
                <a:lnTo>
                  <a:pt x="240119" y="1493"/>
                </a:lnTo>
                <a:cubicBezTo>
                  <a:pt x="247290" y="1493"/>
                  <a:pt x="253963" y="2365"/>
                  <a:pt x="260138" y="4044"/>
                </a:cubicBezTo>
                <a:cubicBezTo>
                  <a:pt x="266313" y="5725"/>
                  <a:pt x="271692" y="8525"/>
                  <a:pt x="276273" y="12383"/>
                </a:cubicBezTo>
                <a:cubicBezTo>
                  <a:pt x="280855" y="16179"/>
                  <a:pt x="284440" y="21282"/>
                  <a:pt x="287030" y="27629"/>
                </a:cubicBezTo>
                <a:cubicBezTo>
                  <a:pt x="289619" y="34039"/>
                  <a:pt x="290914" y="41942"/>
                  <a:pt x="290914" y="51401"/>
                </a:cubicBezTo>
                <a:cubicBezTo>
                  <a:pt x="290914" y="63908"/>
                  <a:pt x="288623" y="74487"/>
                  <a:pt x="284042" y="83075"/>
                </a:cubicBezTo>
                <a:cubicBezTo>
                  <a:pt x="279560" y="91538"/>
                  <a:pt x="273385" y="97885"/>
                  <a:pt x="265517" y="102179"/>
                </a:cubicBezTo>
                <a:cubicBezTo>
                  <a:pt x="257648" y="106473"/>
                  <a:pt x="248635" y="108588"/>
                  <a:pt x="238476" y="108588"/>
                </a:cubicBezTo>
                <a:lnTo>
                  <a:pt x="204114" y="108588"/>
                </a:lnTo>
                <a:lnTo>
                  <a:pt x="204114" y="1493"/>
                </a:lnTo>
                <a:close/>
                <a:moveTo>
                  <a:pt x="238476" y="95893"/>
                </a:moveTo>
                <a:cubicBezTo>
                  <a:pt x="245846" y="95893"/>
                  <a:pt x="252320" y="94400"/>
                  <a:pt x="257897" y="91413"/>
                </a:cubicBezTo>
                <a:cubicBezTo>
                  <a:pt x="263475" y="88302"/>
                  <a:pt x="267807" y="83572"/>
                  <a:pt x="270895" y="77225"/>
                </a:cubicBezTo>
                <a:cubicBezTo>
                  <a:pt x="274082" y="70754"/>
                  <a:pt x="275676" y="62477"/>
                  <a:pt x="275676" y="52458"/>
                </a:cubicBezTo>
                <a:cubicBezTo>
                  <a:pt x="275676" y="42377"/>
                  <a:pt x="274132" y="34599"/>
                  <a:pt x="271044" y="29122"/>
                </a:cubicBezTo>
                <a:cubicBezTo>
                  <a:pt x="267957" y="23646"/>
                  <a:pt x="263724" y="19851"/>
                  <a:pt x="258345" y="17610"/>
                </a:cubicBezTo>
                <a:cubicBezTo>
                  <a:pt x="253067" y="15433"/>
                  <a:pt x="246991" y="14374"/>
                  <a:pt x="240119" y="14374"/>
                </a:cubicBezTo>
                <a:lnTo>
                  <a:pt x="218158" y="14374"/>
                </a:lnTo>
                <a:lnTo>
                  <a:pt x="218158" y="95893"/>
                </a:lnTo>
                <a:lnTo>
                  <a:pt x="238476" y="95893"/>
                </a:lnTo>
                <a:close/>
                <a:moveTo>
                  <a:pt x="309595" y="1493"/>
                </a:moveTo>
                <a:lnTo>
                  <a:pt x="375031" y="1493"/>
                </a:lnTo>
                <a:lnTo>
                  <a:pt x="375031" y="14374"/>
                </a:lnTo>
                <a:lnTo>
                  <a:pt x="323639" y="14374"/>
                </a:lnTo>
                <a:lnTo>
                  <a:pt x="323639" y="49907"/>
                </a:lnTo>
                <a:lnTo>
                  <a:pt x="367263" y="49907"/>
                </a:lnTo>
                <a:lnTo>
                  <a:pt x="367263" y="62601"/>
                </a:lnTo>
                <a:lnTo>
                  <a:pt x="323639" y="62601"/>
                </a:lnTo>
                <a:lnTo>
                  <a:pt x="323639" y="108588"/>
                </a:lnTo>
                <a:lnTo>
                  <a:pt x="309595" y="108588"/>
                </a:lnTo>
                <a:lnTo>
                  <a:pt x="309595" y="1493"/>
                </a:lnTo>
                <a:close/>
                <a:moveTo>
                  <a:pt x="394509" y="1493"/>
                </a:moveTo>
                <a:lnTo>
                  <a:pt x="459945" y="1493"/>
                </a:lnTo>
                <a:lnTo>
                  <a:pt x="459945" y="14374"/>
                </a:lnTo>
                <a:lnTo>
                  <a:pt x="408552" y="14374"/>
                </a:lnTo>
                <a:lnTo>
                  <a:pt x="408552" y="49907"/>
                </a:lnTo>
                <a:lnTo>
                  <a:pt x="452176" y="49907"/>
                </a:lnTo>
                <a:lnTo>
                  <a:pt x="452176" y="62601"/>
                </a:lnTo>
                <a:lnTo>
                  <a:pt x="408552" y="62601"/>
                </a:lnTo>
                <a:lnTo>
                  <a:pt x="408552" y="108588"/>
                </a:lnTo>
                <a:lnTo>
                  <a:pt x="394509" y="108588"/>
                </a:lnTo>
                <a:lnTo>
                  <a:pt x="394509" y="1493"/>
                </a:lnTo>
                <a:close/>
                <a:moveTo>
                  <a:pt x="471803" y="35844"/>
                </a:moveTo>
                <a:cubicBezTo>
                  <a:pt x="471803" y="28687"/>
                  <a:pt x="473347" y="22402"/>
                  <a:pt x="476435" y="17051"/>
                </a:cubicBezTo>
                <a:cubicBezTo>
                  <a:pt x="479622" y="11637"/>
                  <a:pt x="483905" y="7467"/>
                  <a:pt x="489283" y="4480"/>
                </a:cubicBezTo>
                <a:cubicBezTo>
                  <a:pt x="494661" y="1493"/>
                  <a:pt x="500687" y="0"/>
                  <a:pt x="507360" y="0"/>
                </a:cubicBezTo>
                <a:cubicBezTo>
                  <a:pt x="516324" y="0"/>
                  <a:pt x="523545" y="1929"/>
                  <a:pt x="529023" y="5849"/>
                </a:cubicBezTo>
                <a:cubicBezTo>
                  <a:pt x="534600" y="9645"/>
                  <a:pt x="538634" y="14934"/>
                  <a:pt x="541124" y="21842"/>
                </a:cubicBezTo>
                <a:cubicBezTo>
                  <a:pt x="543614" y="28563"/>
                  <a:pt x="544859" y="36466"/>
                  <a:pt x="544859" y="45426"/>
                </a:cubicBezTo>
                <a:cubicBezTo>
                  <a:pt x="544859" y="58868"/>
                  <a:pt x="543315" y="70380"/>
                  <a:pt x="540227" y="80088"/>
                </a:cubicBezTo>
                <a:cubicBezTo>
                  <a:pt x="537140" y="89733"/>
                  <a:pt x="532359" y="97138"/>
                  <a:pt x="525885" y="102303"/>
                </a:cubicBezTo>
                <a:cubicBezTo>
                  <a:pt x="519511" y="107468"/>
                  <a:pt x="511344" y="110082"/>
                  <a:pt x="501384" y="110082"/>
                </a:cubicBezTo>
                <a:cubicBezTo>
                  <a:pt x="492420" y="110082"/>
                  <a:pt x="484751" y="108215"/>
                  <a:pt x="478377" y="104543"/>
                </a:cubicBezTo>
                <a:lnTo>
                  <a:pt x="478377" y="91413"/>
                </a:lnTo>
                <a:cubicBezTo>
                  <a:pt x="485150" y="95769"/>
                  <a:pt x="492819" y="98010"/>
                  <a:pt x="501384" y="98010"/>
                </a:cubicBezTo>
                <a:cubicBezTo>
                  <a:pt x="507559" y="98010"/>
                  <a:pt x="512738" y="96267"/>
                  <a:pt x="516922" y="92907"/>
                </a:cubicBezTo>
                <a:cubicBezTo>
                  <a:pt x="521105" y="89546"/>
                  <a:pt x="524341" y="84941"/>
                  <a:pt x="526632" y="79154"/>
                </a:cubicBezTo>
                <a:cubicBezTo>
                  <a:pt x="529023" y="73367"/>
                  <a:pt x="530467" y="66896"/>
                  <a:pt x="530965" y="59739"/>
                </a:cubicBezTo>
                <a:cubicBezTo>
                  <a:pt x="527877" y="63660"/>
                  <a:pt x="524192" y="66522"/>
                  <a:pt x="519909" y="68389"/>
                </a:cubicBezTo>
                <a:cubicBezTo>
                  <a:pt x="515627" y="70193"/>
                  <a:pt x="510995" y="71127"/>
                  <a:pt x="506015" y="71127"/>
                </a:cubicBezTo>
                <a:cubicBezTo>
                  <a:pt x="499641" y="71127"/>
                  <a:pt x="493864" y="69758"/>
                  <a:pt x="488685" y="67082"/>
                </a:cubicBezTo>
                <a:cubicBezTo>
                  <a:pt x="483506" y="64406"/>
                  <a:pt x="479373" y="60424"/>
                  <a:pt x="476285" y="55134"/>
                </a:cubicBezTo>
                <a:cubicBezTo>
                  <a:pt x="473297" y="49845"/>
                  <a:pt x="471803" y="43435"/>
                  <a:pt x="471803" y="35844"/>
                </a:cubicBezTo>
                <a:close/>
                <a:moveTo>
                  <a:pt x="507808" y="12134"/>
                </a:moveTo>
                <a:cubicBezTo>
                  <a:pt x="504023" y="12134"/>
                  <a:pt x="500438" y="13006"/>
                  <a:pt x="497052" y="14810"/>
                </a:cubicBezTo>
                <a:cubicBezTo>
                  <a:pt x="493765" y="16490"/>
                  <a:pt x="491076" y="19104"/>
                  <a:pt x="488984" y="22589"/>
                </a:cubicBezTo>
                <a:cubicBezTo>
                  <a:pt x="486992" y="25949"/>
                  <a:pt x="485996" y="30305"/>
                  <a:pt x="485996" y="35532"/>
                </a:cubicBezTo>
                <a:cubicBezTo>
                  <a:pt x="485996" y="40759"/>
                  <a:pt x="486992" y="45116"/>
                  <a:pt x="488984" y="48725"/>
                </a:cubicBezTo>
                <a:cubicBezTo>
                  <a:pt x="490976" y="52271"/>
                  <a:pt x="493516" y="54947"/>
                  <a:pt x="496603" y="56752"/>
                </a:cubicBezTo>
                <a:cubicBezTo>
                  <a:pt x="499691" y="58556"/>
                  <a:pt x="502928" y="59428"/>
                  <a:pt x="506314" y="59428"/>
                </a:cubicBezTo>
                <a:cubicBezTo>
                  <a:pt x="512888" y="59428"/>
                  <a:pt x="518366" y="57437"/>
                  <a:pt x="522748" y="53329"/>
                </a:cubicBezTo>
                <a:cubicBezTo>
                  <a:pt x="527230" y="49160"/>
                  <a:pt x="529471" y="43124"/>
                  <a:pt x="529471" y="35283"/>
                </a:cubicBezTo>
                <a:cubicBezTo>
                  <a:pt x="529471" y="28313"/>
                  <a:pt x="527529" y="22713"/>
                  <a:pt x="523644" y="18544"/>
                </a:cubicBezTo>
                <a:cubicBezTo>
                  <a:pt x="519760" y="14250"/>
                  <a:pt x="514481" y="12134"/>
                  <a:pt x="507808" y="12134"/>
                </a:cubicBezTo>
                <a:close/>
                <a:moveTo>
                  <a:pt x="612505" y="108588"/>
                </a:moveTo>
                <a:lnTo>
                  <a:pt x="599358" y="108588"/>
                </a:lnTo>
                <a:lnTo>
                  <a:pt x="599358" y="83199"/>
                </a:lnTo>
                <a:lnTo>
                  <a:pt x="553045" y="83199"/>
                </a:lnTo>
                <a:lnTo>
                  <a:pt x="553045" y="73927"/>
                </a:lnTo>
                <a:lnTo>
                  <a:pt x="594876" y="1493"/>
                </a:lnTo>
                <a:lnTo>
                  <a:pt x="612505" y="1493"/>
                </a:lnTo>
                <a:lnTo>
                  <a:pt x="612505" y="71873"/>
                </a:lnTo>
                <a:lnTo>
                  <a:pt x="626996" y="71873"/>
                </a:lnTo>
                <a:lnTo>
                  <a:pt x="626996" y="83199"/>
                </a:lnTo>
                <a:lnTo>
                  <a:pt x="612505" y="83199"/>
                </a:lnTo>
                <a:lnTo>
                  <a:pt x="612505" y="108588"/>
                </a:lnTo>
                <a:close/>
                <a:moveTo>
                  <a:pt x="566640" y="71873"/>
                </a:moveTo>
                <a:lnTo>
                  <a:pt x="599358" y="71873"/>
                </a:lnTo>
                <a:lnTo>
                  <a:pt x="599358" y="16117"/>
                </a:lnTo>
                <a:lnTo>
                  <a:pt x="566640" y="7187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5" name="Полилиния 1034">
            <a:extLst>
              <a:ext uri="{FF2B5EF4-FFF2-40B4-BE49-F238E27FC236}">
                <a16:creationId xmlns:a16="http://schemas.microsoft.com/office/drawing/2014/main" id="{F768954D-431C-B406-B32C-FE21A523501E}"/>
              </a:ext>
            </a:extLst>
          </p:cNvPr>
          <p:cNvSpPr/>
          <p:nvPr userDrawn="1"/>
        </p:nvSpPr>
        <p:spPr>
          <a:xfrm>
            <a:off x="15359119" y="8871205"/>
            <a:ext cx="1398954" cy="726227"/>
          </a:xfrm>
          <a:custGeom>
            <a:avLst/>
            <a:gdLst>
              <a:gd name="connsiteX0" fmla="*/ 425 w 1198727"/>
              <a:gd name="connsiteY0" fmla="*/ 1722 h 622284"/>
              <a:gd name="connsiteX1" fmla="*/ 1199153 w 1198727"/>
              <a:gd name="connsiteY1" fmla="*/ 1722 h 622284"/>
              <a:gd name="connsiteX2" fmla="*/ 1199153 w 1198727"/>
              <a:gd name="connsiteY2" fmla="*/ 624006 h 622284"/>
              <a:gd name="connsiteX3" fmla="*/ 425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722"/>
                </a:moveTo>
                <a:lnTo>
                  <a:pt x="1199153" y="1722"/>
                </a:lnTo>
                <a:lnTo>
                  <a:pt x="1199153" y="624006"/>
                </a:lnTo>
                <a:lnTo>
                  <a:pt x="425" y="624006"/>
                </a:lnTo>
                <a:close/>
              </a:path>
            </a:pathLst>
          </a:custGeom>
          <a:solidFill>
            <a:srgbClr val="D1FF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6" name="Полилиния 1035">
            <a:extLst>
              <a:ext uri="{FF2B5EF4-FFF2-40B4-BE49-F238E27FC236}">
                <a16:creationId xmlns:a16="http://schemas.microsoft.com/office/drawing/2014/main" id="{C4F5890E-A982-B620-FCE3-2547E222CD86}"/>
              </a:ext>
            </a:extLst>
          </p:cNvPr>
          <p:cNvSpPr/>
          <p:nvPr userDrawn="1"/>
        </p:nvSpPr>
        <p:spPr>
          <a:xfrm>
            <a:off x="15482328" y="9174695"/>
            <a:ext cx="731725" cy="124982"/>
          </a:xfrm>
          <a:custGeom>
            <a:avLst/>
            <a:gdLst>
              <a:gd name="connsiteX0" fmla="*/ 22111 w 626996"/>
              <a:gd name="connsiteY0" fmla="*/ 107095 h 107094"/>
              <a:gd name="connsiteX1" fmla="*/ 10159 w 626996"/>
              <a:gd name="connsiteY1" fmla="*/ 107095 h 107094"/>
              <a:gd name="connsiteX2" fmla="*/ 16434 w 626996"/>
              <a:gd name="connsiteY2" fmla="*/ 76168 h 107094"/>
              <a:gd name="connsiteX3" fmla="*/ 0 w 626996"/>
              <a:gd name="connsiteY3" fmla="*/ 76168 h 107094"/>
              <a:gd name="connsiteX4" fmla="*/ 0 w 626996"/>
              <a:gd name="connsiteY4" fmla="*/ 65713 h 107094"/>
              <a:gd name="connsiteX5" fmla="*/ 18675 w 626996"/>
              <a:gd name="connsiteY5" fmla="*/ 65713 h 107094"/>
              <a:gd name="connsiteX6" fmla="*/ 24202 w 626996"/>
              <a:gd name="connsiteY6" fmla="*/ 38519 h 107094"/>
              <a:gd name="connsiteX7" fmla="*/ 4034 w 626996"/>
              <a:gd name="connsiteY7" fmla="*/ 38519 h 107094"/>
              <a:gd name="connsiteX8" fmla="*/ 4034 w 626996"/>
              <a:gd name="connsiteY8" fmla="*/ 28065 h 107094"/>
              <a:gd name="connsiteX9" fmla="*/ 26294 w 626996"/>
              <a:gd name="connsiteY9" fmla="*/ 28065 h 107094"/>
              <a:gd name="connsiteX10" fmla="*/ 32120 w 626996"/>
              <a:gd name="connsiteY10" fmla="*/ 0 h 107094"/>
              <a:gd name="connsiteX11" fmla="*/ 44072 w 626996"/>
              <a:gd name="connsiteY11" fmla="*/ 0 h 107094"/>
              <a:gd name="connsiteX12" fmla="*/ 38246 w 626996"/>
              <a:gd name="connsiteY12" fmla="*/ 28065 h 107094"/>
              <a:gd name="connsiteX13" fmla="*/ 60655 w 626996"/>
              <a:gd name="connsiteY13" fmla="*/ 28065 h 107094"/>
              <a:gd name="connsiteX14" fmla="*/ 66482 w 626996"/>
              <a:gd name="connsiteY14" fmla="*/ 0 h 107094"/>
              <a:gd name="connsiteX15" fmla="*/ 78434 w 626996"/>
              <a:gd name="connsiteY15" fmla="*/ 0 h 107094"/>
              <a:gd name="connsiteX16" fmla="*/ 72607 w 626996"/>
              <a:gd name="connsiteY16" fmla="*/ 28065 h 107094"/>
              <a:gd name="connsiteX17" fmla="*/ 89340 w 626996"/>
              <a:gd name="connsiteY17" fmla="*/ 28065 h 107094"/>
              <a:gd name="connsiteX18" fmla="*/ 89340 w 626996"/>
              <a:gd name="connsiteY18" fmla="*/ 38519 h 107094"/>
              <a:gd name="connsiteX19" fmla="*/ 70515 w 626996"/>
              <a:gd name="connsiteY19" fmla="*/ 38519 h 107094"/>
              <a:gd name="connsiteX20" fmla="*/ 64988 w 626996"/>
              <a:gd name="connsiteY20" fmla="*/ 65713 h 107094"/>
              <a:gd name="connsiteX21" fmla="*/ 85306 w 626996"/>
              <a:gd name="connsiteY21" fmla="*/ 65713 h 107094"/>
              <a:gd name="connsiteX22" fmla="*/ 85306 w 626996"/>
              <a:gd name="connsiteY22" fmla="*/ 76168 h 107094"/>
              <a:gd name="connsiteX23" fmla="*/ 62747 w 626996"/>
              <a:gd name="connsiteY23" fmla="*/ 76168 h 107094"/>
              <a:gd name="connsiteX24" fmla="*/ 56472 w 626996"/>
              <a:gd name="connsiteY24" fmla="*/ 107095 h 107094"/>
              <a:gd name="connsiteX25" fmla="*/ 44520 w 626996"/>
              <a:gd name="connsiteY25" fmla="*/ 107095 h 107094"/>
              <a:gd name="connsiteX26" fmla="*/ 50795 w 626996"/>
              <a:gd name="connsiteY26" fmla="*/ 76168 h 107094"/>
              <a:gd name="connsiteX27" fmla="*/ 28386 w 626996"/>
              <a:gd name="connsiteY27" fmla="*/ 76168 h 107094"/>
              <a:gd name="connsiteX28" fmla="*/ 22111 w 626996"/>
              <a:gd name="connsiteY28" fmla="*/ 107095 h 107094"/>
              <a:gd name="connsiteX29" fmla="*/ 30626 w 626996"/>
              <a:gd name="connsiteY29" fmla="*/ 65713 h 107094"/>
              <a:gd name="connsiteX30" fmla="*/ 53036 w 626996"/>
              <a:gd name="connsiteY30" fmla="*/ 65713 h 107094"/>
              <a:gd name="connsiteX31" fmla="*/ 58564 w 626996"/>
              <a:gd name="connsiteY31" fmla="*/ 38519 h 107094"/>
              <a:gd name="connsiteX32" fmla="*/ 36154 w 626996"/>
              <a:gd name="connsiteY32" fmla="*/ 38519 h 107094"/>
              <a:gd name="connsiteX33" fmla="*/ 30626 w 626996"/>
              <a:gd name="connsiteY33" fmla="*/ 65713 h 107094"/>
              <a:gd name="connsiteX34" fmla="*/ 107821 w 626996"/>
              <a:gd name="connsiteY34" fmla="*/ 0 h 107094"/>
              <a:gd name="connsiteX35" fmla="*/ 143826 w 626996"/>
              <a:gd name="connsiteY35" fmla="*/ 0 h 107094"/>
              <a:gd name="connsiteX36" fmla="*/ 163845 w 626996"/>
              <a:gd name="connsiteY36" fmla="*/ 2551 h 107094"/>
              <a:gd name="connsiteX37" fmla="*/ 179980 w 626996"/>
              <a:gd name="connsiteY37" fmla="*/ 10890 h 107094"/>
              <a:gd name="connsiteX38" fmla="*/ 190737 w 626996"/>
              <a:gd name="connsiteY38" fmla="*/ 26136 h 107094"/>
              <a:gd name="connsiteX39" fmla="*/ 194621 w 626996"/>
              <a:gd name="connsiteY39" fmla="*/ 49907 h 107094"/>
              <a:gd name="connsiteX40" fmla="*/ 187749 w 626996"/>
              <a:gd name="connsiteY40" fmla="*/ 81581 h 107094"/>
              <a:gd name="connsiteX41" fmla="*/ 169224 w 626996"/>
              <a:gd name="connsiteY41" fmla="*/ 100685 h 107094"/>
              <a:gd name="connsiteX42" fmla="*/ 142183 w 626996"/>
              <a:gd name="connsiteY42" fmla="*/ 107095 h 107094"/>
              <a:gd name="connsiteX43" fmla="*/ 107821 w 626996"/>
              <a:gd name="connsiteY43" fmla="*/ 107095 h 107094"/>
              <a:gd name="connsiteX44" fmla="*/ 107821 w 626996"/>
              <a:gd name="connsiteY44" fmla="*/ 0 h 107094"/>
              <a:gd name="connsiteX45" fmla="*/ 142183 w 626996"/>
              <a:gd name="connsiteY45" fmla="*/ 94400 h 107094"/>
              <a:gd name="connsiteX46" fmla="*/ 161604 w 626996"/>
              <a:gd name="connsiteY46" fmla="*/ 89920 h 107094"/>
              <a:gd name="connsiteX47" fmla="*/ 174602 w 626996"/>
              <a:gd name="connsiteY47" fmla="*/ 75732 h 107094"/>
              <a:gd name="connsiteX48" fmla="*/ 179383 w 626996"/>
              <a:gd name="connsiteY48" fmla="*/ 50965 h 107094"/>
              <a:gd name="connsiteX49" fmla="*/ 174751 w 626996"/>
              <a:gd name="connsiteY49" fmla="*/ 27629 h 107094"/>
              <a:gd name="connsiteX50" fmla="*/ 162053 w 626996"/>
              <a:gd name="connsiteY50" fmla="*/ 16117 h 107094"/>
              <a:gd name="connsiteX51" fmla="*/ 143826 w 626996"/>
              <a:gd name="connsiteY51" fmla="*/ 12881 h 107094"/>
              <a:gd name="connsiteX52" fmla="*/ 121865 w 626996"/>
              <a:gd name="connsiteY52" fmla="*/ 12881 h 107094"/>
              <a:gd name="connsiteX53" fmla="*/ 121865 w 626996"/>
              <a:gd name="connsiteY53" fmla="*/ 94400 h 107094"/>
              <a:gd name="connsiteX54" fmla="*/ 142183 w 626996"/>
              <a:gd name="connsiteY54" fmla="*/ 94400 h 107094"/>
              <a:gd name="connsiteX55" fmla="*/ 256335 w 626996"/>
              <a:gd name="connsiteY55" fmla="*/ 107095 h 107094"/>
              <a:gd name="connsiteX56" fmla="*/ 242740 w 626996"/>
              <a:gd name="connsiteY56" fmla="*/ 107095 h 107094"/>
              <a:gd name="connsiteX57" fmla="*/ 242740 w 626996"/>
              <a:gd name="connsiteY57" fmla="*/ 16864 h 107094"/>
              <a:gd name="connsiteX58" fmla="*/ 213159 w 626996"/>
              <a:gd name="connsiteY58" fmla="*/ 39577 h 107094"/>
              <a:gd name="connsiteX59" fmla="*/ 213159 w 626996"/>
              <a:gd name="connsiteY59" fmla="*/ 24518 h 107094"/>
              <a:gd name="connsiteX60" fmla="*/ 244981 w 626996"/>
              <a:gd name="connsiteY60" fmla="*/ 0 h 107094"/>
              <a:gd name="connsiteX61" fmla="*/ 256335 w 626996"/>
              <a:gd name="connsiteY61" fmla="*/ 0 h 107094"/>
              <a:gd name="connsiteX62" fmla="*/ 256335 w 626996"/>
              <a:gd name="connsiteY62" fmla="*/ 107095 h 107094"/>
              <a:gd name="connsiteX63" fmla="*/ 295446 w 626996"/>
              <a:gd name="connsiteY63" fmla="*/ 0 h 107094"/>
              <a:gd name="connsiteX64" fmla="*/ 360882 w 626996"/>
              <a:gd name="connsiteY64" fmla="*/ 0 h 107094"/>
              <a:gd name="connsiteX65" fmla="*/ 360882 w 626996"/>
              <a:gd name="connsiteY65" fmla="*/ 12881 h 107094"/>
              <a:gd name="connsiteX66" fmla="*/ 309489 w 626996"/>
              <a:gd name="connsiteY66" fmla="*/ 12881 h 107094"/>
              <a:gd name="connsiteX67" fmla="*/ 309489 w 626996"/>
              <a:gd name="connsiteY67" fmla="*/ 48413 h 107094"/>
              <a:gd name="connsiteX68" fmla="*/ 353113 w 626996"/>
              <a:gd name="connsiteY68" fmla="*/ 48413 h 107094"/>
              <a:gd name="connsiteX69" fmla="*/ 353113 w 626996"/>
              <a:gd name="connsiteY69" fmla="*/ 61108 h 107094"/>
              <a:gd name="connsiteX70" fmla="*/ 309489 w 626996"/>
              <a:gd name="connsiteY70" fmla="*/ 61108 h 107094"/>
              <a:gd name="connsiteX71" fmla="*/ 309489 w 626996"/>
              <a:gd name="connsiteY71" fmla="*/ 107095 h 107094"/>
              <a:gd name="connsiteX72" fmla="*/ 295446 w 626996"/>
              <a:gd name="connsiteY72" fmla="*/ 107095 h 107094"/>
              <a:gd name="connsiteX73" fmla="*/ 295446 w 626996"/>
              <a:gd name="connsiteY73" fmla="*/ 0 h 107094"/>
              <a:gd name="connsiteX74" fmla="*/ 380360 w 626996"/>
              <a:gd name="connsiteY74" fmla="*/ 0 h 107094"/>
              <a:gd name="connsiteX75" fmla="*/ 445796 w 626996"/>
              <a:gd name="connsiteY75" fmla="*/ 0 h 107094"/>
              <a:gd name="connsiteX76" fmla="*/ 445796 w 626996"/>
              <a:gd name="connsiteY76" fmla="*/ 12881 h 107094"/>
              <a:gd name="connsiteX77" fmla="*/ 394403 w 626996"/>
              <a:gd name="connsiteY77" fmla="*/ 12881 h 107094"/>
              <a:gd name="connsiteX78" fmla="*/ 394403 w 626996"/>
              <a:gd name="connsiteY78" fmla="*/ 48413 h 107094"/>
              <a:gd name="connsiteX79" fmla="*/ 438027 w 626996"/>
              <a:gd name="connsiteY79" fmla="*/ 48413 h 107094"/>
              <a:gd name="connsiteX80" fmla="*/ 438027 w 626996"/>
              <a:gd name="connsiteY80" fmla="*/ 61108 h 107094"/>
              <a:gd name="connsiteX81" fmla="*/ 394403 w 626996"/>
              <a:gd name="connsiteY81" fmla="*/ 61108 h 107094"/>
              <a:gd name="connsiteX82" fmla="*/ 394403 w 626996"/>
              <a:gd name="connsiteY82" fmla="*/ 107095 h 107094"/>
              <a:gd name="connsiteX83" fmla="*/ 380360 w 626996"/>
              <a:gd name="connsiteY83" fmla="*/ 107095 h 107094"/>
              <a:gd name="connsiteX84" fmla="*/ 380360 w 626996"/>
              <a:gd name="connsiteY84" fmla="*/ 0 h 107094"/>
              <a:gd name="connsiteX85" fmla="*/ 465267 w 626996"/>
              <a:gd name="connsiteY85" fmla="*/ 0 h 107094"/>
              <a:gd name="connsiteX86" fmla="*/ 501571 w 626996"/>
              <a:gd name="connsiteY86" fmla="*/ 0 h 107094"/>
              <a:gd name="connsiteX87" fmla="*/ 528313 w 626996"/>
              <a:gd name="connsiteY87" fmla="*/ 5974 h 107094"/>
              <a:gd name="connsiteX88" fmla="*/ 537576 w 626996"/>
              <a:gd name="connsiteY88" fmla="*/ 26136 h 107094"/>
              <a:gd name="connsiteX89" fmla="*/ 531749 w 626996"/>
              <a:gd name="connsiteY89" fmla="*/ 43622 h 107094"/>
              <a:gd name="connsiteX90" fmla="*/ 516212 w 626996"/>
              <a:gd name="connsiteY90" fmla="*/ 51525 h 107094"/>
              <a:gd name="connsiteX91" fmla="*/ 535036 w 626996"/>
              <a:gd name="connsiteY91" fmla="*/ 58868 h 107094"/>
              <a:gd name="connsiteX92" fmla="*/ 541460 w 626996"/>
              <a:gd name="connsiteY92" fmla="*/ 76168 h 107094"/>
              <a:gd name="connsiteX93" fmla="*/ 536231 w 626996"/>
              <a:gd name="connsiteY93" fmla="*/ 94089 h 107094"/>
              <a:gd name="connsiteX94" fmla="*/ 521889 w 626996"/>
              <a:gd name="connsiteY94" fmla="*/ 104108 h 107094"/>
              <a:gd name="connsiteX95" fmla="*/ 501272 w 626996"/>
              <a:gd name="connsiteY95" fmla="*/ 107095 h 107094"/>
              <a:gd name="connsiteX96" fmla="*/ 465267 w 626996"/>
              <a:gd name="connsiteY96" fmla="*/ 107095 h 107094"/>
              <a:gd name="connsiteX97" fmla="*/ 465267 w 626996"/>
              <a:gd name="connsiteY97" fmla="*/ 0 h 107094"/>
              <a:gd name="connsiteX98" fmla="*/ 500525 w 626996"/>
              <a:gd name="connsiteY98" fmla="*/ 45738 h 107094"/>
              <a:gd name="connsiteX99" fmla="*/ 516959 w 626996"/>
              <a:gd name="connsiteY99" fmla="*/ 41257 h 107094"/>
              <a:gd name="connsiteX100" fmla="*/ 523383 w 626996"/>
              <a:gd name="connsiteY100" fmla="*/ 26882 h 107094"/>
              <a:gd name="connsiteX101" fmla="*/ 517706 w 626996"/>
              <a:gd name="connsiteY101" fmla="*/ 15868 h 107094"/>
              <a:gd name="connsiteX102" fmla="*/ 501571 w 626996"/>
              <a:gd name="connsiteY102" fmla="*/ 12881 h 107094"/>
              <a:gd name="connsiteX103" fmla="*/ 479310 w 626996"/>
              <a:gd name="connsiteY103" fmla="*/ 12881 h 107094"/>
              <a:gd name="connsiteX104" fmla="*/ 479310 w 626996"/>
              <a:gd name="connsiteY104" fmla="*/ 45738 h 107094"/>
              <a:gd name="connsiteX105" fmla="*/ 500525 w 626996"/>
              <a:gd name="connsiteY105" fmla="*/ 45738 h 107094"/>
              <a:gd name="connsiteX106" fmla="*/ 501272 w 626996"/>
              <a:gd name="connsiteY106" fmla="*/ 94400 h 107094"/>
              <a:gd name="connsiteX107" fmla="*/ 519648 w 626996"/>
              <a:gd name="connsiteY107" fmla="*/ 90542 h 107094"/>
              <a:gd name="connsiteX108" fmla="*/ 526670 w 626996"/>
              <a:gd name="connsiteY108" fmla="*/ 76478 h 107094"/>
              <a:gd name="connsiteX109" fmla="*/ 520096 w 626996"/>
              <a:gd name="connsiteY109" fmla="*/ 62415 h 107094"/>
              <a:gd name="connsiteX110" fmla="*/ 499629 w 626996"/>
              <a:gd name="connsiteY110" fmla="*/ 58433 h 107094"/>
              <a:gd name="connsiteX111" fmla="*/ 479310 w 626996"/>
              <a:gd name="connsiteY111" fmla="*/ 58433 h 107094"/>
              <a:gd name="connsiteX112" fmla="*/ 479310 w 626996"/>
              <a:gd name="connsiteY112" fmla="*/ 94400 h 107094"/>
              <a:gd name="connsiteX113" fmla="*/ 501272 w 626996"/>
              <a:gd name="connsiteY113" fmla="*/ 94400 h 107094"/>
              <a:gd name="connsiteX114" fmla="*/ 612505 w 626996"/>
              <a:gd name="connsiteY114" fmla="*/ 107095 h 107094"/>
              <a:gd name="connsiteX115" fmla="*/ 599358 w 626996"/>
              <a:gd name="connsiteY115" fmla="*/ 107095 h 107094"/>
              <a:gd name="connsiteX116" fmla="*/ 599358 w 626996"/>
              <a:gd name="connsiteY116" fmla="*/ 81706 h 107094"/>
              <a:gd name="connsiteX117" fmla="*/ 553045 w 626996"/>
              <a:gd name="connsiteY117" fmla="*/ 81706 h 107094"/>
              <a:gd name="connsiteX118" fmla="*/ 553045 w 626996"/>
              <a:gd name="connsiteY118" fmla="*/ 72434 h 107094"/>
              <a:gd name="connsiteX119" fmla="*/ 594876 w 626996"/>
              <a:gd name="connsiteY119" fmla="*/ 0 h 107094"/>
              <a:gd name="connsiteX120" fmla="*/ 612505 w 626996"/>
              <a:gd name="connsiteY120" fmla="*/ 0 h 107094"/>
              <a:gd name="connsiteX121" fmla="*/ 612505 w 626996"/>
              <a:gd name="connsiteY121" fmla="*/ 70380 h 107094"/>
              <a:gd name="connsiteX122" fmla="*/ 626996 w 626996"/>
              <a:gd name="connsiteY122" fmla="*/ 70380 h 107094"/>
              <a:gd name="connsiteX123" fmla="*/ 626996 w 626996"/>
              <a:gd name="connsiteY123" fmla="*/ 81706 h 107094"/>
              <a:gd name="connsiteX124" fmla="*/ 612505 w 626996"/>
              <a:gd name="connsiteY124" fmla="*/ 81706 h 107094"/>
              <a:gd name="connsiteX125" fmla="*/ 612505 w 626996"/>
              <a:gd name="connsiteY125" fmla="*/ 107095 h 107094"/>
              <a:gd name="connsiteX126" fmla="*/ 566640 w 626996"/>
              <a:gd name="connsiteY126" fmla="*/ 70380 h 107094"/>
              <a:gd name="connsiteX127" fmla="*/ 599358 w 626996"/>
              <a:gd name="connsiteY127" fmla="*/ 70380 h 107094"/>
              <a:gd name="connsiteX128" fmla="*/ 599358 w 626996"/>
              <a:gd name="connsiteY128" fmla="*/ 14624 h 107094"/>
              <a:gd name="connsiteX129" fmla="*/ 566640 w 626996"/>
              <a:gd name="connsiteY129" fmla="*/ 7038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626996" h="107094">
                <a:moveTo>
                  <a:pt x="22111" y="107095"/>
                </a:move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5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1" y="0"/>
                </a:moveTo>
                <a:lnTo>
                  <a:pt x="143826" y="0"/>
                </a:lnTo>
                <a:cubicBezTo>
                  <a:pt x="150997" y="0"/>
                  <a:pt x="157670" y="871"/>
                  <a:pt x="163845" y="2551"/>
                </a:cubicBezTo>
                <a:cubicBezTo>
                  <a:pt x="170020" y="4231"/>
                  <a:pt x="175399" y="7032"/>
                  <a:pt x="179980" y="10890"/>
                </a:cubicBezTo>
                <a:cubicBezTo>
                  <a:pt x="184562" y="14686"/>
                  <a:pt x="188147" y="19788"/>
                  <a:pt x="190737" y="26136"/>
                </a:cubicBezTo>
                <a:cubicBezTo>
                  <a:pt x="193326" y="32545"/>
                  <a:pt x="194621" y="40448"/>
                  <a:pt x="194621" y="49907"/>
                </a:cubicBezTo>
                <a:cubicBezTo>
                  <a:pt x="194621" y="62415"/>
                  <a:pt x="192330" y="72994"/>
                  <a:pt x="187749" y="81581"/>
                </a:cubicBezTo>
                <a:cubicBezTo>
                  <a:pt x="183267" y="90044"/>
                  <a:pt x="177092" y="96392"/>
                  <a:pt x="169224" y="100685"/>
                </a:cubicBezTo>
                <a:cubicBezTo>
                  <a:pt x="161355" y="104979"/>
                  <a:pt x="152342" y="107095"/>
                  <a:pt x="142183" y="107095"/>
                </a:cubicBezTo>
                <a:lnTo>
                  <a:pt x="107821" y="107095"/>
                </a:lnTo>
                <a:lnTo>
                  <a:pt x="107821" y="0"/>
                </a:lnTo>
                <a:close/>
                <a:moveTo>
                  <a:pt x="142183" y="94400"/>
                </a:moveTo>
                <a:cubicBezTo>
                  <a:pt x="149553" y="94400"/>
                  <a:pt x="156027" y="92907"/>
                  <a:pt x="161604" y="89920"/>
                </a:cubicBezTo>
                <a:cubicBezTo>
                  <a:pt x="167182" y="86808"/>
                  <a:pt x="171514" y="82079"/>
                  <a:pt x="174602" y="75732"/>
                </a:cubicBezTo>
                <a:cubicBezTo>
                  <a:pt x="177789" y="69260"/>
                  <a:pt x="179383" y="60983"/>
                  <a:pt x="179383" y="50965"/>
                </a:cubicBezTo>
                <a:cubicBezTo>
                  <a:pt x="179383" y="40884"/>
                  <a:pt x="177839" y="33105"/>
                  <a:pt x="174751" y="27629"/>
                </a:cubicBezTo>
                <a:cubicBezTo>
                  <a:pt x="171664" y="22153"/>
                  <a:pt x="167431" y="18357"/>
                  <a:pt x="162053" y="16117"/>
                </a:cubicBezTo>
                <a:cubicBezTo>
                  <a:pt x="156774" y="13939"/>
                  <a:pt x="150698" y="12881"/>
                  <a:pt x="143826" y="12881"/>
                </a:cubicBezTo>
                <a:lnTo>
                  <a:pt x="121865" y="12881"/>
                </a:lnTo>
                <a:lnTo>
                  <a:pt x="121865" y="94400"/>
                </a:lnTo>
                <a:lnTo>
                  <a:pt x="142183" y="94400"/>
                </a:lnTo>
                <a:close/>
                <a:moveTo>
                  <a:pt x="256335" y="107095"/>
                </a:moveTo>
                <a:lnTo>
                  <a:pt x="242740" y="107095"/>
                </a:lnTo>
                <a:lnTo>
                  <a:pt x="242740" y="16864"/>
                </a:lnTo>
                <a:lnTo>
                  <a:pt x="213159" y="39577"/>
                </a:lnTo>
                <a:lnTo>
                  <a:pt x="213159" y="24518"/>
                </a:lnTo>
                <a:lnTo>
                  <a:pt x="244981" y="0"/>
                </a:lnTo>
                <a:lnTo>
                  <a:pt x="256335" y="0"/>
                </a:lnTo>
                <a:lnTo>
                  <a:pt x="256335" y="107095"/>
                </a:lnTo>
                <a:close/>
                <a:moveTo>
                  <a:pt x="295446" y="0"/>
                </a:moveTo>
                <a:lnTo>
                  <a:pt x="360882" y="0"/>
                </a:lnTo>
                <a:lnTo>
                  <a:pt x="360882" y="12881"/>
                </a:lnTo>
                <a:lnTo>
                  <a:pt x="309489" y="12881"/>
                </a:lnTo>
                <a:lnTo>
                  <a:pt x="309489" y="48413"/>
                </a:lnTo>
                <a:lnTo>
                  <a:pt x="353113" y="48413"/>
                </a:lnTo>
                <a:lnTo>
                  <a:pt x="353113" y="61108"/>
                </a:lnTo>
                <a:lnTo>
                  <a:pt x="309489" y="61108"/>
                </a:lnTo>
                <a:lnTo>
                  <a:pt x="309489" y="107095"/>
                </a:lnTo>
                <a:lnTo>
                  <a:pt x="295446" y="107095"/>
                </a:lnTo>
                <a:lnTo>
                  <a:pt x="295446" y="0"/>
                </a:lnTo>
                <a:close/>
                <a:moveTo>
                  <a:pt x="380360" y="0"/>
                </a:moveTo>
                <a:lnTo>
                  <a:pt x="445796" y="0"/>
                </a:lnTo>
                <a:lnTo>
                  <a:pt x="445796" y="12881"/>
                </a:lnTo>
                <a:lnTo>
                  <a:pt x="394403" y="12881"/>
                </a:lnTo>
                <a:lnTo>
                  <a:pt x="394403" y="48413"/>
                </a:lnTo>
                <a:lnTo>
                  <a:pt x="438027" y="48413"/>
                </a:lnTo>
                <a:lnTo>
                  <a:pt x="438027" y="61108"/>
                </a:lnTo>
                <a:lnTo>
                  <a:pt x="394403" y="61108"/>
                </a:lnTo>
                <a:lnTo>
                  <a:pt x="394403" y="107095"/>
                </a:lnTo>
                <a:lnTo>
                  <a:pt x="380360" y="107095"/>
                </a:lnTo>
                <a:lnTo>
                  <a:pt x="380360" y="0"/>
                </a:lnTo>
                <a:close/>
                <a:moveTo>
                  <a:pt x="465267" y="0"/>
                </a:moveTo>
                <a:lnTo>
                  <a:pt x="501571" y="0"/>
                </a:lnTo>
                <a:cubicBezTo>
                  <a:pt x="513324" y="0"/>
                  <a:pt x="522237" y="1991"/>
                  <a:pt x="528313" y="5974"/>
                </a:cubicBezTo>
                <a:cubicBezTo>
                  <a:pt x="534488" y="9956"/>
                  <a:pt x="537576" y="16677"/>
                  <a:pt x="537576" y="26136"/>
                </a:cubicBezTo>
                <a:cubicBezTo>
                  <a:pt x="537576" y="33790"/>
                  <a:pt x="535634" y="39639"/>
                  <a:pt x="531749" y="43622"/>
                </a:cubicBezTo>
                <a:cubicBezTo>
                  <a:pt x="527865" y="47480"/>
                  <a:pt x="522686" y="50156"/>
                  <a:pt x="516212" y="51525"/>
                </a:cubicBezTo>
                <a:cubicBezTo>
                  <a:pt x="524479" y="52520"/>
                  <a:pt x="530753" y="54947"/>
                  <a:pt x="535036" y="58868"/>
                </a:cubicBezTo>
                <a:cubicBezTo>
                  <a:pt x="539319" y="62664"/>
                  <a:pt x="541460" y="68389"/>
                  <a:pt x="541460" y="76168"/>
                </a:cubicBezTo>
                <a:cubicBezTo>
                  <a:pt x="541460" y="83572"/>
                  <a:pt x="539717" y="89547"/>
                  <a:pt x="536231" y="94089"/>
                </a:cubicBezTo>
                <a:cubicBezTo>
                  <a:pt x="532745" y="98694"/>
                  <a:pt x="527964" y="101992"/>
                  <a:pt x="521889" y="104108"/>
                </a:cubicBezTo>
                <a:cubicBezTo>
                  <a:pt x="515813" y="106099"/>
                  <a:pt x="508941" y="107095"/>
                  <a:pt x="501272" y="107095"/>
                </a:cubicBezTo>
                <a:lnTo>
                  <a:pt x="465267" y="107095"/>
                </a:lnTo>
                <a:lnTo>
                  <a:pt x="465267" y="0"/>
                </a:lnTo>
                <a:close/>
                <a:moveTo>
                  <a:pt x="500525" y="45738"/>
                </a:moveTo>
                <a:cubicBezTo>
                  <a:pt x="507298" y="45738"/>
                  <a:pt x="512776" y="44244"/>
                  <a:pt x="516959" y="41257"/>
                </a:cubicBezTo>
                <a:cubicBezTo>
                  <a:pt x="521241" y="38146"/>
                  <a:pt x="523383" y="33354"/>
                  <a:pt x="523383" y="26882"/>
                </a:cubicBezTo>
                <a:cubicBezTo>
                  <a:pt x="523383" y="21406"/>
                  <a:pt x="521490" y="17735"/>
                  <a:pt x="517706" y="15868"/>
                </a:cubicBezTo>
                <a:cubicBezTo>
                  <a:pt x="513921" y="13877"/>
                  <a:pt x="508543" y="12881"/>
                  <a:pt x="501571" y="12881"/>
                </a:cubicBezTo>
                <a:lnTo>
                  <a:pt x="479310" y="12881"/>
                </a:lnTo>
                <a:lnTo>
                  <a:pt x="479310" y="45738"/>
                </a:lnTo>
                <a:lnTo>
                  <a:pt x="500525" y="45738"/>
                </a:lnTo>
                <a:close/>
                <a:moveTo>
                  <a:pt x="501272" y="94400"/>
                </a:moveTo>
                <a:cubicBezTo>
                  <a:pt x="508841" y="94400"/>
                  <a:pt x="514967" y="93093"/>
                  <a:pt x="519648" y="90542"/>
                </a:cubicBezTo>
                <a:cubicBezTo>
                  <a:pt x="524329" y="87929"/>
                  <a:pt x="526670" y="83262"/>
                  <a:pt x="526670" y="76478"/>
                </a:cubicBezTo>
                <a:cubicBezTo>
                  <a:pt x="526670" y="69696"/>
                  <a:pt x="524479" y="65028"/>
                  <a:pt x="520096" y="62415"/>
                </a:cubicBezTo>
                <a:cubicBezTo>
                  <a:pt x="515813" y="59739"/>
                  <a:pt x="508991" y="58433"/>
                  <a:pt x="499629" y="58433"/>
                </a:cubicBezTo>
                <a:lnTo>
                  <a:pt x="479310" y="58433"/>
                </a:lnTo>
                <a:lnTo>
                  <a:pt x="479310" y="94400"/>
                </a:lnTo>
                <a:lnTo>
                  <a:pt x="501272" y="94400"/>
                </a:lnTo>
                <a:close/>
                <a:moveTo>
                  <a:pt x="612505" y="107095"/>
                </a:moveTo>
                <a:lnTo>
                  <a:pt x="599358" y="107095"/>
                </a:lnTo>
                <a:lnTo>
                  <a:pt x="599358" y="81706"/>
                </a:lnTo>
                <a:lnTo>
                  <a:pt x="553045" y="81706"/>
                </a:lnTo>
                <a:lnTo>
                  <a:pt x="553045" y="72434"/>
                </a:lnTo>
                <a:lnTo>
                  <a:pt x="594876" y="0"/>
                </a:lnTo>
                <a:lnTo>
                  <a:pt x="612505" y="0"/>
                </a:lnTo>
                <a:lnTo>
                  <a:pt x="612505" y="70380"/>
                </a:lnTo>
                <a:lnTo>
                  <a:pt x="626996" y="70380"/>
                </a:lnTo>
                <a:lnTo>
                  <a:pt x="626996" y="81706"/>
                </a:lnTo>
                <a:lnTo>
                  <a:pt x="612505" y="81706"/>
                </a:lnTo>
                <a:lnTo>
                  <a:pt x="612505" y="107095"/>
                </a:lnTo>
                <a:close/>
                <a:moveTo>
                  <a:pt x="566640" y="70380"/>
                </a:moveTo>
                <a:lnTo>
                  <a:pt x="599358" y="70380"/>
                </a:lnTo>
                <a:lnTo>
                  <a:pt x="599358" y="14624"/>
                </a:lnTo>
                <a:lnTo>
                  <a:pt x="566640" y="7038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7" name="Полилиния 1036">
            <a:extLst>
              <a:ext uri="{FF2B5EF4-FFF2-40B4-BE49-F238E27FC236}">
                <a16:creationId xmlns:a16="http://schemas.microsoft.com/office/drawing/2014/main" id="{E558AF6D-5DB4-3F1D-3BC8-353A2BEA548D}"/>
              </a:ext>
            </a:extLst>
          </p:cNvPr>
          <p:cNvSpPr/>
          <p:nvPr userDrawn="1"/>
        </p:nvSpPr>
        <p:spPr>
          <a:xfrm>
            <a:off x="15359119" y="9597431"/>
            <a:ext cx="1398954" cy="726227"/>
          </a:xfrm>
          <a:custGeom>
            <a:avLst/>
            <a:gdLst>
              <a:gd name="connsiteX0" fmla="*/ 425 w 1198727"/>
              <a:gd name="connsiteY0" fmla="*/ 1822 h 622284"/>
              <a:gd name="connsiteX1" fmla="*/ 1199153 w 1198727"/>
              <a:gd name="connsiteY1" fmla="*/ 1822 h 622284"/>
              <a:gd name="connsiteX2" fmla="*/ 1199153 w 1198727"/>
              <a:gd name="connsiteY2" fmla="*/ 624106 h 622284"/>
              <a:gd name="connsiteX3" fmla="*/ 425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822"/>
                </a:moveTo>
                <a:lnTo>
                  <a:pt x="1199153" y="1822"/>
                </a:lnTo>
                <a:lnTo>
                  <a:pt x="1199153" y="624106"/>
                </a:lnTo>
                <a:lnTo>
                  <a:pt x="425" y="624106"/>
                </a:lnTo>
                <a:close/>
              </a:path>
            </a:pathLst>
          </a:custGeom>
          <a:solidFill>
            <a:srgbClr val="E3FFD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8" name="Полилиния 1037">
            <a:extLst>
              <a:ext uri="{FF2B5EF4-FFF2-40B4-BE49-F238E27FC236}">
                <a16:creationId xmlns:a16="http://schemas.microsoft.com/office/drawing/2014/main" id="{40A7D74D-0563-9EB3-DC4D-0AFF894C4FA5}"/>
              </a:ext>
            </a:extLst>
          </p:cNvPr>
          <p:cNvSpPr/>
          <p:nvPr userDrawn="1"/>
        </p:nvSpPr>
        <p:spPr>
          <a:xfrm>
            <a:off x="15482328" y="9899178"/>
            <a:ext cx="697399" cy="128468"/>
          </a:xfrm>
          <a:custGeom>
            <a:avLst/>
            <a:gdLst>
              <a:gd name="connsiteX0" fmla="*/ 22111 w 597583"/>
              <a:gd name="connsiteY0" fmla="*/ 108588 h 110081"/>
              <a:gd name="connsiteX1" fmla="*/ 10159 w 597583"/>
              <a:gd name="connsiteY1" fmla="*/ 108588 h 110081"/>
              <a:gd name="connsiteX2" fmla="*/ 16434 w 597583"/>
              <a:gd name="connsiteY2" fmla="*/ 77661 h 110081"/>
              <a:gd name="connsiteX3" fmla="*/ 0 w 597583"/>
              <a:gd name="connsiteY3" fmla="*/ 77661 h 110081"/>
              <a:gd name="connsiteX4" fmla="*/ 0 w 597583"/>
              <a:gd name="connsiteY4" fmla="*/ 67206 h 110081"/>
              <a:gd name="connsiteX5" fmla="*/ 18675 w 597583"/>
              <a:gd name="connsiteY5" fmla="*/ 67206 h 110081"/>
              <a:gd name="connsiteX6" fmla="*/ 24202 w 597583"/>
              <a:gd name="connsiteY6" fmla="*/ 40012 h 110081"/>
              <a:gd name="connsiteX7" fmla="*/ 4034 w 597583"/>
              <a:gd name="connsiteY7" fmla="*/ 40012 h 110081"/>
              <a:gd name="connsiteX8" fmla="*/ 4034 w 597583"/>
              <a:gd name="connsiteY8" fmla="*/ 29559 h 110081"/>
              <a:gd name="connsiteX9" fmla="*/ 26294 w 597583"/>
              <a:gd name="connsiteY9" fmla="*/ 29559 h 110081"/>
              <a:gd name="connsiteX10" fmla="*/ 32120 w 597583"/>
              <a:gd name="connsiteY10" fmla="*/ 1493 h 110081"/>
              <a:gd name="connsiteX11" fmla="*/ 44072 w 597583"/>
              <a:gd name="connsiteY11" fmla="*/ 1493 h 110081"/>
              <a:gd name="connsiteX12" fmla="*/ 38246 w 597583"/>
              <a:gd name="connsiteY12" fmla="*/ 29559 h 110081"/>
              <a:gd name="connsiteX13" fmla="*/ 60655 w 597583"/>
              <a:gd name="connsiteY13" fmla="*/ 29559 h 110081"/>
              <a:gd name="connsiteX14" fmla="*/ 66482 w 597583"/>
              <a:gd name="connsiteY14" fmla="*/ 1493 h 110081"/>
              <a:gd name="connsiteX15" fmla="*/ 78434 w 597583"/>
              <a:gd name="connsiteY15" fmla="*/ 1493 h 110081"/>
              <a:gd name="connsiteX16" fmla="*/ 72607 w 597583"/>
              <a:gd name="connsiteY16" fmla="*/ 29559 h 110081"/>
              <a:gd name="connsiteX17" fmla="*/ 89340 w 597583"/>
              <a:gd name="connsiteY17" fmla="*/ 29559 h 110081"/>
              <a:gd name="connsiteX18" fmla="*/ 89340 w 597583"/>
              <a:gd name="connsiteY18" fmla="*/ 40012 h 110081"/>
              <a:gd name="connsiteX19" fmla="*/ 70515 w 597583"/>
              <a:gd name="connsiteY19" fmla="*/ 40012 h 110081"/>
              <a:gd name="connsiteX20" fmla="*/ 64988 w 597583"/>
              <a:gd name="connsiteY20" fmla="*/ 67206 h 110081"/>
              <a:gd name="connsiteX21" fmla="*/ 85306 w 597583"/>
              <a:gd name="connsiteY21" fmla="*/ 67206 h 110081"/>
              <a:gd name="connsiteX22" fmla="*/ 85306 w 597583"/>
              <a:gd name="connsiteY22" fmla="*/ 77661 h 110081"/>
              <a:gd name="connsiteX23" fmla="*/ 62747 w 597583"/>
              <a:gd name="connsiteY23" fmla="*/ 77661 h 110081"/>
              <a:gd name="connsiteX24" fmla="*/ 56472 w 597583"/>
              <a:gd name="connsiteY24" fmla="*/ 108588 h 110081"/>
              <a:gd name="connsiteX25" fmla="*/ 44520 w 597583"/>
              <a:gd name="connsiteY25" fmla="*/ 108588 h 110081"/>
              <a:gd name="connsiteX26" fmla="*/ 50795 w 597583"/>
              <a:gd name="connsiteY26" fmla="*/ 77661 h 110081"/>
              <a:gd name="connsiteX27" fmla="*/ 28386 w 597583"/>
              <a:gd name="connsiteY27" fmla="*/ 77661 h 110081"/>
              <a:gd name="connsiteX28" fmla="*/ 22111 w 597583"/>
              <a:gd name="connsiteY28" fmla="*/ 108588 h 110081"/>
              <a:gd name="connsiteX29" fmla="*/ 30626 w 597583"/>
              <a:gd name="connsiteY29" fmla="*/ 67206 h 110081"/>
              <a:gd name="connsiteX30" fmla="*/ 53036 w 597583"/>
              <a:gd name="connsiteY30" fmla="*/ 67206 h 110081"/>
              <a:gd name="connsiteX31" fmla="*/ 58564 w 597583"/>
              <a:gd name="connsiteY31" fmla="*/ 40012 h 110081"/>
              <a:gd name="connsiteX32" fmla="*/ 36154 w 597583"/>
              <a:gd name="connsiteY32" fmla="*/ 40012 h 110081"/>
              <a:gd name="connsiteX33" fmla="*/ 30626 w 597583"/>
              <a:gd name="connsiteY33" fmla="*/ 67206 h 110081"/>
              <a:gd name="connsiteX34" fmla="*/ 107821 w 597583"/>
              <a:gd name="connsiteY34" fmla="*/ 1493 h 110081"/>
              <a:gd name="connsiteX35" fmla="*/ 174154 w 597583"/>
              <a:gd name="connsiteY35" fmla="*/ 1493 h 110081"/>
              <a:gd name="connsiteX36" fmla="*/ 174154 w 597583"/>
              <a:gd name="connsiteY36" fmla="*/ 14374 h 110081"/>
              <a:gd name="connsiteX37" fmla="*/ 121865 w 597583"/>
              <a:gd name="connsiteY37" fmla="*/ 14374 h 110081"/>
              <a:gd name="connsiteX38" fmla="*/ 121865 w 597583"/>
              <a:gd name="connsiteY38" fmla="*/ 46734 h 110081"/>
              <a:gd name="connsiteX39" fmla="*/ 166236 w 597583"/>
              <a:gd name="connsiteY39" fmla="*/ 46734 h 110081"/>
              <a:gd name="connsiteX40" fmla="*/ 166236 w 597583"/>
              <a:gd name="connsiteY40" fmla="*/ 59428 h 110081"/>
              <a:gd name="connsiteX41" fmla="*/ 121865 w 597583"/>
              <a:gd name="connsiteY41" fmla="*/ 59428 h 110081"/>
              <a:gd name="connsiteX42" fmla="*/ 121865 w 597583"/>
              <a:gd name="connsiteY42" fmla="*/ 95893 h 110081"/>
              <a:gd name="connsiteX43" fmla="*/ 174901 w 597583"/>
              <a:gd name="connsiteY43" fmla="*/ 95893 h 110081"/>
              <a:gd name="connsiteX44" fmla="*/ 174901 w 597583"/>
              <a:gd name="connsiteY44" fmla="*/ 108588 h 110081"/>
              <a:gd name="connsiteX45" fmla="*/ 107821 w 597583"/>
              <a:gd name="connsiteY45" fmla="*/ 108588 h 110081"/>
              <a:gd name="connsiteX46" fmla="*/ 107821 w 597583"/>
              <a:gd name="connsiteY46" fmla="*/ 1493 h 110081"/>
              <a:gd name="connsiteX47" fmla="*/ 209362 w 597583"/>
              <a:gd name="connsiteY47" fmla="*/ 58992 h 110081"/>
              <a:gd name="connsiteX48" fmla="*/ 209362 w 597583"/>
              <a:gd name="connsiteY48" fmla="*/ 46298 h 110081"/>
              <a:gd name="connsiteX49" fmla="*/ 223704 w 597583"/>
              <a:gd name="connsiteY49" fmla="*/ 46298 h 110081"/>
              <a:gd name="connsiteX50" fmla="*/ 237299 w 597583"/>
              <a:gd name="connsiteY50" fmla="*/ 41817 h 110081"/>
              <a:gd name="connsiteX51" fmla="*/ 242677 w 597583"/>
              <a:gd name="connsiteY51" fmla="*/ 28812 h 110081"/>
              <a:gd name="connsiteX52" fmla="*/ 237747 w 597583"/>
              <a:gd name="connsiteY52" fmla="*/ 16864 h 110081"/>
              <a:gd name="connsiteX53" fmla="*/ 223555 w 597583"/>
              <a:gd name="connsiteY53" fmla="*/ 12383 h 110081"/>
              <a:gd name="connsiteX54" fmla="*/ 208914 w 597583"/>
              <a:gd name="connsiteY54" fmla="*/ 15246 h 110081"/>
              <a:gd name="connsiteX55" fmla="*/ 194870 w 597583"/>
              <a:gd name="connsiteY55" fmla="*/ 24331 h 110081"/>
              <a:gd name="connsiteX56" fmla="*/ 194870 w 597583"/>
              <a:gd name="connsiteY56" fmla="*/ 9707 h 110081"/>
              <a:gd name="connsiteX57" fmla="*/ 223704 w 597583"/>
              <a:gd name="connsiteY57" fmla="*/ 0 h 110081"/>
              <a:gd name="connsiteX58" fmla="*/ 247757 w 597583"/>
              <a:gd name="connsiteY58" fmla="*/ 7779 h 110081"/>
              <a:gd name="connsiteX59" fmla="*/ 256571 w 597583"/>
              <a:gd name="connsiteY59" fmla="*/ 28065 h 110081"/>
              <a:gd name="connsiteX60" fmla="*/ 250894 w 597583"/>
              <a:gd name="connsiteY60" fmla="*/ 44244 h 110081"/>
              <a:gd name="connsiteX61" fmla="*/ 237598 w 597583"/>
              <a:gd name="connsiteY61" fmla="*/ 52147 h 110081"/>
              <a:gd name="connsiteX62" fmla="*/ 249102 w 597583"/>
              <a:gd name="connsiteY62" fmla="*/ 56441 h 110081"/>
              <a:gd name="connsiteX63" fmla="*/ 257767 w 597583"/>
              <a:gd name="connsiteY63" fmla="*/ 65153 h 110081"/>
              <a:gd name="connsiteX64" fmla="*/ 261053 w 597583"/>
              <a:gd name="connsiteY64" fmla="*/ 77661 h 110081"/>
              <a:gd name="connsiteX65" fmla="*/ 256123 w 597583"/>
              <a:gd name="connsiteY65" fmla="*/ 94836 h 110081"/>
              <a:gd name="connsiteX66" fmla="*/ 242528 w 597583"/>
              <a:gd name="connsiteY66" fmla="*/ 106224 h 110081"/>
              <a:gd name="connsiteX67" fmla="*/ 222658 w 597583"/>
              <a:gd name="connsiteY67" fmla="*/ 110082 h 110081"/>
              <a:gd name="connsiteX68" fmla="*/ 192181 w 597583"/>
              <a:gd name="connsiteY68" fmla="*/ 100997 h 110081"/>
              <a:gd name="connsiteX69" fmla="*/ 192181 w 597583"/>
              <a:gd name="connsiteY69" fmla="*/ 86062 h 110081"/>
              <a:gd name="connsiteX70" fmla="*/ 205926 w 597583"/>
              <a:gd name="connsiteY70" fmla="*/ 94711 h 110081"/>
              <a:gd name="connsiteX71" fmla="*/ 222808 w 597583"/>
              <a:gd name="connsiteY71" fmla="*/ 97823 h 110081"/>
              <a:gd name="connsiteX72" fmla="*/ 240138 w 597583"/>
              <a:gd name="connsiteY72" fmla="*/ 92596 h 110081"/>
              <a:gd name="connsiteX73" fmla="*/ 246562 w 597583"/>
              <a:gd name="connsiteY73" fmla="*/ 77972 h 110081"/>
              <a:gd name="connsiteX74" fmla="*/ 240735 w 597583"/>
              <a:gd name="connsiteY74" fmla="*/ 64095 h 110081"/>
              <a:gd name="connsiteX75" fmla="*/ 223106 w 597583"/>
              <a:gd name="connsiteY75" fmla="*/ 58992 h 110081"/>
              <a:gd name="connsiteX76" fmla="*/ 209362 w 597583"/>
              <a:gd name="connsiteY76" fmla="*/ 58992 h 110081"/>
              <a:gd name="connsiteX77" fmla="*/ 279249 w 597583"/>
              <a:gd name="connsiteY77" fmla="*/ 1493 h 110081"/>
              <a:gd name="connsiteX78" fmla="*/ 344685 w 597583"/>
              <a:gd name="connsiteY78" fmla="*/ 1493 h 110081"/>
              <a:gd name="connsiteX79" fmla="*/ 344685 w 597583"/>
              <a:gd name="connsiteY79" fmla="*/ 14374 h 110081"/>
              <a:gd name="connsiteX80" fmla="*/ 293292 w 597583"/>
              <a:gd name="connsiteY80" fmla="*/ 14374 h 110081"/>
              <a:gd name="connsiteX81" fmla="*/ 293292 w 597583"/>
              <a:gd name="connsiteY81" fmla="*/ 49907 h 110081"/>
              <a:gd name="connsiteX82" fmla="*/ 336916 w 597583"/>
              <a:gd name="connsiteY82" fmla="*/ 49907 h 110081"/>
              <a:gd name="connsiteX83" fmla="*/ 336916 w 597583"/>
              <a:gd name="connsiteY83" fmla="*/ 62601 h 110081"/>
              <a:gd name="connsiteX84" fmla="*/ 293292 w 597583"/>
              <a:gd name="connsiteY84" fmla="*/ 62601 h 110081"/>
              <a:gd name="connsiteX85" fmla="*/ 293292 w 597583"/>
              <a:gd name="connsiteY85" fmla="*/ 108588 h 110081"/>
              <a:gd name="connsiteX86" fmla="*/ 279249 w 597583"/>
              <a:gd name="connsiteY86" fmla="*/ 108588 h 110081"/>
              <a:gd name="connsiteX87" fmla="*/ 279249 w 597583"/>
              <a:gd name="connsiteY87" fmla="*/ 1493 h 110081"/>
              <a:gd name="connsiteX88" fmla="*/ 364162 w 597583"/>
              <a:gd name="connsiteY88" fmla="*/ 1493 h 110081"/>
              <a:gd name="connsiteX89" fmla="*/ 429599 w 597583"/>
              <a:gd name="connsiteY89" fmla="*/ 1493 h 110081"/>
              <a:gd name="connsiteX90" fmla="*/ 429599 w 597583"/>
              <a:gd name="connsiteY90" fmla="*/ 14374 h 110081"/>
              <a:gd name="connsiteX91" fmla="*/ 378206 w 597583"/>
              <a:gd name="connsiteY91" fmla="*/ 14374 h 110081"/>
              <a:gd name="connsiteX92" fmla="*/ 378206 w 597583"/>
              <a:gd name="connsiteY92" fmla="*/ 49907 h 110081"/>
              <a:gd name="connsiteX93" fmla="*/ 421830 w 597583"/>
              <a:gd name="connsiteY93" fmla="*/ 49907 h 110081"/>
              <a:gd name="connsiteX94" fmla="*/ 421830 w 597583"/>
              <a:gd name="connsiteY94" fmla="*/ 62601 h 110081"/>
              <a:gd name="connsiteX95" fmla="*/ 378206 w 597583"/>
              <a:gd name="connsiteY95" fmla="*/ 62601 h 110081"/>
              <a:gd name="connsiteX96" fmla="*/ 378206 w 597583"/>
              <a:gd name="connsiteY96" fmla="*/ 108588 h 110081"/>
              <a:gd name="connsiteX97" fmla="*/ 364162 w 597583"/>
              <a:gd name="connsiteY97" fmla="*/ 108588 h 110081"/>
              <a:gd name="connsiteX98" fmla="*/ 364162 w 597583"/>
              <a:gd name="connsiteY98" fmla="*/ 1493 h 110081"/>
              <a:gd name="connsiteX99" fmla="*/ 449076 w 597583"/>
              <a:gd name="connsiteY99" fmla="*/ 1493 h 110081"/>
              <a:gd name="connsiteX100" fmla="*/ 485081 w 597583"/>
              <a:gd name="connsiteY100" fmla="*/ 1493 h 110081"/>
              <a:gd name="connsiteX101" fmla="*/ 505100 w 597583"/>
              <a:gd name="connsiteY101" fmla="*/ 4044 h 110081"/>
              <a:gd name="connsiteX102" fmla="*/ 521235 w 597583"/>
              <a:gd name="connsiteY102" fmla="*/ 12383 h 110081"/>
              <a:gd name="connsiteX103" fmla="*/ 531992 w 597583"/>
              <a:gd name="connsiteY103" fmla="*/ 27629 h 110081"/>
              <a:gd name="connsiteX104" fmla="*/ 535876 w 597583"/>
              <a:gd name="connsiteY104" fmla="*/ 51401 h 110081"/>
              <a:gd name="connsiteX105" fmla="*/ 529004 w 597583"/>
              <a:gd name="connsiteY105" fmla="*/ 83075 h 110081"/>
              <a:gd name="connsiteX106" fmla="*/ 510479 w 597583"/>
              <a:gd name="connsiteY106" fmla="*/ 102179 h 110081"/>
              <a:gd name="connsiteX107" fmla="*/ 483438 w 597583"/>
              <a:gd name="connsiteY107" fmla="*/ 108588 h 110081"/>
              <a:gd name="connsiteX108" fmla="*/ 449076 w 597583"/>
              <a:gd name="connsiteY108" fmla="*/ 108588 h 110081"/>
              <a:gd name="connsiteX109" fmla="*/ 449076 w 597583"/>
              <a:gd name="connsiteY109" fmla="*/ 1493 h 110081"/>
              <a:gd name="connsiteX110" fmla="*/ 483438 w 597583"/>
              <a:gd name="connsiteY110" fmla="*/ 95893 h 110081"/>
              <a:gd name="connsiteX111" fmla="*/ 502859 w 597583"/>
              <a:gd name="connsiteY111" fmla="*/ 91413 h 110081"/>
              <a:gd name="connsiteX112" fmla="*/ 515857 w 597583"/>
              <a:gd name="connsiteY112" fmla="*/ 77225 h 110081"/>
              <a:gd name="connsiteX113" fmla="*/ 520638 w 597583"/>
              <a:gd name="connsiteY113" fmla="*/ 52458 h 110081"/>
              <a:gd name="connsiteX114" fmla="*/ 516006 w 597583"/>
              <a:gd name="connsiteY114" fmla="*/ 29122 h 110081"/>
              <a:gd name="connsiteX115" fmla="*/ 503308 w 597583"/>
              <a:gd name="connsiteY115" fmla="*/ 17610 h 110081"/>
              <a:gd name="connsiteX116" fmla="*/ 485081 w 597583"/>
              <a:gd name="connsiteY116" fmla="*/ 14374 h 110081"/>
              <a:gd name="connsiteX117" fmla="*/ 463120 w 597583"/>
              <a:gd name="connsiteY117" fmla="*/ 14374 h 110081"/>
              <a:gd name="connsiteX118" fmla="*/ 463120 w 597583"/>
              <a:gd name="connsiteY118" fmla="*/ 95893 h 110081"/>
              <a:gd name="connsiteX119" fmla="*/ 483438 w 597583"/>
              <a:gd name="connsiteY119" fmla="*/ 95893 h 110081"/>
              <a:gd name="connsiteX120" fmla="*/ 597583 w 597583"/>
              <a:gd name="connsiteY120" fmla="*/ 108588 h 110081"/>
              <a:gd name="connsiteX121" fmla="*/ 583989 w 597583"/>
              <a:gd name="connsiteY121" fmla="*/ 108588 h 110081"/>
              <a:gd name="connsiteX122" fmla="*/ 583989 w 597583"/>
              <a:gd name="connsiteY122" fmla="*/ 18357 h 110081"/>
              <a:gd name="connsiteX123" fmla="*/ 554408 w 597583"/>
              <a:gd name="connsiteY123" fmla="*/ 41071 h 110081"/>
              <a:gd name="connsiteX124" fmla="*/ 554408 w 597583"/>
              <a:gd name="connsiteY124" fmla="*/ 26011 h 110081"/>
              <a:gd name="connsiteX125" fmla="*/ 586229 w 597583"/>
              <a:gd name="connsiteY125" fmla="*/ 1493 h 110081"/>
              <a:gd name="connsiteX126" fmla="*/ 597583 w 597583"/>
              <a:gd name="connsiteY126" fmla="*/ 1493 h 110081"/>
              <a:gd name="connsiteX127" fmla="*/ 597583 w 597583"/>
              <a:gd name="connsiteY127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</a:cxnLst>
            <a:rect l="l" t="t" r="r" b="b"/>
            <a:pathLst>
              <a:path w="597583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1" y="1493"/>
                </a:moveTo>
                <a:lnTo>
                  <a:pt x="174154" y="1493"/>
                </a:lnTo>
                <a:lnTo>
                  <a:pt x="174154" y="14374"/>
                </a:lnTo>
                <a:lnTo>
                  <a:pt x="121865" y="14374"/>
                </a:lnTo>
                <a:lnTo>
                  <a:pt x="121865" y="46734"/>
                </a:lnTo>
                <a:lnTo>
                  <a:pt x="166236" y="46734"/>
                </a:lnTo>
                <a:lnTo>
                  <a:pt x="166236" y="59428"/>
                </a:lnTo>
                <a:lnTo>
                  <a:pt x="121865" y="59428"/>
                </a:lnTo>
                <a:lnTo>
                  <a:pt x="121865" y="95893"/>
                </a:lnTo>
                <a:lnTo>
                  <a:pt x="174901" y="95893"/>
                </a:lnTo>
                <a:lnTo>
                  <a:pt x="174901" y="108588"/>
                </a:lnTo>
                <a:lnTo>
                  <a:pt x="107821" y="108588"/>
                </a:lnTo>
                <a:lnTo>
                  <a:pt x="107821" y="1493"/>
                </a:lnTo>
                <a:close/>
                <a:moveTo>
                  <a:pt x="209362" y="58992"/>
                </a:moveTo>
                <a:lnTo>
                  <a:pt x="209362" y="46298"/>
                </a:lnTo>
                <a:lnTo>
                  <a:pt x="223704" y="46298"/>
                </a:lnTo>
                <a:cubicBezTo>
                  <a:pt x="229281" y="46298"/>
                  <a:pt x="233813" y="44804"/>
                  <a:pt x="237299" y="41817"/>
                </a:cubicBezTo>
                <a:cubicBezTo>
                  <a:pt x="240885" y="38768"/>
                  <a:pt x="242677" y="34412"/>
                  <a:pt x="242677" y="28812"/>
                </a:cubicBezTo>
                <a:cubicBezTo>
                  <a:pt x="242677" y="23771"/>
                  <a:pt x="241034" y="19788"/>
                  <a:pt x="237747" y="16864"/>
                </a:cubicBezTo>
                <a:cubicBezTo>
                  <a:pt x="234461" y="13877"/>
                  <a:pt x="229730" y="12383"/>
                  <a:pt x="223555" y="12383"/>
                </a:cubicBezTo>
                <a:cubicBezTo>
                  <a:pt x="218376" y="12383"/>
                  <a:pt x="213495" y="13379"/>
                  <a:pt x="208914" y="15246"/>
                </a:cubicBezTo>
                <a:cubicBezTo>
                  <a:pt x="204432" y="17113"/>
                  <a:pt x="199751" y="20162"/>
                  <a:pt x="194870" y="24331"/>
                </a:cubicBezTo>
                <a:lnTo>
                  <a:pt x="194870" y="9707"/>
                </a:lnTo>
                <a:cubicBezTo>
                  <a:pt x="202838" y="3235"/>
                  <a:pt x="212449" y="0"/>
                  <a:pt x="223704" y="0"/>
                </a:cubicBezTo>
                <a:cubicBezTo>
                  <a:pt x="233963" y="0"/>
                  <a:pt x="241980" y="2613"/>
                  <a:pt x="247757" y="7779"/>
                </a:cubicBezTo>
                <a:cubicBezTo>
                  <a:pt x="253633" y="12943"/>
                  <a:pt x="256571" y="19726"/>
                  <a:pt x="256571" y="28065"/>
                </a:cubicBezTo>
                <a:cubicBezTo>
                  <a:pt x="256571" y="34848"/>
                  <a:pt x="254679" y="40262"/>
                  <a:pt x="250894" y="44244"/>
                </a:cubicBezTo>
                <a:cubicBezTo>
                  <a:pt x="247209" y="48227"/>
                  <a:pt x="242777" y="50840"/>
                  <a:pt x="237598" y="52147"/>
                </a:cubicBezTo>
                <a:cubicBezTo>
                  <a:pt x="241781" y="52707"/>
                  <a:pt x="245616" y="54201"/>
                  <a:pt x="249102" y="56441"/>
                </a:cubicBezTo>
                <a:cubicBezTo>
                  <a:pt x="252687" y="58681"/>
                  <a:pt x="255575" y="61543"/>
                  <a:pt x="257767" y="65153"/>
                </a:cubicBezTo>
                <a:cubicBezTo>
                  <a:pt x="259958" y="68700"/>
                  <a:pt x="261053" y="72869"/>
                  <a:pt x="261053" y="77661"/>
                </a:cubicBezTo>
                <a:cubicBezTo>
                  <a:pt x="261053" y="84257"/>
                  <a:pt x="259410" y="89982"/>
                  <a:pt x="256123" y="94836"/>
                </a:cubicBezTo>
                <a:cubicBezTo>
                  <a:pt x="252836" y="99752"/>
                  <a:pt x="248305" y="103486"/>
                  <a:pt x="242528" y="106224"/>
                </a:cubicBezTo>
                <a:cubicBezTo>
                  <a:pt x="236851" y="108775"/>
                  <a:pt x="230228" y="110082"/>
                  <a:pt x="222658" y="110082"/>
                </a:cubicBezTo>
                <a:cubicBezTo>
                  <a:pt x="209511" y="110082"/>
                  <a:pt x="199352" y="107033"/>
                  <a:pt x="192181" y="100997"/>
                </a:cubicBezTo>
                <a:lnTo>
                  <a:pt x="192181" y="86062"/>
                </a:lnTo>
                <a:cubicBezTo>
                  <a:pt x="195966" y="89733"/>
                  <a:pt x="200547" y="92596"/>
                  <a:pt x="205926" y="94711"/>
                </a:cubicBezTo>
                <a:cubicBezTo>
                  <a:pt x="211304" y="96765"/>
                  <a:pt x="216931" y="97823"/>
                  <a:pt x="222808" y="97823"/>
                </a:cubicBezTo>
                <a:cubicBezTo>
                  <a:pt x="230178" y="97823"/>
                  <a:pt x="235955" y="96080"/>
                  <a:pt x="240138" y="92596"/>
                </a:cubicBezTo>
                <a:cubicBezTo>
                  <a:pt x="244420" y="89048"/>
                  <a:pt x="246562" y="84132"/>
                  <a:pt x="246562" y="77972"/>
                </a:cubicBezTo>
                <a:cubicBezTo>
                  <a:pt x="246562" y="71998"/>
                  <a:pt x="244620" y="67393"/>
                  <a:pt x="240735" y="64095"/>
                </a:cubicBezTo>
                <a:cubicBezTo>
                  <a:pt x="236950" y="60673"/>
                  <a:pt x="231074" y="58992"/>
                  <a:pt x="223106" y="58992"/>
                </a:cubicBezTo>
                <a:lnTo>
                  <a:pt x="209362" y="58992"/>
                </a:lnTo>
                <a:close/>
                <a:moveTo>
                  <a:pt x="279249" y="1493"/>
                </a:moveTo>
                <a:lnTo>
                  <a:pt x="344685" y="1493"/>
                </a:lnTo>
                <a:lnTo>
                  <a:pt x="344685" y="14374"/>
                </a:lnTo>
                <a:lnTo>
                  <a:pt x="293292" y="14374"/>
                </a:lnTo>
                <a:lnTo>
                  <a:pt x="293292" y="49907"/>
                </a:lnTo>
                <a:lnTo>
                  <a:pt x="336916" y="49907"/>
                </a:lnTo>
                <a:lnTo>
                  <a:pt x="336916" y="62601"/>
                </a:lnTo>
                <a:lnTo>
                  <a:pt x="293292" y="62601"/>
                </a:lnTo>
                <a:lnTo>
                  <a:pt x="293292" y="108588"/>
                </a:lnTo>
                <a:lnTo>
                  <a:pt x="279249" y="108588"/>
                </a:lnTo>
                <a:lnTo>
                  <a:pt x="279249" y="1493"/>
                </a:lnTo>
                <a:close/>
                <a:moveTo>
                  <a:pt x="364162" y="1493"/>
                </a:moveTo>
                <a:lnTo>
                  <a:pt x="429599" y="1493"/>
                </a:lnTo>
                <a:lnTo>
                  <a:pt x="429599" y="14374"/>
                </a:lnTo>
                <a:lnTo>
                  <a:pt x="378206" y="14374"/>
                </a:lnTo>
                <a:lnTo>
                  <a:pt x="378206" y="49907"/>
                </a:lnTo>
                <a:lnTo>
                  <a:pt x="421830" y="49907"/>
                </a:lnTo>
                <a:lnTo>
                  <a:pt x="421830" y="62601"/>
                </a:lnTo>
                <a:lnTo>
                  <a:pt x="378206" y="62601"/>
                </a:lnTo>
                <a:lnTo>
                  <a:pt x="378206" y="108588"/>
                </a:lnTo>
                <a:lnTo>
                  <a:pt x="364162" y="108588"/>
                </a:lnTo>
                <a:lnTo>
                  <a:pt x="364162" y="1493"/>
                </a:lnTo>
                <a:close/>
                <a:moveTo>
                  <a:pt x="449076" y="1493"/>
                </a:moveTo>
                <a:lnTo>
                  <a:pt x="485081" y="1493"/>
                </a:lnTo>
                <a:cubicBezTo>
                  <a:pt x="492252" y="1493"/>
                  <a:pt x="498925" y="2365"/>
                  <a:pt x="505100" y="4044"/>
                </a:cubicBezTo>
                <a:cubicBezTo>
                  <a:pt x="511275" y="5725"/>
                  <a:pt x="516654" y="8525"/>
                  <a:pt x="521235" y="12383"/>
                </a:cubicBezTo>
                <a:cubicBezTo>
                  <a:pt x="525817" y="16179"/>
                  <a:pt x="529402" y="21282"/>
                  <a:pt x="531992" y="27629"/>
                </a:cubicBezTo>
                <a:cubicBezTo>
                  <a:pt x="534581" y="34039"/>
                  <a:pt x="535876" y="41942"/>
                  <a:pt x="535876" y="51401"/>
                </a:cubicBezTo>
                <a:cubicBezTo>
                  <a:pt x="535876" y="63908"/>
                  <a:pt x="533585" y="74487"/>
                  <a:pt x="529004" y="83075"/>
                </a:cubicBezTo>
                <a:cubicBezTo>
                  <a:pt x="524522" y="91538"/>
                  <a:pt x="518347" y="97885"/>
                  <a:pt x="510479" y="102179"/>
                </a:cubicBezTo>
                <a:cubicBezTo>
                  <a:pt x="502610" y="106473"/>
                  <a:pt x="493597" y="108588"/>
                  <a:pt x="483438" y="108588"/>
                </a:cubicBezTo>
                <a:lnTo>
                  <a:pt x="449076" y="108588"/>
                </a:lnTo>
                <a:lnTo>
                  <a:pt x="449076" y="1493"/>
                </a:lnTo>
                <a:close/>
                <a:moveTo>
                  <a:pt x="483438" y="95893"/>
                </a:moveTo>
                <a:cubicBezTo>
                  <a:pt x="490808" y="95893"/>
                  <a:pt x="497282" y="94400"/>
                  <a:pt x="502859" y="91413"/>
                </a:cubicBezTo>
                <a:cubicBezTo>
                  <a:pt x="508437" y="88302"/>
                  <a:pt x="512769" y="83572"/>
                  <a:pt x="515857" y="77225"/>
                </a:cubicBezTo>
                <a:cubicBezTo>
                  <a:pt x="519044" y="70754"/>
                  <a:pt x="520638" y="62477"/>
                  <a:pt x="520638" y="52458"/>
                </a:cubicBezTo>
                <a:cubicBezTo>
                  <a:pt x="520638" y="42377"/>
                  <a:pt x="519094" y="34599"/>
                  <a:pt x="516006" y="29122"/>
                </a:cubicBezTo>
                <a:cubicBezTo>
                  <a:pt x="512919" y="23646"/>
                  <a:pt x="508686" y="19851"/>
                  <a:pt x="503308" y="17610"/>
                </a:cubicBezTo>
                <a:cubicBezTo>
                  <a:pt x="498029" y="15433"/>
                  <a:pt x="491953" y="14374"/>
                  <a:pt x="485081" y="14374"/>
                </a:cubicBezTo>
                <a:lnTo>
                  <a:pt x="463120" y="14374"/>
                </a:lnTo>
                <a:lnTo>
                  <a:pt x="463120" y="95893"/>
                </a:lnTo>
                <a:lnTo>
                  <a:pt x="483438" y="95893"/>
                </a:lnTo>
                <a:close/>
                <a:moveTo>
                  <a:pt x="597583" y="108588"/>
                </a:moveTo>
                <a:lnTo>
                  <a:pt x="583989" y="108588"/>
                </a:lnTo>
                <a:lnTo>
                  <a:pt x="583989" y="18357"/>
                </a:lnTo>
                <a:lnTo>
                  <a:pt x="554408" y="41071"/>
                </a:lnTo>
                <a:lnTo>
                  <a:pt x="554408" y="26011"/>
                </a:lnTo>
                <a:lnTo>
                  <a:pt x="586229" y="1493"/>
                </a:lnTo>
                <a:lnTo>
                  <a:pt x="597583" y="1493"/>
                </a:lnTo>
                <a:lnTo>
                  <a:pt x="597583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9" name="Полилиния 1038">
            <a:extLst>
              <a:ext uri="{FF2B5EF4-FFF2-40B4-BE49-F238E27FC236}">
                <a16:creationId xmlns:a16="http://schemas.microsoft.com/office/drawing/2014/main" id="{CDC5E3CC-CDFE-C851-E6A3-369681A48856}"/>
              </a:ext>
            </a:extLst>
          </p:cNvPr>
          <p:cNvSpPr/>
          <p:nvPr userDrawn="1"/>
        </p:nvSpPr>
        <p:spPr>
          <a:xfrm>
            <a:off x="15359119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36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1FFE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0" name="Полилиния 1039">
            <a:extLst>
              <a:ext uri="{FF2B5EF4-FFF2-40B4-BE49-F238E27FC236}">
                <a16:creationId xmlns:a16="http://schemas.microsoft.com/office/drawing/2014/main" id="{2AA4A07B-5D4A-8BB3-2FA4-FAC983CCC5F4}"/>
              </a:ext>
            </a:extLst>
          </p:cNvPr>
          <p:cNvSpPr/>
          <p:nvPr userDrawn="1"/>
        </p:nvSpPr>
        <p:spPr>
          <a:xfrm>
            <a:off x="15482328" y="10625622"/>
            <a:ext cx="698323" cy="128252"/>
          </a:xfrm>
          <a:custGeom>
            <a:avLst/>
            <a:gdLst>
              <a:gd name="connsiteX0" fmla="*/ 22111 w 598374"/>
              <a:gd name="connsiteY0" fmla="*/ 108402 h 109895"/>
              <a:gd name="connsiteX1" fmla="*/ 10159 w 598374"/>
              <a:gd name="connsiteY1" fmla="*/ 108402 h 109895"/>
              <a:gd name="connsiteX2" fmla="*/ 16434 w 598374"/>
              <a:gd name="connsiteY2" fmla="*/ 77475 h 109895"/>
              <a:gd name="connsiteX3" fmla="*/ 0 w 598374"/>
              <a:gd name="connsiteY3" fmla="*/ 77475 h 109895"/>
              <a:gd name="connsiteX4" fmla="*/ 0 w 598374"/>
              <a:gd name="connsiteY4" fmla="*/ 67020 h 109895"/>
              <a:gd name="connsiteX5" fmla="*/ 18675 w 598374"/>
              <a:gd name="connsiteY5" fmla="*/ 67020 h 109895"/>
              <a:gd name="connsiteX6" fmla="*/ 24202 w 598374"/>
              <a:gd name="connsiteY6" fmla="*/ 39826 h 109895"/>
              <a:gd name="connsiteX7" fmla="*/ 4034 w 598374"/>
              <a:gd name="connsiteY7" fmla="*/ 39826 h 109895"/>
              <a:gd name="connsiteX8" fmla="*/ 4034 w 598374"/>
              <a:gd name="connsiteY8" fmla="*/ 29372 h 109895"/>
              <a:gd name="connsiteX9" fmla="*/ 26294 w 598374"/>
              <a:gd name="connsiteY9" fmla="*/ 29372 h 109895"/>
              <a:gd name="connsiteX10" fmla="*/ 32120 w 598374"/>
              <a:gd name="connsiteY10" fmla="*/ 1307 h 109895"/>
              <a:gd name="connsiteX11" fmla="*/ 44072 w 598374"/>
              <a:gd name="connsiteY11" fmla="*/ 1307 h 109895"/>
              <a:gd name="connsiteX12" fmla="*/ 38246 w 598374"/>
              <a:gd name="connsiteY12" fmla="*/ 29372 h 109895"/>
              <a:gd name="connsiteX13" fmla="*/ 60655 w 598374"/>
              <a:gd name="connsiteY13" fmla="*/ 29372 h 109895"/>
              <a:gd name="connsiteX14" fmla="*/ 66482 w 598374"/>
              <a:gd name="connsiteY14" fmla="*/ 1307 h 109895"/>
              <a:gd name="connsiteX15" fmla="*/ 78434 w 598374"/>
              <a:gd name="connsiteY15" fmla="*/ 1307 h 109895"/>
              <a:gd name="connsiteX16" fmla="*/ 72607 w 598374"/>
              <a:gd name="connsiteY16" fmla="*/ 29372 h 109895"/>
              <a:gd name="connsiteX17" fmla="*/ 89340 w 598374"/>
              <a:gd name="connsiteY17" fmla="*/ 29372 h 109895"/>
              <a:gd name="connsiteX18" fmla="*/ 89340 w 598374"/>
              <a:gd name="connsiteY18" fmla="*/ 39826 h 109895"/>
              <a:gd name="connsiteX19" fmla="*/ 70515 w 598374"/>
              <a:gd name="connsiteY19" fmla="*/ 39826 h 109895"/>
              <a:gd name="connsiteX20" fmla="*/ 64988 w 598374"/>
              <a:gd name="connsiteY20" fmla="*/ 67020 h 109895"/>
              <a:gd name="connsiteX21" fmla="*/ 85306 w 598374"/>
              <a:gd name="connsiteY21" fmla="*/ 67020 h 109895"/>
              <a:gd name="connsiteX22" fmla="*/ 85306 w 598374"/>
              <a:gd name="connsiteY22" fmla="*/ 77475 h 109895"/>
              <a:gd name="connsiteX23" fmla="*/ 62747 w 598374"/>
              <a:gd name="connsiteY23" fmla="*/ 77475 h 109895"/>
              <a:gd name="connsiteX24" fmla="*/ 56472 w 598374"/>
              <a:gd name="connsiteY24" fmla="*/ 108402 h 109895"/>
              <a:gd name="connsiteX25" fmla="*/ 44520 w 598374"/>
              <a:gd name="connsiteY25" fmla="*/ 108402 h 109895"/>
              <a:gd name="connsiteX26" fmla="*/ 50795 w 598374"/>
              <a:gd name="connsiteY26" fmla="*/ 77475 h 109895"/>
              <a:gd name="connsiteX27" fmla="*/ 28386 w 598374"/>
              <a:gd name="connsiteY27" fmla="*/ 77475 h 109895"/>
              <a:gd name="connsiteX28" fmla="*/ 22111 w 598374"/>
              <a:gd name="connsiteY28" fmla="*/ 108402 h 109895"/>
              <a:gd name="connsiteX29" fmla="*/ 30626 w 598374"/>
              <a:gd name="connsiteY29" fmla="*/ 67020 h 109895"/>
              <a:gd name="connsiteX30" fmla="*/ 53036 w 598374"/>
              <a:gd name="connsiteY30" fmla="*/ 67020 h 109895"/>
              <a:gd name="connsiteX31" fmla="*/ 58564 w 598374"/>
              <a:gd name="connsiteY31" fmla="*/ 39826 h 109895"/>
              <a:gd name="connsiteX32" fmla="*/ 36154 w 598374"/>
              <a:gd name="connsiteY32" fmla="*/ 39826 h 109895"/>
              <a:gd name="connsiteX33" fmla="*/ 30626 w 598374"/>
              <a:gd name="connsiteY33" fmla="*/ 67020 h 109895"/>
              <a:gd name="connsiteX34" fmla="*/ 107821 w 598374"/>
              <a:gd name="connsiteY34" fmla="*/ 1307 h 109895"/>
              <a:gd name="connsiteX35" fmla="*/ 173257 w 598374"/>
              <a:gd name="connsiteY35" fmla="*/ 1307 h 109895"/>
              <a:gd name="connsiteX36" fmla="*/ 173257 w 598374"/>
              <a:gd name="connsiteY36" fmla="*/ 14188 h 109895"/>
              <a:gd name="connsiteX37" fmla="*/ 121865 w 598374"/>
              <a:gd name="connsiteY37" fmla="*/ 14188 h 109895"/>
              <a:gd name="connsiteX38" fmla="*/ 121865 w 598374"/>
              <a:gd name="connsiteY38" fmla="*/ 49720 h 109895"/>
              <a:gd name="connsiteX39" fmla="*/ 165489 w 598374"/>
              <a:gd name="connsiteY39" fmla="*/ 49720 h 109895"/>
              <a:gd name="connsiteX40" fmla="*/ 165489 w 598374"/>
              <a:gd name="connsiteY40" fmla="*/ 62415 h 109895"/>
              <a:gd name="connsiteX41" fmla="*/ 121865 w 598374"/>
              <a:gd name="connsiteY41" fmla="*/ 62415 h 109895"/>
              <a:gd name="connsiteX42" fmla="*/ 121865 w 598374"/>
              <a:gd name="connsiteY42" fmla="*/ 108402 h 109895"/>
              <a:gd name="connsiteX43" fmla="*/ 107821 w 598374"/>
              <a:gd name="connsiteY43" fmla="*/ 108402 h 109895"/>
              <a:gd name="connsiteX44" fmla="*/ 107821 w 598374"/>
              <a:gd name="connsiteY44" fmla="*/ 1307 h 109895"/>
              <a:gd name="connsiteX45" fmla="*/ 235762 w 598374"/>
              <a:gd name="connsiteY45" fmla="*/ 108402 h 109895"/>
              <a:gd name="connsiteX46" fmla="*/ 222166 w 598374"/>
              <a:gd name="connsiteY46" fmla="*/ 108402 h 109895"/>
              <a:gd name="connsiteX47" fmla="*/ 222166 w 598374"/>
              <a:gd name="connsiteY47" fmla="*/ 18171 h 109895"/>
              <a:gd name="connsiteX48" fmla="*/ 192586 w 598374"/>
              <a:gd name="connsiteY48" fmla="*/ 40885 h 109895"/>
              <a:gd name="connsiteX49" fmla="*/ 192586 w 598374"/>
              <a:gd name="connsiteY49" fmla="*/ 25825 h 109895"/>
              <a:gd name="connsiteX50" fmla="*/ 224407 w 598374"/>
              <a:gd name="connsiteY50" fmla="*/ 1307 h 109895"/>
              <a:gd name="connsiteX51" fmla="*/ 235762 w 598374"/>
              <a:gd name="connsiteY51" fmla="*/ 1307 h 109895"/>
              <a:gd name="connsiteX52" fmla="*/ 235762 w 598374"/>
              <a:gd name="connsiteY52" fmla="*/ 108402 h 109895"/>
              <a:gd name="connsiteX53" fmla="*/ 274873 w 598374"/>
              <a:gd name="connsiteY53" fmla="*/ 1307 h 109895"/>
              <a:gd name="connsiteX54" fmla="*/ 340309 w 598374"/>
              <a:gd name="connsiteY54" fmla="*/ 1307 h 109895"/>
              <a:gd name="connsiteX55" fmla="*/ 340309 w 598374"/>
              <a:gd name="connsiteY55" fmla="*/ 14188 h 109895"/>
              <a:gd name="connsiteX56" fmla="*/ 288916 w 598374"/>
              <a:gd name="connsiteY56" fmla="*/ 14188 h 109895"/>
              <a:gd name="connsiteX57" fmla="*/ 288916 w 598374"/>
              <a:gd name="connsiteY57" fmla="*/ 49720 h 109895"/>
              <a:gd name="connsiteX58" fmla="*/ 332540 w 598374"/>
              <a:gd name="connsiteY58" fmla="*/ 49720 h 109895"/>
              <a:gd name="connsiteX59" fmla="*/ 332540 w 598374"/>
              <a:gd name="connsiteY59" fmla="*/ 62415 h 109895"/>
              <a:gd name="connsiteX60" fmla="*/ 288916 w 598374"/>
              <a:gd name="connsiteY60" fmla="*/ 62415 h 109895"/>
              <a:gd name="connsiteX61" fmla="*/ 288916 w 598374"/>
              <a:gd name="connsiteY61" fmla="*/ 108402 h 109895"/>
              <a:gd name="connsiteX62" fmla="*/ 274873 w 598374"/>
              <a:gd name="connsiteY62" fmla="*/ 108402 h 109895"/>
              <a:gd name="connsiteX63" fmla="*/ 274873 w 598374"/>
              <a:gd name="connsiteY63" fmla="*/ 1307 h 109895"/>
              <a:gd name="connsiteX64" fmla="*/ 359786 w 598374"/>
              <a:gd name="connsiteY64" fmla="*/ 1307 h 109895"/>
              <a:gd name="connsiteX65" fmla="*/ 425223 w 598374"/>
              <a:gd name="connsiteY65" fmla="*/ 1307 h 109895"/>
              <a:gd name="connsiteX66" fmla="*/ 425223 w 598374"/>
              <a:gd name="connsiteY66" fmla="*/ 14188 h 109895"/>
              <a:gd name="connsiteX67" fmla="*/ 373830 w 598374"/>
              <a:gd name="connsiteY67" fmla="*/ 14188 h 109895"/>
              <a:gd name="connsiteX68" fmla="*/ 373830 w 598374"/>
              <a:gd name="connsiteY68" fmla="*/ 49720 h 109895"/>
              <a:gd name="connsiteX69" fmla="*/ 417454 w 598374"/>
              <a:gd name="connsiteY69" fmla="*/ 49720 h 109895"/>
              <a:gd name="connsiteX70" fmla="*/ 417454 w 598374"/>
              <a:gd name="connsiteY70" fmla="*/ 62415 h 109895"/>
              <a:gd name="connsiteX71" fmla="*/ 373830 w 598374"/>
              <a:gd name="connsiteY71" fmla="*/ 62415 h 109895"/>
              <a:gd name="connsiteX72" fmla="*/ 373830 w 598374"/>
              <a:gd name="connsiteY72" fmla="*/ 108402 h 109895"/>
              <a:gd name="connsiteX73" fmla="*/ 359786 w 598374"/>
              <a:gd name="connsiteY73" fmla="*/ 108402 h 109895"/>
              <a:gd name="connsiteX74" fmla="*/ 359786 w 598374"/>
              <a:gd name="connsiteY74" fmla="*/ 1307 h 109895"/>
              <a:gd name="connsiteX75" fmla="*/ 444694 w 598374"/>
              <a:gd name="connsiteY75" fmla="*/ 1307 h 109895"/>
              <a:gd name="connsiteX76" fmla="*/ 511026 w 598374"/>
              <a:gd name="connsiteY76" fmla="*/ 1307 h 109895"/>
              <a:gd name="connsiteX77" fmla="*/ 511026 w 598374"/>
              <a:gd name="connsiteY77" fmla="*/ 14188 h 109895"/>
              <a:gd name="connsiteX78" fmla="*/ 458737 w 598374"/>
              <a:gd name="connsiteY78" fmla="*/ 14188 h 109895"/>
              <a:gd name="connsiteX79" fmla="*/ 458737 w 598374"/>
              <a:gd name="connsiteY79" fmla="*/ 46547 h 109895"/>
              <a:gd name="connsiteX80" fmla="*/ 503108 w 598374"/>
              <a:gd name="connsiteY80" fmla="*/ 46547 h 109895"/>
              <a:gd name="connsiteX81" fmla="*/ 503108 w 598374"/>
              <a:gd name="connsiteY81" fmla="*/ 59242 h 109895"/>
              <a:gd name="connsiteX82" fmla="*/ 458737 w 598374"/>
              <a:gd name="connsiteY82" fmla="*/ 59242 h 109895"/>
              <a:gd name="connsiteX83" fmla="*/ 458737 w 598374"/>
              <a:gd name="connsiteY83" fmla="*/ 95707 h 109895"/>
              <a:gd name="connsiteX84" fmla="*/ 511773 w 598374"/>
              <a:gd name="connsiteY84" fmla="*/ 95707 h 109895"/>
              <a:gd name="connsiteX85" fmla="*/ 511773 w 598374"/>
              <a:gd name="connsiteY85" fmla="*/ 108402 h 109895"/>
              <a:gd name="connsiteX86" fmla="*/ 444694 w 598374"/>
              <a:gd name="connsiteY86" fmla="*/ 108402 h 109895"/>
              <a:gd name="connsiteX87" fmla="*/ 444694 w 598374"/>
              <a:gd name="connsiteY87" fmla="*/ 1307 h 109895"/>
              <a:gd name="connsiteX88" fmla="*/ 562967 w 598374"/>
              <a:gd name="connsiteY88" fmla="*/ 109896 h 109895"/>
              <a:gd name="connsiteX89" fmla="*/ 544292 w 598374"/>
              <a:gd name="connsiteY89" fmla="*/ 106287 h 109895"/>
              <a:gd name="connsiteX90" fmla="*/ 531594 w 598374"/>
              <a:gd name="connsiteY90" fmla="*/ 96019 h 109895"/>
              <a:gd name="connsiteX91" fmla="*/ 526962 w 598374"/>
              <a:gd name="connsiteY91" fmla="*/ 79590 h 109895"/>
              <a:gd name="connsiteX92" fmla="*/ 532341 w 598374"/>
              <a:gd name="connsiteY92" fmla="*/ 62105 h 109895"/>
              <a:gd name="connsiteX93" fmla="*/ 547131 w 598374"/>
              <a:gd name="connsiteY93" fmla="*/ 51525 h 109895"/>
              <a:gd name="connsiteX94" fmla="*/ 535179 w 598374"/>
              <a:gd name="connsiteY94" fmla="*/ 42378 h 109895"/>
              <a:gd name="connsiteX95" fmla="*/ 530847 w 598374"/>
              <a:gd name="connsiteY95" fmla="*/ 27318 h 109895"/>
              <a:gd name="connsiteX96" fmla="*/ 535030 w 598374"/>
              <a:gd name="connsiteY96" fmla="*/ 12383 h 109895"/>
              <a:gd name="connsiteX97" fmla="*/ 546533 w 598374"/>
              <a:gd name="connsiteY97" fmla="*/ 3111 h 109895"/>
              <a:gd name="connsiteX98" fmla="*/ 562967 w 598374"/>
              <a:gd name="connsiteY98" fmla="*/ 0 h 109895"/>
              <a:gd name="connsiteX99" fmla="*/ 579102 w 598374"/>
              <a:gd name="connsiteY99" fmla="*/ 3111 h 109895"/>
              <a:gd name="connsiteX100" fmla="*/ 590456 w 598374"/>
              <a:gd name="connsiteY100" fmla="*/ 12073 h 109895"/>
              <a:gd name="connsiteX101" fmla="*/ 594789 w 598374"/>
              <a:gd name="connsiteY101" fmla="*/ 27008 h 109895"/>
              <a:gd name="connsiteX102" fmla="*/ 590307 w 598374"/>
              <a:gd name="connsiteY102" fmla="*/ 42253 h 109895"/>
              <a:gd name="connsiteX103" fmla="*/ 578504 w 598374"/>
              <a:gd name="connsiteY103" fmla="*/ 51525 h 109895"/>
              <a:gd name="connsiteX104" fmla="*/ 592846 w 598374"/>
              <a:gd name="connsiteY104" fmla="*/ 61669 h 109895"/>
              <a:gd name="connsiteX105" fmla="*/ 598374 w 598374"/>
              <a:gd name="connsiteY105" fmla="*/ 79155 h 109895"/>
              <a:gd name="connsiteX106" fmla="*/ 593743 w 598374"/>
              <a:gd name="connsiteY106" fmla="*/ 95707 h 109895"/>
              <a:gd name="connsiteX107" fmla="*/ 581044 w 598374"/>
              <a:gd name="connsiteY107" fmla="*/ 106287 h 109895"/>
              <a:gd name="connsiteX108" fmla="*/ 562967 w 598374"/>
              <a:gd name="connsiteY108" fmla="*/ 109896 h 109895"/>
              <a:gd name="connsiteX109" fmla="*/ 562967 w 598374"/>
              <a:gd name="connsiteY109" fmla="*/ 46111 h 109895"/>
              <a:gd name="connsiteX110" fmla="*/ 575965 w 598374"/>
              <a:gd name="connsiteY110" fmla="*/ 41631 h 109895"/>
              <a:gd name="connsiteX111" fmla="*/ 581193 w 598374"/>
              <a:gd name="connsiteY111" fmla="*/ 28936 h 109895"/>
              <a:gd name="connsiteX112" fmla="*/ 575965 w 598374"/>
              <a:gd name="connsiteY112" fmla="*/ 16428 h 109895"/>
              <a:gd name="connsiteX113" fmla="*/ 562967 w 598374"/>
              <a:gd name="connsiteY113" fmla="*/ 11761 h 109895"/>
              <a:gd name="connsiteX114" fmla="*/ 549671 w 598374"/>
              <a:gd name="connsiteY114" fmla="*/ 16428 h 109895"/>
              <a:gd name="connsiteX115" fmla="*/ 544442 w 598374"/>
              <a:gd name="connsiteY115" fmla="*/ 28936 h 109895"/>
              <a:gd name="connsiteX116" fmla="*/ 549671 w 598374"/>
              <a:gd name="connsiteY116" fmla="*/ 41631 h 109895"/>
              <a:gd name="connsiteX117" fmla="*/ 562967 w 598374"/>
              <a:gd name="connsiteY117" fmla="*/ 46111 h 109895"/>
              <a:gd name="connsiteX118" fmla="*/ 562967 w 598374"/>
              <a:gd name="connsiteY118" fmla="*/ 98072 h 109895"/>
              <a:gd name="connsiteX119" fmla="*/ 578355 w 598374"/>
              <a:gd name="connsiteY119" fmla="*/ 92721 h 109895"/>
              <a:gd name="connsiteX120" fmla="*/ 584630 w 598374"/>
              <a:gd name="connsiteY120" fmla="*/ 77350 h 109895"/>
              <a:gd name="connsiteX121" fmla="*/ 578355 w 598374"/>
              <a:gd name="connsiteY121" fmla="*/ 62105 h 109895"/>
              <a:gd name="connsiteX122" fmla="*/ 562967 w 598374"/>
              <a:gd name="connsiteY122" fmla="*/ 56566 h 109895"/>
              <a:gd name="connsiteX123" fmla="*/ 546982 w 598374"/>
              <a:gd name="connsiteY123" fmla="*/ 62105 h 109895"/>
              <a:gd name="connsiteX124" fmla="*/ 540707 w 598374"/>
              <a:gd name="connsiteY124" fmla="*/ 77350 h 109895"/>
              <a:gd name="connsiteX125" fmla="*/ 546982 w 598374"/>
              <a:gd name="connsiteY125" fmla="*/ 92721 h 109895"/>
              <a:gd name="connsiteX126" fmla="*/ 562967 w 598374"/>
              <a:gd name="connsiteY126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598374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5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1" y="1307"/>
                </a:moveTo>
                <a:lnTo>
                  <a:pt x="173257" y="1307"/>
                </a:lnTo>
                <a:lnTo>
                  <a:pt x="173257" y="14188"/>
                </a:lnTo>
                <a:lnTo>
                  <a:pt x="121865" y="14188"/>
                </a:lnTo>
                <a:lnTo>
                  <a:pt x="121865" y="49720"/>
                </a:lnTo>
                <a:lnTo>
                  <a:pt x="165489" y="49720"/>
                </a:lnTo>
                <a:lnTo>
                  <a:pt x="165489" y="62415"/>
                </a:lnTo>
                <a:lnTo>
                  <a:pt x="121865" y="62415"/>
                </a:lnTo>
                <a:lnTo>
                  <a:pt x="121865" y="108402"/>
                </a:lnTo>
                <a:lnTo>
                  <a:pt x="107821" y="108402"/>
                </a:lnTo>
                <a:lnTo>
                  <a:pt x="107821" y="1307"/>
                </a:lnTo>
                <a:close/>
                <a:moveTo>
                  <a:pt x="235762" y="108402"/>
                </a:moveTo>
                <a:lnTo>
                  <a:pt x="222166" y="108402"/>
                </a:lnTo>
                <a:lnTo>
                  <a:pt x="222166" y="18171"/>
                </a:lnTo>
                <a:lnTo>
                  <a:pt x="192586" y="40885"/>
                </a:lnTo>
                <a:lnTo>
                  <a:pt x="192586" y="25825"/>
                </a:lnTo>
                <a:lnTo>
                  <a:pt x="224407" y="1307"/>
                </a:lnTo>
                <a:lnTo>
                  <a:pt x="235762" y="1307"/>
                </a:lnTo>
                <a:lnTo>
                  <a:pt x="235762" y="108402"/>
                </a:lnTo>
                <a:close/>
                <a:moveTo>
                  <a:pt x="274873" y="1307"/>
                </a:moveTo>
                <a:lnTo>
                  <a:pt x="340309" y="1307"/>
                </a:lnTo>
                <a:lnTo>
                  <a:pt x="340309" y="14188"/>
                </a:lnTo>
                <a:lnTo>
                  <a:pt x="288916" y="14188"/>
                </a:lnTo>
                <a:lnTo>
                  <a:pt x="288916" y="49720"/>
                </a:lnTo>
                <a:lnTo>
                  <a:pt x="332540" y="49720"/>
                </a:lnTo>
                <a:lnTo>
                  <a:pt x="332540" y="62415"/>
                </a:lnTo>
                <a:lnTo>
                  <a:pt x="288916" y="62415"/>
                </a:lnTo>
                <a:lnTo>
                  <a:pt x="288916" y="108402"/>
                </a:lnTo>
                <a:lnTo>
                  <a:pt x="274873" y="108402"/>
                </a:lnTo>
                <a:lnTo>
                  <a:pt x="274873" y="1307"/>
                </a:lnTo>
                <a:close/>
                <a:moveTo>
                  <a:pt x="359786" y="1307"/>
                </a:moveTo>
                <a:lnTo>
                  <a:pt x="425223" y="1307"/>
                </a:lnTo>
                <a:lnTo>
                  <a:pt x="425223" y="14188"/>
                </a:lnTo>
                <a:lnTo>
                  <a:pt x="373830" y="14188"/>
                </a:lnTo>
                <a:lnTo>
                  <a:pt x="373830" y="49720"/>
                </a:lnTo>
                <a:lnTo>
                  <a:pt x="417454" y="49720"/>
                </a:lnTo>
                <a:lnTo>
                  <a:pt x="417454" y="62415"/>
                </a:lnTo>
                <a:lnTo>
                  <a:pt x="373830" y="62415"/>
                </a:lnTo>
                <a:lnTo>
                  <a:pt x="373830" y="108402"/>
                </a:lnTo>
                <a:lnTo>
                  <a:pt x="359786" y="108402"/>
                </a:lnTo>
                <a:lnTo>
                  <a:pt x="359786" y="1307"/>
                </a:lnTo>
                <a:close/>
                <a:moveTo>
                  <a:pt x="444694" y="1307"/>
                </a:moveTo>
                <a:lnTo>
                  <a:pt x="511026" y="1307"/>
                </a:lnTo>
                <a:lnTo>
                  <a:pt x="511026" y="14188"/>
                </a:lnTo>
                <a:lnTo>
                  <a:pt x="458737" y="14188"/>
                </a:lnTo>
                <a:lnTo>
                  <a:pt x="458737" y="46547"/>
                </a:lnTo>
                <a:lnTo>
                  <a:pt x="503108" y="46547"/>
                </a:lnTo>
                <a:lnTo>
                  <a:pt x="503108" y="59242"/>
                </a:lnTo>
                <a:lnTo>
                  <a:pt x="458737" y="59242"/>
                </a:lnTo>
                <a:lnTo>
                  <a:pt x="458737" y="95707"/>
                </a:lnTo>
                <a:lnTo>
                  <a:pt x="511773" y="95707"/>
                </a:lnTo>
                <a:lnTo>
                  <a:pt x="511773" y="108402"/>
                </a:lnTo>
                <a:lnTo>
                  <a:pt x="444694" y="108402"/>
                </a:lnTo>
                <a:lnTo>
                  <a:pt x="444694" y="1307"/>
                </a:lnTo>
                <a:close/>
                <a:moveTo>
                  <a:pt x="562967" y="109896"/>
                </a:moveTo>
                <a:cubicBezTo>
                  <a:pt x="555995" y="109896"/>
                  <a:pt x="549770" y="108714"/>
                  <a:pt x="544292" y="106287"/>
                </a:cubicBezTo>
                <a:cubicBezTo>
                  <a:pt x="538914" y="103922"/>
                  <a:pt x="534681" y="100499"/>
                  <a:pt x="531594" y="96019"/>
                </a:cubicBezTo>
                <a:cubicBezTo>
                  <a:pt x="528506" y="91414"/>
                  <a:pt x="526962" y="85938"/>
                  <a:pt x="526962" y="79590"/>
                </a:cubicBezTo>
                <a:cubicBezTo>
                  <a:pt x="526962" y="72683"/>
                  <a:pt x="528755" y="66896"/>
                  <a:pt x="532341" y="62105"/>
                </a:cubicBezTo>
                <a:cubicBezTo>
                  <a:pt x="536026" y="57251"/>
                  <a:pt x="540956" y="53703"/>
                  <a:pt x="547131" y="51525"/>
                </a:cubicBezTo>
                <a:cubicBezTo>
                  <a:pt x="542151" y="49534"/>
                  <a:pt x="538167" y="46485"/>
                  <a:pt x="535179" y="42378"/>
                </a:cubicBezTo>
                <a:cubicBezTo>
                  <a:pt x="532291" y="38333"/>
                  <a:pt x="530847" y="33293"/>
                  <a:pt x="530847" y="27318"/>
                </a:cubicBezTo>
                <a:cubicBezTo>
                  <a:pt x="530847" y="21407"/>
                  <a:pt x="532241" y="16428"/>
                  <a:pt x="535030" y="12383"/>
                </a:cubicBezTo>
                <a:cubicBezTo>
                  <a:pt x="537819" y="8277"/>
                  <a:pt x="541653" y="5228"/>
                  <a:pt x="546533" y="3111"/>
                </a:cubicBezTo>
                <a:cubicBezTo>
                  <a:pt x="551413" y="996"/>
                  <a:pt x="556891" y="0"/>
                  <a:pt x="562967" y="0"/>
                </a:cubicBezTo>
                <a:cubicBezTo>
                  <a:pt x="568943" y="0"/>
                  <a:pt x="574321" y="996"/>
                  <a:pt x="579102" y="3111"/>
                </a:cubicBezTo>
                <a:cubicBezTo>
                  <a:pt x="583883" y="5103"/>
                  <a:pt x="587667" y="8090"/>
                  <a:pt x="590456" y="12073"/>
                </a:cubicBezTo>
                <a:cubicBezTo>
                  <a:pt x="593345" y="16055"/>
                  <a:pt x="594789" y="21033"/>
                  <a:pt x="594789" y="27008"/>
                </a:cubicBezTo>
                <a:cubicBezTo>
                  <a:pt x="594789" y="33106"/>
                  <a:pt x="593295" y="38146"/>
                  <a:pt x="590307" y="42253"/>
                </a:cubicBezTo>
                <a:cubicBezTo>
                  <a:pt x="587319" y="46298"/>
                  <a:pt x="583384" y="49410"/>
                  <a:pt x="578504" y="51525"/>
                </a:cubicBezTo>
                <a:cubicBezTo>
                  <a:pt x="584480" y="53579"/>
                  <a:pt x="589261" y="57001"/>
                  <a:pt x="592846" y="61669"/>
                </a:cubicBezTo>
                <a:cubicBezTo>
                  <a:pt x="596532" y="66336"/>
                  <a:pt x="598374" y="72186"/>
                  <a:pt x="598374" y="79155"/>
                </a:cubicBezTo>
                <a:cubicBezTo>
                  <a:pt x="598374" y="85502"/>
                  <a:pt x="596830" y="91040"/>
                  <a:pt x="593743" y="95707"/>
                </a:cubicBezTo>
                <a:cubicBezTo>
                  <a:pt x="590655" y="100312"/>
                  <a:pt x="586422" y="103797"/>
                  <a:pt x="581044" y="106287"/>
                </a:cubicBezTo>
                <a:cubicBezTo>
                  <a:pt x="575765" y="108714"/>
                  <a:pt x="569740" y="109896"/>
                  <a:pt x="562967" y="109896"/>
                </a:cubicBezTo>
                <a:close/>
                <a:moveTo>
                  <a:pt x="562967" y="46111"/>
                </a:moveTo>
                <a:cubicBezTo>
                  <a:pt x="568246" y="46111"/>
                  <a:pt x="572578" y="44618"/>
                  <a:pt x="575965" y="41631"/>
                </a:cubicBezTo>
                <a:cubicBezTo>
                  <a:pt x="579451" y="38582"/>
                  <a:pt x="581193" y="34350"/>
                  <a:pt x="581193" y="28936"/>
                </a:cubicBezTo>
                <a:cubicBezTo>
                  <a:pt x="581193" y="23585"/>
                  <a:pt x="579451" y="19415"/>
                  <a:pt x="575965" y="16428"/>
                </a:cubicBezTo>
                <a:cubicBezTo>
                  <a:pt x="572578" y="13317"/>
                  <a:pt x="568246" y="11761"/>
                  <a:pt x="562967" y="11761"/>
                </a:cubicBezTo>
                <a:cubicBezTo>
                  <a:pt x="557688" y="11761"/>
                  <a:pt x="553256" y="13317"/>
                  <a:pt x="549671" y="16428"/>
                </a:cubicBezTo>
                <a:cubicBezTo>
                  <a:pt x="546185" y="19415"/>
                  <a:pt x="544442" y="23585"/>
                  <a:pt x="544442" y="28936"/>
                </a:cubicBezTo>
                <a:cubicBezTo>
                  <a:pt x="544442" y="34350"/>
                  <a:pt x="546185" y="38582"/>
                  <a:pt x="549671" y="41631"/>
                </a:cubicBezTo>
                <a:cubicBezTo>
                  <a:pt x="553256" y="44618"/>
                  <a:pt x="557688" y="46111"/>
                  <a:pt x="562967" y="46111"/>
                </a:cubicBezTo>
                <a:close/>
                <a:moveTo>
                  <a:pt x="562967" y="98072"/>
                </a:moveTo>
                <a:cubicBezTo>
                  <a:pt x="569142" y="98072"/>
                  <a:pt x="574271" y="96330"/>
                  <a:pt x="578355" y="92721"/>
                </a:cubicBezTo>
                <a:cubicBezTo>
                  <a:pt x="582538" y="89049"/>
                  <a:pt x="584630" y="83885"/>
                  <a:pt x="584630" y="77350"/>
                </a:cubicBezTo>
                <a:cubicBezTo>
                  <a:pt x="584630" y="70754"/>
                  <a:pt x="582538" y="65714"/>
                  <a:pt x="578355" y="62105"/>
                </a:cubicBezTo>
                <a:cubicBezTo>
                  <a:pt x="574271" y="58433"/>
                  <a:pt x="569142" y="56566"/>
                  <a:pt x="562967" y="56566"/>
                </a:cubicBezTo>
                <a:cubicBezTo>
                  <a:pt x="556593" y="56566"/>
                  <a:pt x="551264" y="58433"/>
                  <a:pt x="546982" y="62105"/>
                </a:cubicBezTo>
                <a:cubicBezTo>
                  <a:pt x="542798" y="65714"/>
                  <a:pt x="540707" y="70754"/>
                  <a:pt x="540707" y="77350"/>
                </a:cubicBezTo>
                <a:cubicBezTo>
                  <a:pt x="540707" y="83885"/>
                  <a:pt x="542798" y="89049"/>
                  <a:pt x="546982" y="92721"/>
                </a:cubicBezTo>
                <a:cubicBezTo>
                  <a:pt x="551264" y="96330"/>
                  <a:pt x="556593" y="98072"/>
                  <a:pt x="562967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1" name="Полилиния 1040">
            <a:extLst>
              <a:ext uri="{FF2B5EF4-FFF2-40B4-BE49-F238E27FC236}">
                <a16:creationId xmlns:a16="http://schemas.microsoft.com/office/drawing/2014/main" id="{2D7D8FBD-4F4B-7BBA-BC90-8585AA054F9E}"/>
              </a:ext>
            </a:extLst>
          </p:cNvPr>
          <p:cNvSpPr/>
          <p:nvPr userDrawn="1"/>
        </p:nvSpPr>
        <p:spPr>
          <a:xfrm>
            <a:off x="19989822" y="3787620"/>
            <a:ext cx="1398954" cy="726227"/>
          </a:xfrm>
          <a:custGeom>
            <a:avLst/>
            <a:gdLst>
              <a:gd name="connsiteX0" fmla="*/ 1063 w 1198727"/>
              <a:gd name="connsiteY0" fmla="*/ 1022 h 622284"/>
              <a:gd name="connsiteX1" fmla="*/ 1199791 w 1198727"/>
              <a:gd name="connsiteY1" fmla="*/ 1022 h 622284"/>
              <a:gd name="connsiteX2" fmla="*/ 1199791 w 1198727"/>
              <a:gd name="connsiteY2" fmla="*/ 623306 h 622284"/>
              <a:gd name="connsiteX3" fmla="*/ 1063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022"/>
                </a:moveTo>
                <a:lnTo>
                  <a:pt x="1199791" y="1022"/>
                </a:lnTo>
                <a:lnTo>
                  <a:pt x="1199791" y="623306"/>
                </a:lnTo>
                <a:lnTo>
                  <a:pt x="1063" y="623306"/>
                </a:lnTo>
                <a:close/>
              </a:path>
            </a:pathLst>
          </a:custGeom>
          <a:solidFill>
            <a:srgbClr val="5A14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2" name="Полилиния 1041">
            <a:extLst>
              <a:ext uri="{FF2B5EF4-FFF2-40B4-BE49-F238E27FC236}">
                <a16:creationId xmlns:a16="http://schemas.microsoft.com/office/drawing/2014/main" id="{E60CC6DB-27D6-5661-B2B1-7D95F2FD3020}"/>
              </a:ext>
            </a:extLst>
          </p:cNvPr>
          <p:cNvSpPr/>
          <p:nvPr userDrawn="1"/>
        </p:nvSpPr>
        <p:spPr>
          <a:xfrm>
            <a:off x="20113031" y="4089586"/>
            <a:ext cx="704453" cy="128252"/>
          </a:xfrm>
          <a:custGeom>
            <a:avLst/>
            <a:gdLst>
              <a:gd name="connsiteX0" fmla="*/ 22098 w 603627"/>
              <a:gd name="connsiteY0" fmla="*/ 108402 h 109895"/>
              <a:gd name="connsiteX1" fmla="*/ 10147 w 603627"/>
              <a:gd name="connsiteY1" fmla="*/ 108402 h 109895"/>
              <a:gd name="connsiteX2" fmla="*/ 16434 w 603627"/>
              <a:gd name="connsiteY2" fmla="*/ 77475 h 109895"/>
              <a:gd name="connsiteX3" fmla="*/ 0 w 603627"/>
              <a:gd name="connsiteY3" fmla="*/ 77475 h 109895"/>
              <a:gd name="connsiteX4" fmla="*/ 0 w 603627"/>
              <a:gd name="connsiteY4" fmla="*/ 67020 h 109895"/>
              <a:gd name="connsiteX5" fmla="*/ 18675 w 603627"/>
              <a:gd name="connsiteY5" fmla="*/ 67020 h 109895"/>
              <a:gd name="connsiteX6" fmla="*/ 24215 w 603627"/>
              <a:gd name="connsiteY6" fmla="*/ 39826 h 109895"/>
              <a:gd name="connsiteX7" fmla="*/ 4046 w 603627"/>
              <a:gd name="connsiteY7" fmla="*/ 39826 h 109895"/>
              <a:gd name="connsiteX8" fmla="*/ 4046 w 603627"/>
              <a:gd name="connsiteY8" fmla="*/ 29372 h 109895"/>
              <a:gd name="connsiteX9" fmla="*/ 26269 w 603627"/>
              <a:gd name="connsiteY9" fmla="*/ 29372 h 109895"/>
              <a:gd name="connsiteX10" fmla="*/ 32120 w 603627"/>
              <a:gd name="connsiteY10" fmla="*/ 1307 h 109895"/>
              <a:gd name="connsiteX11" fmla="*/ 44072 w 603627"/>
              <a:gd name="connsiteY11" fmla="*/ 1307 h 109895"/>
              <a:gd name="connsiteX12" fmla="*/ 38221 w 603627"/>
              <a:gd name="connsiteY12" fmla="*/ 29372 h 109895"/>
              <a:gd name="connsiteX13" fmla="*/ 60630 w 603627"/>
              <a:gd name="connsiteY13" fmla="*/ 29372 h 109895"/>
              <a:gd name="connsiteX14" fmla="*/ 66481 w 603627"/>
              <a:gd name="connsiteY14" fmla="*/ 1307 h 109895"/>
              <a:gd name="connsiteX15" fmla="*/ 78434 w 603627"/>
              <a:gd name="connsiteY15" fmla="*/ 1307 h 109895"/>
              <a:gd name="connsiteX16" fmla="*/ 72582 w 603627"/>
              <a:gd name="connsiteY16" fmla="*/ 29372 h 109895"/>
              <a:gd name="connsiteX17" fmla="*/ 89327 w 603627"/>
              <a:gd name="connsiteY17" fmla="*/ 29372 h 109895"/>
              <a:gd name="connsiteX18" fmla="*/ 89327 w 603627"/>
              <a:gd name="connsiteY18" fmla="*/ 39826 h 109895"/>
              <a:gd name="connsiteX19" fmla="*/ 70528 w 603627"/>
              <a:gd name="connsiteY19" fmla="*/ 39826 h 109895"/>
              <a:gd name="connsiteX20" fmla="*/ 64988 w 603627"/>
              <a:gd name="connsiteY20" fmla="*/ 67020 h 109895"/>
              <a:gd name="connsiteX21" fmla="*/ 85281 w 603627"/>
              <a:gd name="connsiteY21" fmla="*/ 67020 h 109895"/>
              <a:gd name="connsiteX22" fmla="*/ 85281 w 603627"/>
              <a:gd name="connsiteY22" fmla="*/ 77475 h 109895"/>
              <a:gd name="connsiteX23" fmla="*/ 62747 w 603627"/>
              <a:gd name="connsiteY23" fmla="*/ 77475 h 109895"/>
              <a:gd name="connsiteX24" fmla="*/ 56459 w 603627"/>
              <a:gd name="connsiteY24" fmla="*/ 108402 h 109895"/>
              <a:gd name="connsiteX25" fmla="*/ 44508 w 603627"/>
              <a:gd name="connsiteY25" fmla="*/ 108402 h 109895"/>
              <a:gd name="connsiteX26" fmla="*/ 50795 w 603627"/>
              <a:gd name="connsiteY26" fmla="*/ 77475 h 109895"/>
              <a:gd name="connsiteX27" fmla="*/ 28385 w 603627"/>
              <a:gd name="connsiteY27" fmla="*/ 77475 h 109895"/>
              <a:gd name="connsiteX28" fmla="*/ 22098 w 603627"/>
              <a:gd name="connsiteY28" fmla="*/ 108402 h 109895"/>
              <a:gd name="connsiteX29" fmla="*/ 30626 w 603627"/>
              <a:gd name="connsiteY29" fmla="*/ 67020 h 109895"/>
              <a:gd name="connsiteX30" fmla="*/ 53036 w 603627"/>
              <a:gd name="connsiteY30" fmla="*/ 67020 h 109895"/>
              <a:gd name="connsiteX31" fmla="*/ 58576 w 603627"/>
              <a:gd name="connsiteY31" fmla="*/ 39826 h 109895"/>
              <a:gd name="connsiteX32" fmla="*/ 36166 w 603627"/>
              <a:gd name="connsiteY32" fmla="*/ 39826 h 109895"/>
              <a:gd name="connsiteX33" fmla="*/ 30626 w 603627"/>
              <a:gd name="connsiteY33" fmla="*/ 67020 h 109895"/>
              <a:gd name="connsiteX34" fmla="*/ 131718 w 603627"/>
              <a:gd name="connsiteY34" fmla="*/ 109896 h 109895"/>
              <a:gd name="connsiteX35" fmla="*/ 103208 w 603627"/>
              <a:gd name="connsiteY35" fmla="*/ 102304 h 109895"/>
              <a:gd name="connsiteX36" fmla="*/ 103208 w 603627"/>
              <a:gd name="connsiteY36" fmla="*/ 87618 h 109895"/>
              <a:gd name="connsiteX37" fmla="*/ 116343 w 603627"/>
              <a:gd name="connsiteY37" fmla="*/ 95272 h 109895"/>
              <a:gd name="connsiteX38" fmla="*/ 131718 w 603627"/>
              <a:gd name="connsiteY38" fmla="*/ 97637 h 109895"/>
              <a:gd name="connsiteX39" fmla="*/ 148775 w 603627"/>
              <a:gd name="connsiteY39" fmla="*/ 90916 h 109895"/>
              <a:gd name="connsiteX40" fmla="*/ 154875 w 603627"/>
              <a:gd name="connsiteY40" fmla="*/ 73305 h 109895"/>
              <a:gd name="connsiteX41" fmla="*/ 148899 w 603627"/>
              <a:gd name="connsiteY41" fmla="*/ 56255 h 109895"/>
              <a:gd name="connsiteX42" fmla="*/ 133835 w 603627"/>
              <a:gd name="connsiteY42" fmla="*/ 50903 h 109895"/>
              <a:gd name="connsiteX43" fmla="*/ 123190 w 603627"/>
              <a:gd name="connsiteY43" fmla="*/ 53143 h 109895"/>
              <a:gd name="connsiteX44" fmla="*/ 117090 w 603627"/>
              <a:gd name="connsiteY44" fmla="*/ 57624 h 109895"/>
              <a:gd name="connsiteX45" fmla="*/ 106196 w 603627"/>
              <a:gd name="connsiteY45" fmla="*/ 57624 h 109895"/>
              <a:gd name="connsiteX46" fmla="*/ 106196 w 603627"/>
              <a:gd name="connsiteY46" fmla="*/ 1307 h 109895"/>
              <a:gd name="connsiteX47" fmla="*/ 164150 w 603627"/>
              <a:gd name="connsiteY47" fmla="*/ 1307 h 109895"/>
              <a:gd name="connsiteX48" fmla="*/ 164150 w 603627"/>
              <a:gd name="connsiteY48" fmla="*/ 14188 h 109895"/>
              <a:gd name="connsiteX49" fmla="*/ 118460 w 603627"/>
              <a:gd name="connsiteY49" fmla="*/ 14188 h 109895"/>
              <a:gd name="connsiteX50" fmla="*/ 118460 w 603627"/>
              <a:gd name="connsiteY50" fmla="*/ 44805 h 109895"/>
              <a:gd name="connsiteX51" fmla="*/ 125743 w 603627"/>
              <a:gd name="connsiteY51" fmla="*/ 40885 h 109895"/>
              <a:gd name="connsiteX52" fmla="*/ 136076 w 603627"/>
              <a:gd name="connsiteY52" fmla="*/ 39080 h 109895"/>
              <a:gd name="connsiteX53" fmla="*/ 152821 w 603627"/>
              <a:gd name="connsiteY53" fmla="*/ 43000 h 109895"/>
              <a:gd name="connsiteX54" fmla="*/ 164586 w 603627"/>
              <a:gd name="connsiteY54" fmla="*/ 54326 h 109895"/>
              <a:gd name="connsiteX55" fmla="*/ 169068 w 603627"/>
              <a:gd name="connsiteY55" fmla="*/ 72995 h 109895"/>
              <a:gd name="connsiteX56" fmla="*/ 164461 w 603627"/>
              <a:gd name="connsiteY56" fmla="*/ 92410 h 109895"/>
              <a:gd name="connsiteX57" fmla="*/ 151576 w 603627"/>
              <a:gd name="connsiteY57" fmla="*/ 105415 h 109895"/>
              <a:gd name="connsiteX58" fmla="*/ 131718 w 603627"/>
              <a:gd name="connsiteY58" fmla="*/ 109896 h 109895"/>
              <a:gd name="connsiteX59" fmla="*/ 277817 w 603627"/>
              <a:gd name="connsiteY59" fmla="*/ 108402 h 109895"/>
              <a:gd name="connsiteX60" fmla="*/ 262877 w 603627"/>
              <a:gd name="connsiteY60" fmla="*/ 108402 h 109895"/>
              <a:gd name="connsiteX61" fmla="*/ 251797 w 603627"/>
              <a:gd name="connsiteY61" fmla="*/ 77786 h 109895"/>
              <a:gd name="connsiteX62" fmla="*/ 204488 w 603627"/>
              <a:gd name="connsiteY62" fmla="*/ 77786 h 109895"/>
              <a:gd name="connsiteX63" fmla="*/ 193532 w 603627"/>
              <a:gd name="connsiteY63" fmla="*/ 108402 h 109895"/>
              <a:gd name="connsiteX64" fmla="*/ 180397 w 603627"/>
              <a:gd name="connsiteY64" fmla="*/ 108402 h 109895"/>
              <a:gd name="connsiteX65" fmla="*/ 218494 w 603627"/>
              <a:gd name="connsiteY65" fmla="*/ 1307 h 109895"/>
              <a:gd name="connsiteX66" fmla="*/ 239409 w 603627"/>
              <a:gd name="connsiteY66" fmla="*/ 1307 h 109895"/>
              <a:gd name="connsiteX67" fmla="*/ 277817 w 603627"/>
              <a:gd name="connsiteY67" fmla="*/ 108402 h 109895"/>
              <a:gd name="connsiteX68" fmla="*/ 209094 w 603627"/>
              <a:gd name="connsiteY68" fmla="*/ 65091 h 109895"/>
              <a:gd name="connsiteX69" fmla="*/ 247315 w 603627"/>
              <a:gd name="connsiteY69" fmla="*/ 65091 h 109895"/>
              <a:gd name="connsiteX70" fmla="*/ 228204 w 603627"/>
              <a:gd name="connsiteY70" fmla="*/ 11761 h 109895"/>
              <a:gd name="connsiteX71" fmla="*/ 209094 w 603627"/>
              <a:gd name="connsiteY71" fmla="*/ 65091 h 109895"/>
              <a:gd name="connsiteX72" fmla="*/ 336455 w 603627"/>
              <a:gd name="connsiteY72" fmla="*/ 108402 h 109895"/>
              <a:gd name="connsiteX73" fmla="*/ 322823 w 603627"/>
              <a:gd name="connsiteY73" fmla="*/ 108402 h 109895"/>
              <a:gd name="connsiteX74" fmla="*/ 322823 w 603627"/>
              <a:gd name="connsiteY74" fmla="*/ 18171 h 109895"/>
              <a:gd name="connsiteX75" fmla="*/ 293255 w 603627"/>
              <a:gd name="connsiteY75" fmla="*/ 40885 h 109895"/>
              <a:gd name="connsiteX76" fmla="*/ 293255 w 603627"/>
              <a:gd name="connsiteY76" fmla="*/ 25825 h 109895"/>
              <a:gd name="connsiteX77" fmla="*/ 325064 w 603627"/>
              <a:gd name="connsiteY77" fmla="*/ 1307 h 109895"/>
              <a:gd name="connsiteX78" fmla="*/ 336455 w 603627"/>
              <a:gd name="connsiteY78" fmla="*/ 1307 h 109895"/>
              <a:gd name="connsiteX79" fmla="*/ 336455 w 603627"/>
              <a:gd name="connsiteY79" fmla="*/ 108402 h 109895"/>
              <a:gd name="connsiteX80" fmla="*/ 426468 w 603627"/>
              <a:gd name="connsiteY80" fmla="*/ 108402 h 109895"/>
              <a:gd name="connsiteX81" fmla="*/ 413333 w 603627"/>
              <a:gd name="connsiteY81" fmla="*/ 108402 h 109895"/>
              <a:gd name="connsiteX82" fmla="*/ 413333 w 603627"/>
              <a:gd name="connsiteY82" fmla="*/ 83013 h 109895"/>
              <a:gd name="connsiteX83" fmla="*/ 367020 w 603627"/>
              <a:gd name="connsiteY83" fmla="*/ 83013 h 109895"/>
              <a:gd name="connsiteX84" fmla="*/ 367020 w 603627"/>
              <a:gd name="connsiteY84" fmla="*/ 73741 h 109895"/>
              <a:gd name="connsiteX85" fmla="*/ 408851 w 603627"/>
              <a:gd name="connsiteY85" fmla="*/ 1307 h 109895"/>
              <a:gd name="connsiteX86" fmla="*/ 426468 w 603627"/>
              <a:gd name="connsiteY86" fmla="*/ 1307 h 109895"/>
              <a:gd name="connsiteX87" fmla="*/ 426468 w 603627"/>
              <a:gd name="connsiteY87" fmla="*/ 71687 h 109895"/>
              <a:gd name="connsiteX88" fmla="*/ 440971 w 603627"/>
              <a:gd name="connsiteY88" fmla="*/ 71687 h 109895"/>
              <a:gd name="connsiteX89" fmla="*/ 440971 w 603627"/>
              <a:gd name="connsiteY89" fmla="*/ 83013 h 109895"/>
              <a:gd name="connsiteX90" fmla="*/ 426468 w 603627"/>
              <a:gd name="connsiteY90" fmla="*/ 83013 h 109895"/>
              <a:gd name="connsiteX91" fmla="*/ 426468 w 603627"/>
              <a:gd name="connsiteY91" fmla="*/ 108402 h 109895"/>
              <a:gd name="connsiteX92" fmla="*/ 380652 w 603627"/>
              <a:gd name="connsiteY92" fmla="*/ 71687 h 109895"/>
              <a:gd name="connsiteX93" fmla="*/ 413333 w 603627"/>
              <a:gd name="connsiteY93" fmla="*/ 71687 h 109895"/>
              <a:gd name="connsiteX94" fmla="*/ 413333 w 603627"/>
              <a:gd name="connsiteY94" fmla="*/ 15931 h 109895"/>
              <a:gd name="connsiteX95" fmla="*/ 380652 w 603627"/>
              <a:gd name="connsiteY95" fmla="*/ 71687 h 109895"/>
              <a:gd name="connsiteX96" fmla="*/ 486537 w 603627"/>
              <a:gd name="connsiteY96" fmla="*/ 109896 h 109895"/>
              <a:gd name="connsiteX97" fmla="*/ 468299 w 603627"/>
              <a:gd name="connsiteY97" fmla="*/ 104047 h 109895"/>
              <a:gd name="connsiteX98" fmla="*/ 455600 w 603627"/>
              <a:gd name="connsiteY98" fmla="*/ 86125 h 109895"/>
              <a:gd name="connsiteX99" fmla="*/ 451118 w 603627"/>
              <a:gd name="connsiteY99" fmla="*/ 54761 h 109895"/>
              <a:gd name="connsiteX100" fmla="*/ 455600 w 603627"/>
              <a:gd name="connsiteY100" fmla="*/ 23398 h 109895"/>
              <a:gd name="connsiteX101" fmla="*/ 468299 w 603627"/>
              <a:gd name="connsiteY101" fmla="*/ 5663 h 109895"/>
              <a:gd name="connsiteX102" fmla="*/ 486537 w 603627"/>
              <a:gd name="connsiteY102" fmla="*/ 0 h 109895"/>
              <a:gd name="connsiteX103" fmla="*/ 504590 w 603627"/>
              <a:gd name="connsiteY103" fmla="*/ 5663 h 109895"/>
              <a:gd name="connsiteX104" fmla="*/ 516977 w 603627"/>
              <a:gd name="connsiteY104" fmla="*/ 23398 h 109895"/>
              <a:gd name="connsiteX105" fmla="*/ 521460 w 603627"/>
              <a:gd name="connsiteY105" fmla="*/ 54512 h 109895"/>
              <a:gd name="connsiteX106" fmla="*/ 516977 w 603627"/>
              <a:gd name="connsiteY106" fmla="*/ 85876 h 109895"/>
              <a:gd name="connsiteX107" fmla="*/ 504590 w 603627"/>
              <a:gd name="connsiteY107" fmla="*/ 104047 h 109895"/>
              <a:gd name="connsiteX108" fmla="*/ 486537 w 603627"/>
              <a:gd name="connsiteY108" fmla="*/ 109896 h 109895"/>
              <a:gd name="connsiteX109" fmla="*/ 486351 w 603627"/>
              <a:gd name="connsiteY109" fmla="*/ 98072 h 109895"/>
              <a:gd name="connsiteX110" fmla="*/ 497742 w 603627"/>
              <a:gd name="connsiteY110" fmla="*/ 94089 h 109895"/>
              <a:gd name="connsiteX111" fmla="*/ 504901 w 603627"/>
              <a:gd name="connsiteY111" fmla="*/ 80462 h 109895"/>
              <a:gd name="connsiteX112" fmla="*/ 507454 w 603627"/>
              <a:gd name="connsiteY112" fmla="*/ 54948 h 109895"/>
              <a:gd name="connsiteX113" fmla="*/ 505026 w 603627"/>
              <a:gd name="connsiteY113" fmla="*/ 29559 h 109895"/>
              <a:gd name="connsiteX114" fmla="*/ 497867 w 603627"/>
              <a:gd name="connsiteY114" fmla="*/ 15931 h 109895"/>
              <a:gd name="connsiteX115" fmla="*/ 486537 w 603627"/>
              <a:gd name="connsiteY115" fmla="*/ 11761 h 109895"/>
              <a:gd name="connsiteX116" fmla="*/ 475021 w 603627"/>
              <a:gd name="connsiteY116" fmla="*/ 15931 h 109895"/>
              <a:gd name="connsiteX117" fmla="*/ 467676 w 603627"/>
              <a:gd name="connsiteY117" fmla="*/ 29559 h 109895"/>
              <a:gd name="connsiteX118" fmla="*/ 465186 w 603627"/>
              <a:gd name="connsiteY118" fmla="*/ 54948 h 109895"/>
              <a:gd name="connsiteX119" fmla="*/ 467552 w 603627"/>
              <a:gd name="connsiteY119" fmla="*/ 80462 h 109895"/>
              <a:gd name="connsiteX120" fmla="*/ 474897 w 603627"/>
              <a:gd name="connsiteY120" fmla="*/ 94089 h 109895"/>
              <a:gd name="connsiteX121" fmla="*/ 486351 w 603627"/>
              <a:gd name="connsiteY121" fmla="*/ 98072 h 109895"/>
              <a:gd name="connsiteX122" fmla="*/ 568644 w 603627"/>
              <a:gd name="connsiteY122" fmla="*/ 109896 h 109895"/>
              <a:gd name="connsiteX123" fmla="*/ 550405 w 603627"/>
              <a:gd name="connsiteY123" fmla="*/ 104047 h 109895"/>
              <a:gd name="connsiteX124" fmla="*/ 537706 w 603627"/>
              <a:gd name="connsiteY124" fmla="*/ 86125 h 109895"/>
              <a:gd name="connsiteX125" fmla="*/ 533224 w 603627"/>
              <a:gd name="connsiteY125" fmla="*/ 54761 h 109895"/>
              <a:gd name="connsiteX126" fmla="*/ 537706 w 603627"/>
              <a:gd name="connsiteY126" fmla="*/ 23398 h 109895"/>
              <a:gd name="connsiteX127" fmla="*/ 550405 w 603627"/>
              <a:gd name="connsiteY127" fmla="*/ 5663 h 109895"/>
              <a:gd name="connsiteX128" fmla="*/ 568644 w 603627"/>
              <a:gd name="connsiteY128" fmla="*/ 0 h 109895"/>
              <a:gd name="connsiteX129" fmla="*/ 586759 w 603627"/>
              <a:gd name="connsiteY129" fmla="*/ 5663 h 109895"/>
              <a:gd name="connsiteX130" fmla="*/ 599146 w 603627"/>
              <a:gd name="connsiteY130" fmla="*/ 23398 h 109895"/>
              <a:gd name="connsiteX131" fmla="*/ 603628 w 603627"/>
              <a:gd name="connsiteY131" fmla="*/ 54512 h 109895"/>
              <a:gd name="connsiteX132" fmla="*/ 599146 w 603627"/>
              <a:gd name="connsiteY132" fmla="*/ 85876 h 109895"/>
              <a:gd name="connsiteX133" fmla="*/ 586759 w 603627"/>
              <a:gd name="connsiteY133" fmla="*/ 104047 h 109895"/>
              <a:gd name="connsiteX134" fmla="*/ 568644 w 603627"/>
              <a:gd name="connsiteY134" fmla="*/ 109896 h 109895"/>
              <a:gd name="connsiteX135" fmla="*/ 568519 w 603627"/>
              <a:gd name="connsiteY135" fmla="*/ 98072 h 109895"/>
              <a:gd name="connsiteX136" fmla="*/ 579849 w 603627"/>
              <a:gd name="connsiteY136" fmla="*/ 94089 h 109895"/>
              <a:gd name="connsiteX137" fmla="*/ 587007 w 603627"/>
              <a:gd name="connsiteY137" fmla="*/ 80462 h 109895"/>
              <a:gd name="connsiteX138" fmla="*/ 589560 w 603627"/>
              <a:gd name="connsiteY138" fmla="*/ 54948 h 109895"/>
              <a:gd name="connsiteX139" fmla="*/ 587194 w 603627"/>
              <a:gd name="connsiteY139" fmla="*/ 29559 h 109895"/>
              <a:gd name="connsiteX140" fmla="*/ 580035 w 603627"/>
              <a:gd name="connsiteY140" fmla="*/ 15931 h 109895"/>
              <a:gd name="connsiteX141" fmla="*/ 568644 w 603627"/>
              <a:gd name="connsiteY141" fmla="*/ 11761 h 109895"/>
              <a:gd name="connsiteX142" fmla="*/ 557128 w 603627"/>
              <a:gd name="connsiteY142" fmla="*/ 15931 h 109895"/>
              <a:gd name="connsiteX143" fmla="*/ 549845 w 603627"/>
              <a:gd name="connsiteY143" fmla="*/ 29559 h 109895"/>
              <a:gd name="connsiteX144" fmla="*/ 547292 w 603627"/>
              <a:gd name="connsiteY144" fmla="*/ 54948 h 109895"/>
              <a:gd name="connsiteX145" fmla="*/ 549658 w 603627"/>
              <a:gd name="connsiteY145" fmla="*/ 80462 h 109895"/>
              <a:gd name="connsiteX146" fmla="*/ 557003 w 603627"/>
              <a:gd name="connsiteY146" fmla="*/ 94089 h 109895"/>
              <a:gd name="connsiteX147" fmla="*/ 568519 w 603627"/>
              <a:gd name="connsiteY147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3627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31718" y="109896"/>
                </a:moveTo>
                <a:cubicBezTo>
                  <a:pt x="119767" y="109896"/>
                  <a:pt x="110243" y="107344"/>
                  <a:pt x="103208" y="102304"/>
                </a:cubicBezTo>
                <a:lnTo>
                  <a:pt x="103208" y="87618"/>
                </a:lnTo>
                <a:cubicBezTo>
                  <a:pt x="107379" y="91040"/>
                  <a:pt x="111737" y="93592"/>
                  <a:pt x="116343" y="95272"/>
                </a:cubicBezTo>
                <a:cubicBezTo>
                  <a:pt x="120949" y="96828"/>
                  <a:pt x="126054" y="97637"/>
                  <a:pt x="131718" y="97637"/>
                </a:cubicBezTo>
                <a:cubicBezTo>
                  <a:pt x="139126" y="97637"/>
                  <a:pt x="144791" y="95397"/>
                  <a:pt x="148775" y="90916"/>
                </a:cubicBezTo>
                <a:cubicBezTo>
                  <a:pt x="152821" y="86435"/>
                  <a:pt x="154875" y="80586"/>
                  <a:pt x="154875" y="73305"/>
                </a:cubicBezTo>
                <a:cubicBezTo>
                  <a:pt x="154875" y="65527"/>
                  <a:pt x="152883" y="59864"/>
                  <a:pt x="148899" y="56255"/>
                </a:cubicBezTo>
                <a:cubicBezTo>
                  <a:pt x="144916" y="52708"/>
                  <a:pt x="139873" y="50903"/>
                  <a:pt x="133835" y="50903"/>
                </a:cubicBezTo>
                <a:cubicBezTo>
                  <a:pt x="129415" y="50903"/>
                  <a:pt x="125930" y="51650"/>
                  <a:pt x="123190" y="53143"/>
                </a:cubicBezTo>
                <a:cubicBezTo>
                  <a:pt x="120514" y="54512"/>
                  <a:pt x="118460" y="56006"/>
                  <a:pt x="117090" y="57624"/>
                </a:cubicBezTo>
                <a:lnTo>
                  <a:pt x="106196" y="57624"/>
                </a:lnTo>
                <a:lnTo>
                  <a:pt x="106196" y="1307"/>
                </a:lnTo>
                <a:lnTo>
                  <a:pt x="164150" y="1307"/>
                </a:lnTo>
                <a:lnTo>
                  <a:pt x="164150" y="14188"/>
                </a:lnTo>
                <a:lnTo>
                  <a:pt x="118460" y="14188"/>
                </a:lnTo>
                <a:lnTo>
                  <a:pt x="118460" y="44805"/>
                </a:lnTo>
                <a:cubicBezTo>
                  <a:pt x="120452" y="43312"/>
                  <a:pt x="122879" y="42004"/>
                  <a:pt x="125743" y="40885"/>
                </a:cubicBezTo>
                <a:cubicBezTo>
                  <a:pt x="128668" y="39702"/>
                  <a:pt x="132092" y="39080"/>
                  <a:pt x="136076" y="39080"/>
                </a:cubicBezTo>
                <a:cubicBezTo>
                  <a:pt x="142239" y="39080"/>
                  <a:pt x="147841" y="40386"/>
                  <a:pt x="152821" y="43000"/>
                </a:cubicBezTo>
                <a:cubicBezTo>
                  <a:pt x="157801" y="45489"/>
                  <a:pt x="161723" y="49285"/>
                  <a:pt x="164586" y="54326"/>
                </a:cubicBezTo>
                <a:cubicBezTo>
                  <a:pt x="167574" y="59304"/>
                  <a:pt x="169068" y="65527"/>
                  <a:pt x="169068" y="72995"/>
                </a:cubicBezTo>
                <a:cubicBezTo>
                  <a:pt x="169068" y="80399"/>
                  <a:pt x="167511" y="86871"/>
                  <a:pt x="164461" y="92410"/>
                </a:cubicBezTo>
                <a:cubicBezTo>
                  <a:pt x="161473" y="98010"/>
                  <a:pt x="157179" y="102304"/>
                  <a:pt x="151576" y="105415"/>
                </a:cubicBezTo>
                <a:cubicBezTo>
                  <a:pt x="146036" y="108402"/>
                  <a:pt x="139375" y="109896"/>
                  <a:pt x="131718" y="109896"/>
                </a:cubicBezTo>
                <a:close/>
                <a:moveTo>
                  <a:pt x="277817" y="108402"/>
                </a:moveTo>
                <a:lnTo>
                  <a:pt x="262877" y="108402"/>
                </a:lnTo>
                <a:lnTo>
                  <a:pt x="251797" y="77786"/>
                </a:lnTo>
                <a:lnTo>
                  <a:pt x="204488" y="77786"/>
                </a:lnTo>
                <a:lnTo>
                  <a:pt x="193532" y="108402"/>
                </a:lnTo>
                <a:lnTo>
                  <a:pt x="180397" y="108402"/>
                </a:lnTo>
                <a:lnTo>
                  <a:pt x="218494" y="1307"/>
                </a:lnTo>
                <a:lnTo>
                  <a:pt x="239409" y="1307"/>
                </a:lnTo>
                <a:lnTo>
                  <a:pt x="277817" y="108402"/>
                </a:lnTo>
                <a:close/>
                <a:moveTo>
                  <a:pt x="209094" y="65091"/>
                </a:moveTo>
                <a:lnTo>
                  <a:pt x="247315" y="65091"/>
                </a:lnTo>
                <a:lnTo>
                  <a:pt x="228204" y="11761"/>
                </a:lnTo>
                <a:lnTo>
                  <a:pt x="209094" y="65091"/>
                </a:lnTo>
                <a:close/>
                <a:moveTo>
                  <a:pt x="336455" y="108402"/>
                </a:moveTo>
                <a:lnTo>
                  <a:pt x="322823" y="108402"/>
                </a:lnTo>
                <a:lnTo>
                  <a:pt x="322823" y="18171"/>
                </a:lnTo>
                <a:lnTo>
                  <a:pt x="293255" y="40885"/>
                </a:lnTo>
                <a:lnTo>
                  <a:pt x="293255" y="25825"/>
                </a:lnTo>
                <a:lnTo>
                  <a:pt x="325064" y="1307"/>
                </a:lnTo>
                <a:lnTo>
                  <a:pt x="336455" y="1307"/>
                </a:lnTo>
                <a:lnTo>
                  <a:pt x="336455" y="108402"/>
                </a:lnTo>
                <a:close/>
                <a:moveTo>
                  <a:pt x="426468" y="108402"/>
                </a:moveTo>
                <a:lnTo>
                  <a:pt x="413333" y="108402"/>
                </a:lnTo>
                <a:lnTo>
                  <a:pt x="413333" y="83013"/>
                </a:lnTo>
                <a:lnTo>
                  <a:pt x="367020" y="83013"/>
                </a:lnTo>
                <a:lnTo>
                  <a:pt x="367020" y="73741"/>
                </a:lnTo>
                <a:lnTo>
                  <a:pt x="408851" y="1307"/>
                </a:lnTo>
                <a:lnTo>
                  <a:pt x="426468" y="1307"/>
                </a:lnTo>
                <a:lnTo>
                  <a:pt x="426468" y="71687"/>
                </a:lnTo>
                <a:lnTo>
                  <a:pt x="440971" y="71687"/>
                </a:lnTo>
                <a:lnTo>
                  <a:pt x="440971" y="83013"/>
                </a:lnTo>
                <a:lnTo>
                  <a:pt x="426468" y="83013"/>
                </a:lnTo>
                <a:lnTo>
                  <a:pt x="426468" y="108402"/>
                </a:lnTo>
                <a:close/>
                <a:moveTo>
                  <a:pt x="380652" y="71687"/>
                </a:moveTo>
                <a:lnTo>
                  <a:pt x="413333" y="71687"/>
                </a:lnTo>
                <a:lnTo>
                  <a:pt x="413333" y="15931"/>
                </a:lnTo>
                <a:lnTo>
                  <a:pt x="380652" y="71687"/>
                </a:lnTo>
                <a:close/>
                <a:moveTo>
                  <a:pt x="486537" y="109896"/>
                </a:moveTo>
                <a:cubicBezTo>
                  <a:pt x="479752" y="109896"/>
                  <a:pt x="473652" y="107967"/>
                  <a:pt x="468299" y="104047"/>
                </a:cubicBezTo>
                <a:cubicBezTo>
                  <a:pt x="462945" y="100188"/>
                  <a:pt x="458712" y="94214"/>
                  <a:pt x="455600" y="86125"/>
                </a:cubicBezTo>
                <a:cubicBezTo>
                  <a:pt x="452612" y="77972"/>
                  <a:pt x="451118" y="67518"/>
                  <a:pt x="451118" y="54761"/>
                </a:cubicBezTo>
                <a:cubicBezTo>
                  <a:pt x="451118" y="41942"/>
                  <a:pt x="452612" y="31488"/>
                  <a:pt x="455600" y="23398"/>
                </a:cubicBezTo>
                <a:cubicBezTo>
                  <a:pt x="458712" y="15371"/>
                  <a:pt x="462945" y="9459"/>
                  <a:pt x="468299" y="5663"/>
                </a:cubicBezTo>
                <a:cubicBezTo>
                  <a:pt x="473652" y="1867"/>
                  <a:pt x="479752" y="0"/>
                  <a:pt x="486537" y="0"/>
                </a:cubicBezTo>
                <a:cubicBezTo>
                  <a:pt x="493323" y="0"/>
                  <a:pt x="499299" y="1867"/>
                  <a:pt x="504590" y="5663"/>
                </a:cubicBezTo>
                <a:cubicBezTo>
                  <a:pt x="509881" y="9459"/>
                  <a:pt x="513989" y="15371"/>
                  <a:pt x="516977" y="23398"/>
                </a:cubicBezTo>
                <a:cubicBezTo>
                  <a:pt x="519966" y="31363"/>
                  <a:pt x="521460" y="41756"/>
                  <a:pt x="521460" y="54512"/>
                </a:cubicBezTo>
                <a:cubicBezTo>
                  <a:pt x="521460" y="67145"/>
                  <a:pt x="519966" y="77599"/>
                  <a:pt x="516977" y="85876"/>
                </a:cubicBezTo>
                <a:cubicBezTo>
                  <a:pt x="513989" y="94027"/>
                  <a:pt x="509881" y="100064"/>
                  <a:pt x="504590" y="104047"/>
                </a:cubicBezTo>
                <a:cubicBezTo>
                  <a:pt x="499299" y="107967"/>
                  <a:pt x="493323" y="109896"/>
                  <a:pt x="486537" y="109896"/>
                </a:cubicBezTo>
                <a:close/>
                <a:moveTo>
                  <a:pt x="486351" y="98072"/>
                </a:moveTo>
                <a:cubicBezTo>
                  <a:pt x="490833" y="98072"/>
                  <a:pt x="494630" y="96766"/>
                  <a:pt x="497742" y="94089"/>
                </a:cubicBezTo>
                <a:cubicBezTo>
                  <a:pt x="500917" y="91289"/>
                  <a:pt x="503283" y="86747"/>
                  <a:pt x="504901" y="80462"/>
                </a:cubicBezTo>
                <a:cubicBezTo>
                  <a:pt x="506582" y="74114"/>
                  <a:pt x="507454" y="65589"/>
                  <a:pt x="507454" y="54948"/>
                </a:cubicBezTo>
                <a:cubicBezTo>
                  <a:pt x="507454" y="44307"/>
                  <a:pt x="506644" y="35844"/>
                  <a:pt x="505026" y="29559"/>
                </a:cubicBezTo>
                <a:cubicBezTo>
                  <a:pt x="503470" y="23150"/>
                  <a:pt x="501042" y="18669"/>
                  <a:pt x="497867" y="15931"/>
                </a:cubicBezTo>
                <a:cubicBezTo>
                  <a:pt x="494817" y="13192"/>
                  <a:pt x="491020" y="11761"/>
                  <a:pt x="486537" y="11761"/>
                </a:cubicBezTo>
                <a:cubicBezTo>
                  <a:pt x="482056" y="11761"/>
                  <a:pt x="478196" y="13192"/>
                  <a:pt x="475021" y="15931"/>
                </a:cubicBezTo>
                <a:cubicBezTo>
                  <a:pt x="471847" y="18669"/>
                  <a:pt x="469419" y="23150"/>
                  <a:pt x="467676" y="29559"/>
                </a:cubicBezTo>
                <a:cubicBezTo>
                  <a:pt x="465996" y="35844"/>
                  <a:pt x="465186" y="44307"/>
                  <a:pt x="465186" y="54948"/>
                </a:cubicBezTo>
                <a:cubicBezTo>
                  <a:pt x="465186" y="65589"/>
                  <a:pt x="465933" y="74114"/>
                  <a:pt x="467552" y="80462"/>
                </a:cubicBezTo>
                <a:cubicBezTo>
                  <a:pt x="469233" y="86747"/>
                  <a:pt x="471660" y="91289"/>
                  <a:pt x="474897" y="94089"/>
                </a:cubicBezTo>
                <a:cubicBezTo>
                  <a:pt x="478071" y="96766"/>
                  <a:pt x="481869" y="98072"/>
                  <a:pt x="486351" y="98072"/>
                </a:cubicBezTo>
                <a:close/>
                <a:moveTo>
                  <a:pt x="568644" y="109896"/>
                </a:moveTo>
                <a:cubicBezTo>
                  <a:pt x="561859" y="109896"/>
                  <a:pt x="555820" y="107967"/>
                  <a:pt x="550405" y="104047"/>
                </a:cubicBezTo>
                <a:cubicBezTo>
                  <a:pt x="545051" y="100188"/>
                  <a:pt x="540819" y="94214"/>
                  <a:pt x="537706" y="86125"/>
                </a:cubicBezTo>
                <a:cubicBezTo>
                  <a:pt x="534719" y="77972"/>
                  <a:pt x="533224" y="67518"/>
                  <a:pt x="533224" y="54761"/>
                </a:cubicBezTo>
                <a:cubicBezTo>
                  <a:pt x="533224" y="41942"/>
                  <a:pt x="534719" y="31488"/>
                  <a:pt x="537706" y="23398"/>
                </a:cubicBezTo>
                <a:cubicBezTo>
                  <a:pt x="540819" y="15371"/>
                  <a:pt x="545051" y="9459"/>
                  <a:pt x="550405" y="5663"/>
                </a:cubicBezTo>
                <a:cubicBezTo>
                  <a:pt x="555820" y="1867"/>
                  <a:pt x="561859" y="0"/>
                  <a:pt x="568644" y="0"/>
                </a:cubicBezTo>
                <a:cubicBezTo>
                  <a:pt x="575429" y="0"/>
                  <a:pt x="581467" y="1867"/>
                  <a:pt x="586759" y="5663"/>
                </a:cubicBezTo>
                <a:cubicBezTo>
                  <a:pt x="591987" y="9459"/>
                  <a:pt x="596158" y="15371"/>
                  <a:pt x="599146" y="23398"/>
                </a:cubicBezTo>
                <a:cubicBezTo>
                  <a:pt x="602134" y="31363"/>
                  <a:pt x="603628" y="41756"/>
                  <a:pt x="603628" y="54512"/>
                </a:cubicBezTo>
                <a:cubicBezTo>
                  <a:pt x="603628" y="67145"/>
                  <a:pt x="602134" y="77599"/>
                  <a:pt x="599146" y="85876"/>
                </a:cubicBezTo>
                <a:cubicBezTo>
                  <a:pt x="596158" y="94027"/>
                  <a:pt x="591987" y="100064"/>
                  <a:pt x="586759" y="104047"/>
                </a:cubicBezTo>
                <a:cubicBezTo>
                  <a:pt x="581467" y="107967"/>
                  <a:pt x="575429" y="109896"/>
                  <a:pt x="568644" y="109896"/>
                </a:cubicBezTo>
                <a:close/>
                <a:moveTo>
                  <a:pt x="568519" y="98072"/>
                </a:moveTo>
                <a:cubicBezTo>
                  <a:pt x="573001" y="98072"/>
                  <a:pt x="576798" y="96766"/>
                  <a:pt x="579849" y="94089"/>
                </a:cubicBezTo>
                <a:cubicBezTo>
                  <a:pt x="583023" y="91289"/>
                  <a:pt x="585451" y="86747"/>
                  <a:pt x="587007" y="80462"/>
                </a:cubicBezTo>
                <a:cubicBezTo>
                  <a:pt x="588750" y="74114"/>
                  <a:pt x="589560" y="65589"/>
                  <a:pt x="589560" y="54948"/>
                </a:cubicBezTo>
                <a:cubicBezTo>
                  <a:pt x="589560" y="44307"/>
                  <a:pt x="588750" y="35844"/>
                  <a:pt x="587194" y="29559"/>
                </a:cubicBezTo>
                <a:cubicBezTo>
                  <a:pt x="585576" y="23150"/>
                  <a:pt x="583210" y="18669"/>
                  <a:pt x="580035" y="15931"/>
                </a:cubicBezTo>
                <a:cubicBezTo>
                  <a:pt x="576923" y="13192"/>
                  <a:pt x="573126" y="11761"/>
                  <a:pt x="568644" y="11761"/>
                </a:cubicBezTo>
                <a:cubicBezTo>
                  <a:pt x="564162" y="11761"/>
                  <a:pt x="560365" y="13192"/>
                  <a:pt x="557128" y="15931"/>
                </a:cubicBezTo>
                <a:cubicBezTo>
                  <a:pt x="553953" y="18669"/>
                  <a:pt x="551526" y="23150"/>
                  <a:pt x="549845" y="29559"/>
                </a:cubicBezTo>
                <a:cubicBezTo>
                  <a:pt x="548164" y="35844"/>
                  <a:pt x="547292" y="44307"/>
                  <a:pt x="547292" y="54948"/>
                </a:cubicBezTo>
                <a:cubicBezTo>
                  <a:pt x="547292" y="65589"/>
                  <a:pt x="548102" y="74114"/>
                  <a:pt x="549658" y="80462"/>
                </a:cubicBezTo>
                <a:cubicBezTo>
                  <a:pt x="551401" y="86747"/>
                  <a:pt x="553829" y="91289"/>
                  <a:pt x="557003" y="94089"/>
                </a:cubicBezTo>
                <a:cubicBezTo>
                  <a:pt x="560178" y="96766"/>
                  <a:pt x="564038" y="98072"/>
                  <a:pt x="568519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3" name="Полилиния 1042">
            <a:extLst>
              <a:ext uri="{FF2B5EF4-FFF2-40B4-BE49-F238E27FC236}">
                <a16:creationId xmlns:a16="http://schemas.microsoft.com/office/drawing/2014/main" id="{EA01D5A6-FB6D-4449-AB3C-A5A45B078952}"/>
              </a:ext>
            </a:extLst>
          </p:cNvPr>
          <p:cNvSpPr/>
          <p:nvPr userDrawn="1"/>
        </p:nvSpPr>
        <p:spPr>
          <a:xfrm>
            <a:off x="19989822" y="4513847"/>
            <a:ext cx="1398954" cy="726227"/>
          </a:xfrm>
          <a:custGeom>
            <a:avLst/>
            <a:gdLst>
              <a:gd name="connsiteX0" fmla="*/ 1063 w 1198727"/>
              <a:gd name="connsiteY0" fmla="*/ 1122 h 622284"/>
              <a:gd name="connsiteX1" fmla="*/ 1199791 w 1198727"/>
              <a:gd name="connsiteY1" fmla="*/ 1122 h 622284"/>
              <a:gd name="connsiteX2" fmla="*/ 1199791 w 1198727"/>
              <a:gd name="connsiteY2" fmla="*/ 623406 h 622284"/>
              <a:gd name="connsiteX3" fmla="*/ 1063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122"/>
                </a:moveTo>
                <a:lnTo>
                  <a:pt x="1199791" y="1122"/>
                </a:lnTo>
                <a:lnTo>
                  <a:pt x="1199791" y="623406"/>
                </a:lnTo>
                <a:lnTo>
                  <a:pt x="1063" y="623406"/>
                </a:lnTo>
                <a:close/>
              </a:path>
            </a:pathLst>
          </a:custGeom>
          <a:solidFill>
            <a:srgbClr val="821E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4" name="Полилиния 1043">
            <a:extLst>
              <a:ext uri="{FF2B5EF4-FFF2-40B4-BE49-F238E27FC236}">
                <a16:creationId xmlns:a16="http://schemas.microsoft.com/office/drawing/2014/main" id="{7AC25747-8E5B-4852-AD87-428A4ED8759F}"/>
              </a:ext>
            </a:extLst>
          </p:cNvPr>
          <p:cNvSpPr/>
          <p:nvPr userDrawn="1"/>
        </p:nvSpPr>
        <p:spPr>
          <a:xfrm>
            <a:off x="20113031" y="4815595"/>
            <a:ext cx="687890" cy="128468"/>
          </a:xfrm>
          <a:custGeom>
            <a:avLst/>
            <a:gdLst>
              <a:gd name="connsiteX0" fmla="*/ 22098 w 589434"/>
              <a:gd name="connsiteY0" fmla="*/ 108588 h 110081"/>
              <a:gd name="connsiteX1" fmla="*/ 10147 w 589434"/>
              <a:gd name="connsiteY1" fmla="*/ 108588 h 110081"/>
              <a:gd name="connsiteX2" fmla="*/ 16434 w 589434"/>
              <a:gd name="connsiteY2" fmla="*/ 77661 h 110081"/>
              <a:gd name="connsiteX3" fmla="*/ 0 w 589434"/>
              <a:gd name="connsiteY3" fmla="*/ 77661 h 110081"/>
              <a:gd name="connsiteX4" fmla="*/ 0 w 589434"/>
              <a:gd name="connsiteY4" fmla="*/ 67206 h 110081"/>
              <a:gd name="connsiteX5" fmla="*/ 18675 w 589434"/>
              <a:gd name="connsiteY5" fmla="*/ 67206 h 110081"/>
              <a:gd name="connsiteX6" fmla="*/ 24215 w 589434"/>
              <a:gd name="connsiteY6" fmla="*/ 40012 h 110081"/>
              <a:gd name="connsiteX7" fmla="*/ 4046 w 589434"/>
              <a:gd name="connsiteY7" fmla="*/ 40012 h 110081"/>
              <a:gd name="connsiteX8" fmla="*/ 4046 w 589434"/>
              <a:gd name="connsiteY8" fmla="*/ 29559 h 110081"/>
              <a:gd name="connsiteX9" fmla="*/ 26269 w 589434"/>
              <a:gd name="connsiteY9" fmla="*/ 29559 h 110081"/>
              <a:gd name="connsiteX10" fmla="*/ 32120 w 589434"/>
              <a:gd name="connsiteY10" fmla="*/ 1493 h 110081"/>
              <a:gd name="connsiteX11" fmla="*/ 44072 w 589434"/>
              <a:gd name="connsiteY11" fmla="*/ 1493 h 110081"/>
              <a:gd name="connsiteX12" fmla="*/ 38221 w 589434"/>
              <a:gd name="connsiteY12" fmla="*/ 29559 h 110081"/>
              <a:gd name="connsiteX13" fmla="*/ 60630 w 589434"/>
              <a:gd name="connsiteY13" fmla="*/ 29559 h 110081"/>
              <a:gd name="connsiteX14" fmla="*/ 66481 w 589434"/>
              <a:gd name="connsiteY14" fmla="*/ 1493 h 110081"/>
              <a:gd name="connsiteX15" fmla="*/ 78434 w 589434"/>
              <a:gd name="connsiteY15" fmla="*/ 1493 h 110081"/>
              <a:gd name="connsiteX16" fmla="*/ 72582 w 589434"/>
              <a:gd name="connsiteY16" fmla="*/ 29559 h 110081"/>
              <a:gd name="connsiteX17" fmla="*/ 89327 w 589434"/>
              <a:gd name="connsiteY17" fmla="*/ 29559 h 110081"/>
              <a:gd name="connsiteX18" fmla="*/ 89327 w 589434"/>
              <a:gd name="connsiteY18" fmla="*/ 40012 h 110081"/>
              <a:gd name="connsiteX19" fmla="*/ 70528 w 589434"/>
              <a:gd name="connsiteY19" fmla="*/ 40012 h 110081"/>
              <a:gd name="connsiteX20" fmla="*/ 64988 w 589434"/>
              <a:gd name="connsiteY20" fmla="*/ 67206 h 110081"/>
              <a:gd name="connsiteX21" fmla="*/ 85281 w 589434"/>
              <a:gd name="connsiteY21" fmla="*/ 67206 h 110081"/>
              <a:gd name="connsiteX22" fmla="*/ 85281 w 589434"/>
              <a:gd name="connsiteY22" fmla="*/ 77661 h 110081"/>
              <a:gd name="connsiteX23" fmla="*/ 62747 w 589434"/>
              <a:gd name="connsiteY23" fmla="*/ 77661 h 110081"/>
              <a:gd name="connsiteX24" fmla="*/ 56459 w 589434"/>
              <a:gd name="connsiteY24" fmla="*/ 108588 h 110081"/>
              <a:gd name="connsiteX25" fmla="*/ 44508 w 589434"/>
              <a:gd name="connsiteY25" fmla="*/ 108588 h 110081"/>
              <a:gd name="connsiteX26" fmla="*/ 50795 w 589434"/>
              <a:gd name="connsiteY26" fmla="*/ 77661 h 110081"/>
              <a:gd name="connsiteX27" fmla="*/ 28385 w 589434"/>
              <a:gd name="connsiteY27" fmla="*/ 77661 h 110081"/>
              <a:gd name="connsiteX28" fmla="*/ 22098 w 589434"/>
              <a:gd name="connsiteY28" fmla="*/ 108588 h 110081"/>
              <a:gd name="connsiteX29" fmla="*/ 30626 w 589434"/>
              <a:gd name="connsiteY29" fmla="*/ 67206 h 110081"/>
              <a:gd name="connsiteX30" fmla="*/ 53036 w 589434"/>
              <a:gd name="connsiteY30" fmla="*/ 67206 h 110081"/>
              <a:gd name="connsiteX31" fmla="*/ 58576 w 589434"/>
              <a:gd name="connsiteY31" fmla="*/ 40012 h 110081"/>
              <a:gd name="connsiteX32" fmla="*/ 36166 w 589434"/>
              <a:gd name="connsiteY32" fmla="*/ 40012 h 110081"/>
              <a:gd name="connsiteX33" fmla="*/ 30626 w 589434"/>
              <a:gd name="connsiteY33" fmla="*/ 67206 h 110081"/>
              <a:gd name="connsiteX34" fmla="*/ 136823 w 589434"/>
              <a:gd name="connsiteY34" fmla="*/ 110082 h 110081"/>
              <a:gd name="connsiteX35" fmla="*/ 118148 w 589434"/>
              <a:gd name="connsiteY35" fmla="*/ 106473 h 110081"/>
              <a:gd name="connsiteX36" fmla="*/ 105449 w 589434"/>
              <a:gd name="connsiteY36" fmla="*/ 96205 h 110081"/>
              <a:gd name="connsiteX37" fmla="*/ 100781 w 589434"/>
              <a:gd name="connsiteY37" fmla="*/ 79777 h 110081"/>
              <a:gd name="connsiteX38" fmla="*/ 106196 w 589434"/>
              <a:gd name="connsiteY38" fmla="*/ 62291 h 110081"/>
              <a:gd name="connsiteX39" fmla="*/ 120949 w 589434"/>
              <a:gd name="connsiteY39" fmla="*/ 51711 h 110081"/>
              <a:gd name="connsiteX40" fmla="*/ 108998 w 589434"/>
              <a:gd name="connsiteY40" fmla="*/ 42564 h 110081"/>
              <a:gd name="connsiteX41" fmla="*/ 104702 w 589434"/>
              <a:gd name="connsiteY41" fmla="*/ 27504 h 110081"/>
              <a:gd name="connsiteX42" fmla="*/ 108873 w 589434"/>
              <a:gd name="connsiteY42" fmla="*/ 12570 h 110081"/>
              <a:gd name="connsiteX43" fmla="*/ 120389 w 589434"/>
              <a:gd name="connsiteY43" fmla="*/ 3298 h 110081"/>
              <a:gd name="connsiteX44" fmla="*/ 136823 w 589434"/>
              <a:gd name="connsiteY44" fmla="*/ 186 h 110081"/>
              <a:gd name="connsiteX45" fmla="*/ 152945 w 589434"/>
              <a:gd name="connsiteY45" fmla="*/ 3298 h 110081"/>
              <a:gd name="connsiteX46" fmla="*/ 164275 w 589434"/>
              <a:gd name="connsiteY46" fmla="*/ 12259 h 110081"/>
              <a:gd name="connsiteX47" fmla="*/ 168632 w 589434"/>
              <a:gd name="connsiteY47" fmla="*/ 27194 h 110081"/>
              <a:gd name="connsiteX48" fmla="*/ 164150 w 589434"/>
              <a:gd name="connsiteY48" fmla="*/ 42439 h 110081"/>
              <a:gd name="connsiteX49" fmla="*/ 152323 w 589434"/>
              <a:gd name="connsiteY49" fmla="*/ 51711 h 110081"/>
              <a:gd name="connsiteX50" fmla="*/ 166703 w 589434"/>
              <a:gd name="connsiteY50" fmla="*/ 61855 h 110081"/>
              <a:gd name="connsiteX51" fmla="*/ 172242 w 589434"/>
              <a:gd name="connsiteY51" fmla="*/ 79341 h 110081"/>
              <a:gd name="connsiteX52" fmla="*/ 167574 w 589434"/>
              <a:gd name="connsiteY52" fmla="*/ 95893 h 110081"/>
              <a:gd name="connsiteX53" fmla="*/ 154875 w 589434"/>
              <a:gd name="connsiteY53" fmla="*/ 106473 h 110081"/>
              <a:gd name="connsiteX54" fmla="*/ 136823 w 589434"/>
              <a:gd name="connsiteY54" fmla="*/ 110082 h 110081"/>
              <a:gd name="connsiteX55" fmla="*/ 136823 w 589434"/>
              <a:gd name="connsiteY55" fmla="*/ 46298 h 110081"/>
              <a:gd name="connsiteX56" fmla="*/ 149833 w 589434"/>
              <a:gd name="connsiteY56" fmla="*/ 41817 h 110081"/>
              <a:gd name="connsiteX57" fmla="*/ 155062 w 589434"/>
              <a:gd name="connsiteY57" fmla="*/ 29122 h 110081"/>
              <a:gd name="connsiteX58" fmla="*/ 149833 w 589434"/>
              <a:gd name="connsiteY58" fmla="*/ 16615 h 110081"/>
              <a:gd name="connsiteX59" fmla="*/ 136823 w 589434"/>
              <a:gd name="connsiteY59" fmla="*/ 11947 h 110081"/>
              <a:gd name="connsiteX60" fmla="*/ 123502 w 589434"/>
              <a:gd name="connsiteY60" fmla="*/ 16615 h 110081"/>
              <a:gd name="connsiteX61" fmla="*/ 118273 w 589434"/>
              <a:gd name="connsiteY61" fmla="*/ 29122 h 110081"/>
              <a:gd name="connsiteX62" fmla="*/ 123502 w 589434"/>
              <a:gd name="connsiteY62" fmla="*/ 41817 h 110081"/>
              <a:gd name="connsiteX63" fmla="*/ 136823 w 589434"/>
              <a:gd name="connsiteY63" fmla="*/ 46298 h 110081"/>
              <a:gd name="connsiteX64" fmla="*/ 136823 w 589434"/>
              <a:gd name="connsiteY64" fmla="*/ 98258 h 110081"/>
              <a:gd name="connsiteX65" fmla="*/ 152198 w 589434"/>
              <a:gd name="connsiteY65" fmla="*/ 92907 h 110081"/>
              <a:gd name="connsiteX66" fmla="*/ 158486 w 589434"/>
              <a:gd name="connsiteY66" fmla="*/ 77536 h 110081"/>
              <a:gd name="connsiteX67" fmla="*/ 152198 w 589434"/>
              <a:gd name="connsiteY67" fmla="*/ 62291 h 110081"/>
              <a:gd name="connsiteX68" fmla="*/ 136823 w 589434"/>
              <a:gd name="connsiteY68" fmla="*/ 56752 h 110081"/>
              <a:gd name="connsiteX69" fmla="*/ 120825 w 589434"/>
              <a:gd name="connsiteY69" fmla="*/ 62291 h 110081"/>
              <a:gd name="connsiteX70" fmla="*/ 114538 w 589434"/>
              <a:gd name="connsiteY70" fmla="*/ 77536 h 110081"/>
              <a:gd name="connsiteX71" fmla="*/ 120825 w 589434"/>
              <a:gd name="connsiteY71" fmla="*/ 92907 h 110081"/>
              <a:gd name="connsiteX72" fmla="*/ 136823 w 589434"/>
              <a:gd name="connsiteY72" fmla="*/ 98258 h 110081"/>
              <a:gd name="connsiteX73" fmla="*/ 253042 w 589434"/>
              <a:gd name="connsiteY73" fmla="*/ 108588 h 110081"/>
              <a:gd name="connsiteX74" fmla="*/ 184754 w 589434"/>
              <a:gd name="connsiteY74" fmla="*/ 108588 h 110081"/>
              <a:gd name="connsiteX75" fmla="*/ 184754 w 589434"/>
              <a:gd name="connsiteY75" fmla="*/ 94400 h 110081"/>
              <a:gd name="connsiteX76" fmla="*/ 210899 w 589434"/>
              <a:gd name="connsiteY76" fmla="*/ 72433 h 110081"/>
              <a:gd name="connsiteX77" fmla="*/ 226897 w 589434"/>
              <a:gd name="connsiteY77" fmla="*/ 56628 h 110081"/>
              <a:gd name="connsiteX78" fmla="*/ 234927 w 589434"/>
              <a:gd name="connsiteY78" fmla="*/ 43933 h 110081"/>
              <a:gd name="connsiteX79" fmla="*/ 237355 w 589434"/>
              <a:gd name="connsiteY79" fmla="*/ 32109 h 110081"/>
              <a:gd name="connsiteX80" fmla="*/ 231815 w 589434"/>
              <a:gd name="connsiteY80" fmla="*/ 17610 h 110081"/>
              <a:gd name="connsiteX81" fmla="*/ 216564 w 589434"/>
              <a:gd name="connsiteY81" fmla="*/ 12383 h 110081"/>
              <a:gd name="connsiteX82" fmla="*/ 187556 w 589434"/>
              <a:gd name="connsiteY82" fmla="*/ 27194 h 110081"/>
              <a:gd name="connsiteX83" fmla="*/ 187556 w 589434"/>
              <a:gd name="connsiteY83" fmla="*/ 12134 h 110081"/>
              <a:gd name="connsiteX84" fmla="*/ 217000 w 589434"/>
              <a:gd name="connsiteY84" fmla="*/ 0 h 110081"/>
              <a:gd name="connsiteX85" fmla="*/ 242397 w 589434"/>
              <a:gd name="connsiteY85" fmla="*/ 8401 h 110081"/>
              <a:gd name="connsiteX86" fmla="*/ 251797 w 589434"/>
              <a:gd name="connsiteY86" fmla="*/ 30803 h 110081"/>
              <a:gd name="connsiteX87" fmla="*/ 249431 w 589434"/>
              <a:gd name="connsiteY87" fmla="*/ 44804 h 110081"/>
              <a:gd name="connsiteX88" fmla="*/ 241339 w 589434"/>
              <a:gd name="connsiteY88" fmla="*/ 58681 h 110081"/>
              <a:gd name="connsiteX89" fmla="*/ 225652 w 589434"/>
              <a:gd name="connsiteY89" fmla="*/ 74860 h 110081"/>
              <a:gd name="connsiteX90" fmla="*/ 200254 w 589434"/>
              <a:gd name="connsiteY90" fmla="*/ 95769 h 110081"/>
              <a:gd name="connsiteX91" fmla="*/ 253042 w 589434"/>
              <a:gd name="connsiteY91" fmla="*/ 95769 h 110081"/>
              <a:gd name="connsiteX92" fmla="*/ 253042 w 589434"/>
              <a:gd name="connsiteY92" fmla="*/ 108588 h 110081"/>
              <a:gd name="connsiteX93" fmla="*/ 315104 w 589434"/>
              <a:gd name="connsiteY93" fmla="*/ 108588 h 110081"/>
              <a:gd name="connsiteX94" fmla="*/ 301534 w 589434"/>
              <a:gd name="connsiteY94" fmla="*/ 108588 h 110081"/>
              <a:gd name="connsiteX95" fmla="*/ 301534 w 589434"/>
              <a:gd name="connsiteY95" fmla="*/ 18357 h 110081"/>
              <a:gd name="connsiteX96" fmla="*/ 271965 w 589434"/>
              <a:gd name="connsiteY96" fmla="*/ 41071 h 110081"/>
              <a:gd name="connsiteX97" fmla="*/ 271965 w 589434"/>
              <a:gd name="connsiteY97" fmla="*/ 26011 h 110081"/>
              <a:gd name="connsiteX98" fmla="*/ 303774 w 589434"/>
              <a:gd name="connsiteY98" fmla="*/ 1493 h 110081"/>
              <a:gd name="connsiteX99" fmla="*/ 315104 w 589434"/>
              <a:gd name="connsiteY99" fmla="*/ 1493 h 110081"/>
              <a:gd name="connsiteX100" fmla="*/ 315104 w 589434"/>
              <a:gd name="connsiteY100" fmla="*/ 108588 h 110081"/>
              <a:gd name="connsiteX101" fmla="*/ 354258 w 589434"/>
              <a:gd name="connsiteY101" fmla="*/ 1493 h 110081"/>
              <a:gd name="connsiteX102" fmla="*/ 420554 w 589434"/>
              <a:gd name="connsiteY102" fmla="*/ 1493 h 110081"/>
              <a:gd name="connsiteX103" fmla="*/ 420554 w 589434"/>
              <a:gd name="connsiteY103" fmla="*/ 14374 h 110081"/>
              <a:gd name="connsiteX104" fmla="*/ 368264 w 589434"/>
              <a:gd name="connsiteY104" fmla="*/ 14374 h 110081"/>
              <a:gd name="connsiteX105" fmla="*/ 368264 w 589434"/>
              <a:gd name="connsiteY105" fmla="*/ 46734 h 110081"/>
              <a:gd name="connsiteX106" fmla="*/ 412648 w 589434"/>
              <a:gd name="connsiteY106" fmla="*/ 46734 h 110081"/>
              <a:gd name="connsiteX107" fmla="*/ 412648 w 589434"/>
              <a:gd name="connsiteY107" fmla="*/ 59428 h 110081"/>
              <a:gd name="connsiteX108" fmla="*/ 368264 w 589434"/>
              <a:gd name="connsiteY108" fmla="*/ 59428 h 110081"/>
              <a:gd name="connsiteX109" fmla="*/ 368264 w 589434"/>
              <a:gd name="connsiteY109" fmla="*/ 95893 h 110081"/>
              <a:gd name="connsiteX110" fmla="*/ 421300 w 589434"/>
              <a:gd name="connsiteY110" fmla="*/ 95893 h 110081"/>
              <a:gd name="connsiteX111" fmla="*/ 421300 w 589434"/>
              <a:gd name="connsiteY111" fmla="*/ 108588 h 110081"/>
              <a:gd name="connsiteX112" fmla="*/ 354258 w 589434"/>
              <a:gd name="connsiteY112" fmla="*/ 108588 h 110081"/>
              <a:gd name="connsiteX113" fmla="*/ 354258 w 589434"/>
              <a:gd name="connsiteY113" fmla="*/ 1493 h 110081"/>
              <a:gd name="connsiteX114" fmla="*/ 472345 w 589434"/>
              <a:gd name="connsiteY114" fmla="*/ 110082 h 110081"/>
              <a:gd name="connsiteX115" fmla="*/ 454168 w 589434"/>
              <a:gd name="connsiteY115" fmla="*/ 104233 h 110081"/>
              <a:gd name="connsiteX116" fmla="*/ 441469 w 589434"/>
              <a:gd name="connsiteY116" fmla="*/ 86311 h 110081"/>
              <a:gd name="connsiteX117" fmla="*/ 436987 w 589434"/>
              <a:gd name="connsiteY117" fmla="*/ 54947 h 110081"/>
              <a:gd name="connsiteX118" fmla="*/ 441469 w 589434"/>
              <a:gd name="connsiteY118" fmla="*/ 23584 h 110081"/>
              <a:gd name="connsiteX119" fmla="*/ 454168 w 589434"/>
              <a:gd name="connsiteY119" fmla="*/ 5849 h 110081"/>
              <a:gd name="connsiteX120" fmla="*/ 472345 w 589434"/>
              <a:gd name="connsiteY120" fmla="*/ 186 h 110081"/>
              <a:gd name="connsiteX121" fmla="*/ 490459 w 589434"/>
              <a:gd name="connsiteY121" fmla="*/ 5849 h 110081"/>
              <a:gd name="connsiteX122" fmla="*/ 502847 w 589434"/>
              <a:gd name="connsiteY122" fmla="*/ 23584 h 110081"/>
              <a:gd name="connsiteX123" fmla="*/ 507329 w 589434"/>
              <a:gd name="connsiteY123" fmla="*/ 54698 h 110081"/>
              <a:gd name="connsiteX124" fmla="*/ 502847 w 589434"/>
              <a:gd name="connsiteY124" fmla="*/ 86062 h 110081"/>
              <a:gd name="connsiteX125" fmla="*/ 490459 w 589434"/>
              <a:gd name="connsiteY125" fmla="*/ 104233 h 110081"/>
              <a:gd name="connsiteX126" fmla="*/ 472345 w 589434"/>
              <a:gd name="connsiteY126" fmla="*/ 110082 h 110081"/>
              <a:gd name="connsiteX127" fmla="*/ 472220 w 589434"/>
              <a:gd name="connsiteY127" fmla="*/ 98258 h 110081"/>
              <a:gd name="connsiteX128" fmla="*/ 483549 w 589434"/>
              <a:gd name="connsiteY128" fmla="*/ 94275 h 110081"/>
              <a:gd name="connsiteX129" fmla="*/ 490771 w 589434"/>
              <a:gd name="connsiteY129" fmla="*/ 80648 h 110081"/>
              <a:gd name="connsiteX130" fmla="*/ 493261 w 589434"/>
              <a:gd name="connsiteY130" fmla="*/ 55134 h 110081"/>
              <a:gd name="connsiteX131" fmla="*/ 490895 w 589434"/>
              <a:gd name="connsiteY131" fmla="*/ 29745 h 110081"/>
              <a:gd name="connsiteX132" fmla="*/ 483736 w 589434"/>
              <a:gd name="connsiteY132" fmla="*/ 16117 h 110081"/>
              <a:gd name="connsiteX133" fmla="*/ 472345 w 589434"/>
              <a:gd name="connsiteY133" fmla="*/ 11947 h 110081"/>
              <a:gd name="connsiteX134" fmla="*/ 460891 w 589434"/>
              <a:gd name="connsiteY134" fmla="*/ 16117 h 110081"/>
              <a:gd name="connsiteX135" fmla="*/ 453546 w 589434"/>
              <a:gd name="connsiteY135" fmla="*/ 29745 h 110081"/>
              <a:gd name="connsiteX136" fmla="*/ 450993 w 589434"/>
              <a:gd name="connsiteY136" fmla="*/ 55134 h 110081"/>
              <a:gd name="connsiteX137" fmla="*/ 453421 w 589434"/>
              <a:gd name="connsiteY137" fmla="*/ 80648 h 110081"/>
              <a:gd name="connsiteX138" fmla="*/ 460705 w 589434"/>
              <a:gd name="connsiteY138" fmla="*/ 94275 h 110081"/>
              <a:gd name="connsiteX139" fmla="*/ 472220 w 589434"/>
              <a:gd name="connsiteY139" fmla="*/ 98258 h 110081"/>
              <a:gd name="connsiteX140" fmla="*/ 554513 w 589434"/>
              <a:gd name="connsiteY140" fmla="*/ 110082 h 110081"/>
              <a:gd name="connsiteX141" fmla="*/ 536275 w 589434"/>
              <a:gd name="connsiteY141" fmla="*/ 104233 h 110081"/>
              <a:gd name="connsiteX142" fmla="*/ 523576 w 589434"/>
              <a:gd name="connsiteY142" fmla="*/ 86311 h 110081"/>
              <a:gd name="connsiteX143" fmla="*/ 519094 w 589434"/>
              <a:gd name="connsiteY143" fmla="*/ 54947 h 110081"/>
              <a:gd name="connsiteX144" fmla="*/ 523576 w 589434"/>
              <a:gd name="connsiteY144" fmla="*/ 23584 h 110081"/>
              <a:gd name="connsiteX145" fmla="*/ 536275 w 589434"/>
              <a:gd name="connsiteY145" fmla="*/ 5849 h 110081"/>
              <a:gd name="connsiteX146" fmla="*/ 554513 w 589434"/>
              <a:gd name="connsiteY146" fmla="*/ 186 h 110081"/>
              <a:gd name="connsiteX147" fmla="*/ 572566 w 589434"/>
              <a:gd name="connsiteY147" fmla="*/ 5849 h 110081"/>
              <a:gd name="connsiteX148" fmla="*/ 584953 w 589434"/>
              <a:gd name="connsiteY148" fmla="*/ 23584 h 110081"/>
              <a:gd name="connsiteX149" fmla="*/ 589435 w 589434"/>
              <a:gd name="connsiteY149" fmla="*/ 54698 h 110081"/>
              <a:gd name="connsiteX150" fmla="*/ 584953 w 589434"/>
              <a:gd name="connsiteY150" fmla="*/ 86062 h 110081"/>
              <a:gd name="connsiteX151" fmla="*/ 572566 w 589434"/>
              <a:gd name="connsiteY151" fmla="*/ 104233 h 110081"/>
              <a:gd name="connsiteX152" fmla="*/ 554513 w 589434"/>
              <a:gd name="connsiteY152" fmla="*/ 110082 h 110081"/>
              <a:gd name="connsiteX153" fmla="*/ 554326 w 589434"/>
              <a:gd name="connsiteY153" fmla="*/ 98258 h 110081"/>
              <a:gd name="connsiteX154" fmla="*/ 565719 w 589434"/>
              <a:gd name="connsiteY154" fmla="*/ 94275 h 110081"/>
              <a:gd name="connsiteX155" fmla="*/ 572877 w 589434"/>
              <a:gd name="connsiteY155" fmla="*/ 80648 h 110081"/>
              <a:gd name="connsiteX156" fmla="*/ 575429 w 589434"/>
              <a:gd name="connsiteY156" fmla="*/ 55134 h 110081"/>
              <a:gd name="connsiteX157" fmla="*/ 573001 w 589434"/>
              <a:gd name="connsiteY157" fmla="*/ 29745 h 110081"/>
              <a:gd name="connsiteX158" fmla="*/ 565843 w 589434"/>
              <a:gd name="connsiteY158" fmla="*/ 16117 h 110081"/>
              <a:gd name="connsiteX159" fmla="*/ 554513 w 589434"/>
              <a:gd name="connsiteY159" fmla="*/ 11947 h 110081"/>
              <a:gd name="connsiteX160" fmla="*/ 542997 w 589434"/>
              <a:gd name="connsiteY160" fmla="*/ 16117 h 110081"/>
              <a:gd name="connsiteX161" fmla="*/ 535652 w 589434"/>
              <a:gd name="connsiteY161" fmla="*/ 29745 h 110081"/>
              <a:gd name="connsiteX162" fmla="*/ 533162 w 589434"/>
              <a:gd name="connsiteY162" fmla="*/ 55134 h 110081"/>
              <a:gd name="connsiteX163" fmla="*/ 535528 w 589434"/>
              <a:gd name="connsiteY163" fmla="*/ 80648 h 110081"/>
              <a:gd name="connsiteX164" fmla="*/ 542873 w 589434"/>
              <a:gd name="connsiteY164" fmla="*/ 94275 h 110081"/>
              <a:gd name="connsiteX165" fmla="*/ 554326 w 589434"/>
              <a:gd name="connsiteY165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589434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1" y="110082"/>
                  <a:pt x="123626" y="108900"/>
                  <a:pt x="118148" y="106473"/>
                </a:cubicBezTo>
                <a:cubicBezTo>
                  <a:pt x="112733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6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0" y="49720"/>
                  <a:pt x="111986" y="46671"/>
                  <a:pt x="108998" y="42564"/>
                </a:cubicBezTo>
                <a:cubicBezTo>
                  <a:pt x="106134" y="38519"/>
                  <a:pt x="104702" y="33479"/>
                  <a:pt x="104702" y="27504"/>
                </a:cubicBezTo>
                <a:cubicBezTo>
                  <a:pt x="104702" y="21593"/>
                  <a:pt x="106072" y="16615"/>
                  <a:pt x="108873" y="12570"/>
                </a:cubicBezTo>
                <a:cubicBezTo>
                  <a:pt x="111674" y="8463"/>
                  <a:pt x="115471" y="5414"/>
                  <a:pt x="120389" y="3298"/>
                </a:cubicBezTo>
                <a:cubicBezTo>
                  <a:pt x="125245" y="1182"/>
                  <a:pt x="130723" y="186"/>
                  <a:pt x="136823" y="186"/>
                </a:cubicBezTo>
                <a:cubicBezTo>
                  <a:pt x="142799" y="186"/>
                  <a:pt x="148152" y="1182"/>
                  <a:pt x="152945" y="3298"/>
                </a:cubicBezTo>
                <a:cubicBezTo>
                  <a:pt x="157739" y="5289"/>
                  <a:pt x="161536" y="8276"/>
                  <a:pt x="164275" y="12259"/>
                </a:cubicBezTo>
                <a:cubicBezTo>
                  <a:pt x="167201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5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5" y="106473"/>
                </a:cubicBezTo>
                <a:cubicBezTo>
                  <a:pt x="149584" y="108900"/>
                  <a:pt x="143608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4" y="46298"/>
                  <a:pt x="146410" y="44804"/>
                  <a:pt x="149833" y="41817"/>
                </a:cubicBezTo>
                <a:cubicBezTo>
                  <a:pt x="153319" y="38768"/>
                  <a:pt x="155062" y="34536"/>
                  <a:pt x="155062" y="29122"/>
                </a:cubicBezTo>
                <a:cubicBezTo>
                  <a:pt x="155062" y="23771"/>
                  <a:pt x="153319" y="19601"/>
                  <a:pt x="149833" y="16615"/>
                </a:cubicBezTo>
                <a:cubicBezTo>
                  <a:pt x="146410" y="13503"/>
                  <a:pt x="142114" y="11947"/>
                  <a:pt x="136823" y="11947"/>
                </a:cubicBezTo>
                <a:cubicBezTo>
                  <a:pt x="131532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2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69" y="89235"/>
                  <a:pt x="158486" y="84071"/>
                  <a:pt x="158486" y="77536"/>
                </a:cubicBezTo>
                <a:cubicBezTo>
                  <a:pt x="158486" y="70940"/>
                  <a:pt x="156369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0" y="58619"/>
                  <a:pt x="120825" y="62291"/>
                </a:cubicBezTo>
                <a:cubicBezTo>
                  <a:pt x="116654" y="65900"/>
                  <a:pt x="114538" y="70940"/>
                  <a:pt x="114538" y="77536"/>
                </a:cubicBezTo>
                <a:cubicBezTo>
                  <a:pt x="114538" y="84071"/>
                  <a:pt x="116654" y="89235"/>
                  <a:pt x="120825" y="92907"/>
                </a:cubicBezTo>
                <a:cubicBezTo>
                  <a:pt x="125120" y="96516"/>
                  <a:pt x="130411" y="98258"/>
                  <a:pt x="136823" y="98258"/>
                </a:cubicBezTo>
                <a:close/>
                <a:moveTo>
                  <a:pt x="253042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4" y="78532"/>
                  <a:pt x="210899" y="72433"/>
                </a:cubicBezTo>
                <a:cubicBezTo>
                  <a:pt x="217747" y="66397"/>
                  <a:pt x="223100" y="61108"/>
                  <a:pt x="226897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355" y="36092"/>
                  <a:pt x="237355" y="32109"/>
                </a:cubicBezTo>
                <a:cubicBezTo>
                  <a:pt x="237355" y="25949"/>
                  <a:pt x="235488" y="21095"/>
                  <a:pt x="231815" y="17610"/>
                </a:cubicBezTo>
                <a:cubicBezTo>
                  <a:pt x="228143" y="14125"/>
                  <a:pt x="223038" y="12383"/>
                  <a:pt x="216564" y="12383"/>
                </a:cubicBezTo>
                <a:cubicBezTo>
                  <a:pt x="206231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5" y="4044"/>
                  <a:pt x="205670" y="0"/>
                  <a:pt x="217000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1050" y="40324"/>
                  <a:pt x="249431" y="44804"/>
                </a:cubicBezTo>
                <a:cubicBezTo>
                  <a:pt x="247937" y="49222"/>
                  <a:pt x="245261" y="53827"/>
                  <a:pt x="241339" y="58681"/>
                </a:cubicBezTo>
                <a:cubicBezTo>
                  <a:pt x="237604" y="63473"/>
                  <a:pt x="232375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3042" y="95769"/>
                </a:lnTo>
                <a:lnTo>
                  <a:pt x="253042" y="108588"/>
                </a:lnTo>
                <a:close/>
                <a:moveTo>
                  <a:pt x="315104" y="108588"/>
                </a:moveTo>
                <a:lnTo>
                  <a:pt x="301534" y="108588"/>
                </a:lnTo>
                <a:lnTo>
                  <a:pt x="301534" y="18357"/>
                </a:lnTo>
                <a:lnTo>
                  <a:pt x="271965" y="41071"/>
                </a:lnTo>
                <a:lnTo>
                  <a:pt x="271965" y="26011"/>
                </a:lnTo>
                <a:lnTo>
                  <a:pt x="303774" y="1493"/>
                </a:lnTo>
                <a:lnTo>
                  <a:pt x="315104" y="1493"/>
                </a:lnTo>
                <a:lnTo>
                  <a:pt x="315104" y="108588"/>
                </a:lnTo>
                <a:close/>
                <a:moveTo>
                  <a:pt x="354258" y="1493"/>
                </a:moveTo>
                <a:lnTo>
                  <a:pt x="420554" y="1493"/>
                </a:lnTo>
                <a:lnTo>
                  <a:pt x="420554" y="14374"/>
                </a:lnTo>
                <a:lnTo>
                  <a:pt x="368264" y="14374"/>
                </a:lnTo>
                <a:lnTo>
                  <a:pt x="368264" y="46734"/>
                </a:lnTo>
                <a:lnTo>
                  <a:pt x="412648" y="46734"/>
                </a:lnTo>
                <a:lnTo>
                  <a:pt x="412648" y="59428"/>
                </a:lnTo>
                <a:lnTo>
                  <a:pt x="368264" y="59428"/>
                </a:lnTo>
                <a:lnTo>
                  <a:pt x="368264" y="95893"/>
                </a:lnTo>
                <a:lnTo>
                  <a:pt x="421300" y="95893"/>
                </a:lnTo>
                <a:lnTo>
                  <a:pt x="421300" y="108588"/>
                </a:lnTo>
                <a:lnTo>
                  <a:pt x="354258" y="108588"/>
                </a:lnTo>
                <a:lnTo>
                  <a:pt x="354258" y="1493"/>
                </a:lnTo>
                <a:close/>
                <a:moveTo>
                  <a:pt x="472345" y="110082"/>
                </a:moveTo>
                <a:cubicBezTo>
                  <a:pt x="465622" y="110082"/>
                  <a:pt x="459521" y="108153"/>
                  <a:pt x="454168" y="104233"/>
                </a:cubicBezTo>
                <a:cubicBezTo>
                  <a:pt x="448752" y="100374"/>
                  <a:pt x="444519" y="94400"/>
                  <a:pt x="441469" y="86311"/>
                </a:cubicBezTo>
                <a:cubicBezTo>
                  <a:pt x="438481" y="78159"/>
                  <a:pt x="436987" y="67705"/>
                  <a:pt x="436987" y="54947"/>
                </a:cubicBezTo>
                <a:cubicBezTo>
                  <a:pt x="436987" y="42128"/>
                  <a:pt x="438481" y="31674"/>
                  <a:pt x="441469" y="23584"/>
                </a:cubicBezTo>
                <a:cubicBezTo>
                  <a:pt x="444519" y="15557"/>
                  <a:pt x="448752" y="9645"/>
                  <a:pt x="454168" y="5849"/>
                </a:cubicBezTo>
                <a:cubicBezTo>
                  <a:pt x="459521" y="2053"/>
                  <a:pt x="465622" y="186"/>
                  <a:pt x="472345" y="186"/>
                </a:cubicBezTo>
                <a:cubicBezTo>
                  <a:pt x="479130" y="186"/>
                  <a:pt x="485168" y="2053"/>
                  <a:pt x="490459" y="5849"/>
                </a:cubicBezTo>
                <a:cubicBezTo>
                  <a:pt x="495751" y="9645"/>
                  <a:pt x="499859" y="15557"/>
                  <a:pt x="502847" y="23584"/>
                </a:cubicBezTo>
                <a:cubicBezTo>
                  <a:pt x="505835" y="31549"/>
                  <a:pt x="507329" y="41942"/>
                  <a:pt x="507329" y="54698"/>
                </a:cubicBezTo>
                <a:cubicBezTo>
                  <a:pt x="507329" y="67331"/>
                  <a:pt x="505835" y="77786"/>
                  <a:pt x="502847" y="86062"/>
                </a:cubicBezTo>
                <a:cubicBezTo>
                  <a:pt x="499859" y="94213"/>
                  <a:pt x="495751" y="100250"/>
                  <a:pt x="490459" y="104233"/>
                </a:cubicBezTo>
                <a:cubicBezTo>
                  <a:pt x="485168" y="108153"/>
                  <a:pt x="479130" y="110082"/>
                  <a:pt x="472345" y="110082"/>
                </a:cubicBezTo>
                <a:close/>
                <a:moveTo>
                  <a:pt x="472220" y="98258"/>
                </a:moveTo>
                <a:cubicBezTo>
                  <a:pt x="476702" y="98258"/>
                  <a:pt x="480499" y="96952"/>
                  <a:pt x="483549" y="94275"/>
                </a:cubicBezTo>
                <a:cubicBezTo>
                  <a:pt x="486786" y="91475"/>
                  <a:pt x="489152" y="86933"/>
                  <a:pt x="490771" y="80648"/>
                </a:cubicBezTo>
                <a:cubicBezTo>
                  <a:pt x="492451" y="74300"/>
                  <a:pt x="493261" y="65775"/>
                  <a:pt x="493261" y="55134"/>
                </a:cubicBezTo>
                <a:cubicBezTo>
                  <a:pt x="493261" y="44493"/>
                  <a:pt x="492514" y="36030"/>
                  <a:pt x="490895" y="29745"/>
                </a:cubicBezTo>
                <a:cubicBezTo>
                  <a:pt x="489277" y="23336"/>
                  <a:pt x="486911" y="18855"/>
                  <a:pt x="483736" y="16117"/>
                </a:cubicBezTo>
                <a:cubicBezTo>
                  <a:pt x="480624" y="13379"/>
                  <a:pt x="476827" y="11947"/>
                  <a:pt x="472345" y="11947"/>
                </a:cubicBezTo>
                <a:cubicBezTo>
                  <a:pt x="467863" y="11947"/>
                  <a:pt x="464065" y="13379"/>
                  <a:pt x="460891" y="16117"/>
                </a:cubicBezTo>
                <a:cubicBezTo>
                  <a:pt x="457654" y="18855"/>
                  <a:pt x="455227" y="23336"/>
                  <a:pt x="453546" y="29745"/>
                </a:cubicBezTo>
                <a:cubicBezTo>
                  <a:pt x="451865" y="36030"/>
                  <a:pt x="450993" y="44493"/>
                  <a:pt x="450993" y="55134"/>
                </a:cubicBezTo>
                <a:cubicBezTo>
                  <a:pt x="450993" y="65775"/>
                  <a:pt x="451803" y="74300"/>
                  <a:pt x="453421" y="80648"/>
                </a:cubicBezTo>
                <a:cubicBezTo>
                  <a:pt x="455102" y="86933"/>
                  <a:pt x="457530" y="91475"/>
                  <a:pt x="460705" y="94275"/>
                </a:cubicBezTo>
                <a:cubicBezTo>
                  <a:pt x="463879" y="96952"/>
                  <a:pt x="467739" y="98258"/>
                  <a:pt x="472220" y="98258"/>
                </a:cubicBezTo>
                <a:close/>
                <a:moveTo>
                  <a:pt x="554513" y="110082"/>
                </a:moveTo>
                <a:cubicBezTo>
                  <a:pt x="547728" y="110082"/>
                  <a:pt x="541628" y="108153"/>
                  <a:pt x="536275" y="104233"/>
                </a:cubicBezTo>
                <a:cubicBezTo>
                  <a:pt x="530921" y="100374"/>
                  <a:pt x="526688" y="94400"/>
                  <a:pt x="523576" y="86311"/>
                </a:cubicBezTo>
                <a:cubicBezTo>
                  <a:pt x="520588" y="78159"/>
                  <a:pt x="519094" y="67705"/>
                  <a:pt x="519094" y="54947"/>
                </a:cubicBezTo>
                <a:cubicBezTo>
                  <a:pt x="519094" y="42128"/>
                  <a:pt x="520588" y="31674"/>
                  <a:pt x="523576" y="23584"/>
                </a:cubicBezTo>
                <a:cubicBezTo>
                  <a:pt x="526688" y="15557"/>
                  <a:pt x="530921" y="9645"/>
                  <a:pt x="536275" y="5849"/>
                </a:cubicBezTo>
                <a:cubicBezTo>
                  <a:pt x="541628" y="2053"/>
                  <a:pt x="547728" y="186"/>
                  <a:pt x="554513" y="186"/>
                </a:cubicBezTo>
                <a:cubicBezTo>
                  <a:pt x="561298" y="186"/>
                  <a:pt x="567275" y="2053"/>
                  <a:pt x="572566" y="5849"/>
                </a:cubicBezTo>
                <a:cubicBezTo>
                  <a:pt x="577857" y="9645"/>
                  <a:pt x="581965" y="15557"/>
                  <a:pt x="584953" y="23584"/>
                </a:cubicBezTo>
                <a:cubicBezTo>
                  <a:pt x="587941" y="31549"/>
                  <a:pt x="589435" y="41942"/>
                  <a:pt x="589435" y="54698"/>
                </a:cubicBezTo>
                <a:cubicBezTo>
                  <a:pt x="589435" y="67331"/>
                  <a:pt x="587941" y="77786"/>
                  <a:pt x="584953" y="86062"/>
                </a:cubicBezTo>
                <a:cubicBezTo>
                  <a:pt x="581965" y="94213"/>
                  <a:pt x="577857" y="100250"/>
                  <a:pt x="572566" y="104233"/>
                </a:cubicBezTo>
                <a:cubicBezTo>
                  <a:pt x="567275" y="108153"/>
                  <a:pt x="561298" y="110082"/>
                  <a:pt x="554513" y="110082"/>
                </a:cubicBezTo>
                <a:close/>
                <a:moveTo>
                  <a:pt x="554326" y="98258"/>
                </a:moveTo>
                <a:cubicBezTo>
                  <a:pt x="558809" y="98258"/>
                  <a:pt x="562606" y="96952"/>
                  <a:pt x="565719" y="94275"/>
                </a:cubicBezTo>
                <a:cubicBezTo>
                  <a:pt x="568893" y="91475"/>
                  <a:pt x="571259" y="86933"/>
                  <a:pt x="572877" y="80648"/>
                </a:cubicBezTo>
                <a:cubicBezTo>
                  <a:pt x="574557" y="74300"/>
                  <a:pt x="575429" y="65775"/>
                  <a:pt x="575429" y="55134"/>
                </a:cubicBezTo>
                <a:cubicBezTo>
                  <a:pt x="575429" y="44493"/>
                  <a:pt x="574620" y="36030"/>
                  <a:pt x="573001" y="29745"/>
                </a:cubicBezTo>
                <a:cubicBezTo>
                  <a:pt x="571445" y="23336"/>
                  <a:pt x="569017" y="18855"/>
                  <a:pt x="565843" y="16117"/>
                </a:cubicBezTo>
                <a:cubicBezTo>
                  <a:pt x="562792" y="13379"/>
                  <a:pt x="558995" y="11947"/>
                  <a:pt x="554513" y="11947"/>
                </a:cubicBezTo>
                <a:cubicBezTo>
                  <a:pt x="550032" y="11947"/>
                  <a:pt x="546172" y="13379"/>
                  <a:pt x="542997" y="16117"/>
                </a:cubicBezTo>
                <a:cubicBezTo>
                  <a:pt x="539823" y="18855"/>
                  <a:pt x="537395" y="23336"/>
                  <a:pt x="535652" y="29745"/>
                </a:cubicBezTo>
                <a:cubicBezTo>
                  <a:pt x="533972" y="36030"/>
                  <a:pt x="533162" y="44493"/>
                  <a:pt x="533162" y="55134"/>
                </a:cubicBezTo>
                <a:cubicBezTo>
                  <a:pt x="533162" y="65775"/>
                  <a:pt x="533909" y="74300"/>
                  <a:pt x="535528" y="80648"/>
                </a:cubicBezTo>
                <a:cubicBezTo>
                  <a:pt x="537208" y="86933"/>
                  <a:pt x="539636" y="91475"/>
                  <a:pt x="542873" y="94275"/>
                </a:cubicBezTo>
                <a:cubicBezTo>
                  <a:pt x="546048" y="96952"/>
                  <a:pt x="549845" y="98258"/>
                  <a:pt x="554326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5" name="Полилиния 1044">
            <a:extLst>
              <a:ext uri="{FF2B5EF4-FFF2-40B4-BE49-F238E27FC236}">
                <a16:creationId xmlns:a16="http://schemas.microsoft.com/office/drawing/2014/main" id="{60A63D55-03C5-25AA-1318-32AD6BF3179E}"/>
              </a:ext>
            </a:extLst>
          </p:cNvPr>
          <p:cNvSpPr/>
          <p:nvPr userDrawn="1"/>
        </p:nvSpPr>
        <p:spPr>
          <a:xfrm>
            <a:off x="19989822" y="5240073"/>
            <a:ext cx="1398954" cy="726227"/>
          </a:xfrm>
          <a:custGeom>
            <a:avLst/>
            <a:gdLst>
              <a:gd name="connsiteX0" fmla="*/ 1063 w 1198727"/>
              <a:gd name="connsiteY0" fmla="*/ 1222 h 622284"/>
              <a:gd name="connsiteX1" fmla="*/ 1199791 w 1198727"/>
              <a:gd name="connsiteY1" fmla="*/ 1222 h 622284"/>
              <a:gd name="connsiteX2" fmla="*/ 1199791 w 1198727"/>
              <a:gd name="connsiteY2" fmla="*/ 623506 h 622284"/>
              <a:gd name="connsiteX3" fmla="*/ 1063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222"/>
                </a:moveTo>
                <a:lnTo>
                  <a:pt x="1199791" y="1222"/>
                </a:lnTo>
                <a:lnTo>
                  <a:pt x="1199791" y="623506"/>
                </a:lnTo>
                <a:lnTo>
                  <a:pt x="1063" y="623506"/>
                </a:lnTo>
                <a:close/>
              </a:path>
            </a:pathLst>
          </a:custGeom>
          <a:solidFill>
            <a:srgbClr val="A528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6" name="Полилиния 1045">
            <a:extLst>
              <a:ext uri="{FF2B5EF4-FFF2-40B4-BE49-F238E27FC236}">
                <a16:creationId xmlns:a16="http://schemas.microsoft.com/office/drawing/2014/main" id="{51D1CD10-B045-C48C-032E-D2770AB8861E}"/>
              </a:ext>
            </a:extLst>
          </p:cNvPr>
          <p:cNvSpPr/>
          <p:nvPr userDrawn="1"/>
        </p:nvSpPr>
        <p:spPr>
          <a:xfrm>
            <a:off x="20113031" y="5541820"/>
            <a:ext cx="697479" cy="128468"/>
          </a:xfrm>
          <a:custGeom>
            <a:avLst/>
            <a:gdLst>
              <a:gd name="connsiteX0" fmla="*/ 22098 w 597652"/>
              <a:gd name="connsiteY0" fmla="*/ 108588 h 110081"/>
              <a:gd name="connsiteX1" fmla="*/ 10147 w 597652"/>
              <a:gd name="connsiteY1" fmla="*/ 108588 h 110081"/>
              <a:gd name="connsiteX2" fmla="*/ 16434 w 597652"/>
              <a:gd name="connsiteY2" fmla="*/ 77661 h 110081"/>
              <a:gd name="connsiteX3" fmla="*/ 0 w 597652"/>
              <a:gd name="connsiteY3" fmla="*/ 77661 h 110081"/>
              <a:gd name="connsiteX4" fmla="*/ 0 w 597652"/>
              <a:gd name="connsiteY4" fmla="*/ 67206 h 110081"/>
              <a:gd name="connsiteX5" fmla="*/ 18675 w 597652"/>
              <a:gd name="connsiteY5" fmla="*/ 67206 h 110081"/>
              <a:gd name="connsiteX6" fmla="*/ 24215 w 597652"/>
              <a:gd name="connsiteY6" fmla="*/ 40012 h 110081"/>
              <a:gd name="connsiteX7" fmla="*/ 4046 w 597652"/>
              <a:gd name="connsiteY7" fmla="*/ 40012 h 110081"/>
              <a:gd name="connsiteX8" fmla="*/ 4046 w 597652"/>
              <a:gd name="connsiteY8" fmla="*/ 29559 h 110081"/>
              <a:gd name="connsiteX9" fmla="*/ 26269 w 597652"/>
              <a:gd name="connsiteY9" fmla="*/ 29559 h 110081"/>
              <a:gd name="connsiteX10" fmla="*/ 32120 w 597652"/>
              <a:gd name="connsiteY10" fmla="*/ 1493 h 110081"/>
              <a:gd name="connsiteX11" fmla="*/ 44072 w 597652"/>
              <a:gd name="connsiteY11" fmla="*/ 1493 h 110081"/>
              <a:gd name="connsiteX12" fmla="*/ 38221 w 597652"/>
              <a:gd name="connsiteY12" fmla="*/ 29559 h 110081"/>
              <a:gd name="connsiteX13" fmla="*/ 60630 w 597652"/>
              <a:gd name="connsiteY13" fmla="*/ 29559 h 110081"/>
              <a:gd name="connsiteX14" fmla="*/ 66481 w 597652"/>
              <a:gd name="connsiteY14" fmla="*/ 1493 h 110081"/>
              <a:gd name="connsiteX15" fmla="*/ 78434 w 597652"/>
              <a:gd name="connsiteY15" fmla="*/ 1493 h 110081"/>
              <a:gd name="connsiteX16" fmla="*/ 72582 w 597652"/>
              <a:gd name="connsiteY16" fmla="*/ 29559 h 110081"/>
              <a:gd name="connsiteX17" fmla="*/ 89327 w 597652"/>
              <a:gd name="connsiteY17" fmla="*/ 29559 h 110081"/>
              <a:gd name="connsiteX18" fmla="*/ 89327 w 597652"/>
              <a:gd name="connsiteY18" fmla="*/ 40012 h 110081"/>
              <a:gd name="connsiteX19" fmla="*/ 70528 w 597652"/>
              <a:gd name="connsiteY19" fmla="*/ 40012 h 110081"/>
              <a:gd name="connsiteX20" fmla="*/ 64988 w 597652"/>
              <a:gd name="connsiteY20" fmla="*/ 67206 h 110081"/>
              <a:gd name="connsiteX21" fmla="*/ 85281 w 597652"/>
              <a:gd name="connsiteY21" fmla="*/ 67206 h 110081"/>
              <a:gd name="connsiteX22" fmla="*/ 85281 w 597652"/>
              <a:gd name="connsiteY22" fmla="*/ 77661 h 110081"/>
              <a:gd name="connsiteX23" fmla="*/ 62747 w 597652"/>
              <a:gd name="connsiteY23" fmla="*/ 77661 h 110081"/>
              <a:gd name="connsiteX24" fmla="*/ 56459 w 597652"/>
              <a:gd name="connsiteY24" fmla="*/ 108588 h 110081"/>
              <a:gd name="connsiteX25" fmla="*/ 44508 w 597652"/>
              <a:gd name="connsiteY25" fmla="*/ 108588 h 110081"/>
              <a:gd name="connsiteX26" fmla="*/ 50795 w 597652"/>
              <a:gd name="connsiteY26" fmla="*/ 77661 h 110081"/>
              <a:gd name="connsiteX27" fmla="*/ 28385 w 597652"/>
              <a:gd name="connsiteY27" fmla="*/ 77661 h 110081"/>
              <a:gd name="connsiteX28" fmla="*/ 22098 w 597652"/>
              <a:gd name="connsiteY28" fmla="*/ 108588 h 110081"/>
              <a:gd name="connsiteX29" fmla="*/ 30626 w 597652"/>
              <a:gd name="connsiteY29" fmla="*/ 67206 h 110081"/>
              <a:gd name="connsiteX30" fmla="*/ 53036 w 597652"/>
              <a:gd name="connsiteY30" fmla="*/ 67206 h 110081"/>
              <a:gd name="connsiteX31" fmla="*/ 58576 w 597652"/>
              <a:gd name="connsiteY31" fmla="*/ 40012 h 110081"/>
              <a:gd name="connsiteX32" fmla="*/ 36166 w 597652"/>
              <a:gd name="connsiteY32" fmla="*/ 40012 h 110081"/>
              <a:gd name="connsiteX33" fmla="*/ 30626 w 597652"/>
              <a:gd name="connsiteY33" fmla="*/ 67206 h 110081"/>
              <a:gd name="connsiteX34" fmla="*/ 189672 w 597652"/>
              <a:gd name="connsiteY34" fmla="*/ 108588 h 110081"/>
              <a:gd name="connsiteX35" fmla="*/ 174732 w 597652"/>
              <a:gd name="connsiteY35" fmla="*/ 108588 h 110081"/>
              <a:gd name="connsiteX36" fmla="*/ 163714 w 597652"/>
              <a:gd name="connsiteY36" fmla="*/ 77972 h 110081"/>
              <a:gd name="connsiteX37" fmla="*/ 116343 w 597652"/>
              <a:gd name="connsiteY37" fmla="*/ 77972 h 110081"/>
              <a:gd name="connsiteX38" fmla="*/ 105449 w 597652"/>
              <a:gd name="connsiteY38" fmla="*/ 108588 h 110081"/>
              <a:gd name="connsiteX39" fmla="*/ 92315 w 597652"/>
              <a:gd name="connsiteY39" fmla="*/ 108588 h 110081"/>
              <a:gd name="connsiteX40" fmla="*/ 130411 w 597652"/>
              <a:gd name="connsiteY40" fmla="*/ 1493 h 110081"/>
              <a:gd name="connsiteX41" fmla="*/ 151327 w 597652"/>
              <a:gd name="connsiteY41" fmla="*/ 1493 h 110081"/>
              <a:gd name="connsiteX42" fmla="*/ 189672 w 597652"/>
              <a:gd name="connsiteY42" fmla="*/ 108588 h 110081"/>
              <a:gd name="connsiteX43" fmla="*/ 120949 w 597652"/>
              <a:gd name="connsiteY43" fmla="*/ 65278 h 110081"/>
              <a:gd name="connsiteX44" fmla="*/ 159233 w 597652"/>
              <a:gd name="connsiteY44" fmla="*/ 65278 h 110081"/>
              <a:gd name="connsiteX45" fmla="*/ 140122 w 597652"/>
              <a:gd name="connsiteY45" fmla="*/ 11947 h 110081"/>
              <a:gd name="connsiteX46" fmla="*/ 120949 w 597652"/>
              <a:gd name="connsiteY46" fmla="*/ 65278 h 110081"/>
              <a:gd name="connsiteX47" fmla="*/ 229200 w 597652"/>
              <a:gd name="connsiteY47" fmla="*/ 110082 h 110081"/>
              <a:gd name="connsiteX48" fmla="*/ 200628 w 597652"/>
              <a:gd name="connsiteY48" fmla="*/ 102490 h 110081"/>
              <a:gd name="connsiteX49" fmla="*/ 200628 w 597652"/>
              <a:gd name="connsiteY49" fmla="*/ 87804 h 110081"/>
              <a:gd name="connsiteX50" fmla="*/ 213825 w 597652"/>
              <a:gd name="connsiteY50" fmla="*/ 95458 h 110081"/>
              <a:gd name="connsiteX51" fmla="*/ 229200 w 597652"/>
              <a:gd name="connsiteY51" fmla="*/ 97823 h 110081"/>
              <a:gd name="connsiteX52" fmla="*/ 246194 w 597652"/>
              <a:gd name="connsiteY52" fmla="*/ 91102 h 110081"/>
              <a:gd name="connsiteX53" fmla="*/ 252357 w 597652"/>
              <a:gd name="connsiteY53" fmla="*/ 73491 h 110081"/>
              <a:gd name="connsiteX54" fmla="*/ 246381 w 597652"/>
              <a:gd name="connsiteY54" fmla="*/ 56441 h 110081"/>
              <a:gd name="connsiteX55" fmla="*/ 231255 w 597652"/>
              <a:gd name="connsiteY55" fmla="*/ 51089 h 110081"/>
              <a:gd name="connsiteX56" fmla="*/ 220672 w 597652"/>
              <a:gd name="connsiteY56" fmla="*/ 53329 h 110081"/>
              <a:gd name="connsiteX57" fmla="*/ 214572 w 597652"/>
              <a:gd name="connsiteY57" fmla="*/ 57810 h 110081"/>
              <a:gd name="connsiteX58" fmla="*/ 203616 w 597652"/>
              <a:gd name="connsiteY58" fmla="*/ 57810 h 110081"/>
              <a:gd name="connsiteX59" fmla="*/ 203616 w 597652"/>
              <a:gd name="connsiteY59" fmla="*/ 1493 h 110081"/>
              <a:gd name="connsiteX60" fmla="*/ 261633 w 597652"/>
              <a:gd name="connsiteY60" fmla="*/ 1493 h 110081"/>
              <a:gd name="connsiteX61" fmla="*/ 261633 w 597652"/>
              <a:gd name="connsiteY61" fmla="*/ 14374 h 110081"/>
              <a:gd name="connsiteX62" fmla="*/ 215879 w 597652"/>
              <a:gd name="connsiteY62" fmla="*/ 14374 h 110081"/>
              <a:gd name="connsiteX63" fmla="*/ 215879 w 597652"/>
              <a:gd name="connsiteY63" fmla="*/ 44991 h 110081"/>
              <a:gd name="connsiteX64" fmla="*/ 223225 w 597652"/>
              <a:gd name="connsiteY64" fmla="*/ 41071 h 110081"/>
              <a:gd name="connsiteX65" fmla="*/ 233496 w 597652"/>
              <a:gd name="connsiteY65" fmla="*/ 39266 h 110081"/>
              <a:gd name="connsiteX66" fmla="*/ 250240 w 597652"/>
              <a:gd name="connsiteY66" fmla="*/ 43186 h 110081"/>
              <a:gd name="connsiteX67" fmla="*/ 262068 w 597652"/>
              <a:gd name="connsiteY67" fmla="*/ 54512 h 110081"/>
              <a:gd name="connsiteX68" fmla="*/ 266550 w 597652"/>
              <a:gd name="connsiteY68" fmla="*/ 73181 h 110081"/>
              <a:gd name="connsiteX69" fmla="*/ 261881 w 597652"/>
              <a:gd name="connsiteY69" fmla="*/ 92596 h 110081"/>
              <a:gd name="connsiteX70" fmla="*/ 249058 w 597652"/>
              <a:gd name="connsiteY70" fmla="*/ 105601 h 110081"/>
              <a:gd name="connsiteX71" fmla="*/ 229200 w 597652"/>
              <a:gd name="connsiteY71" fmla="*/ 110082 h 110081"/>
              <a:gd name="connsiteX72" fmla="*/ 350461 w 597652"/>
              <a:gd name="connsiteY72" fmla="*/ 108588 h 110081"/>
              <a:gd name="connsiteX73" fmla="*/ 282174 w 597652"/>
              <a:gd name="connsiteY73" fmla="*/ 108588 h 110081"/>
              <a:gd name="connsiteX74" fmla="*/ 282174 w 597652"/>
              <a:gd name="connsiteY74" fmla="*/ 94400 h 110081"/>
              <a:gd name="connsiteX75" fmla="*/ 308319 w 597652"/>
              <a:gd name="connsiteY75" fmla="*/ 72433 h 110081"/>
              <a:gd name="connsiteX76" fmla="*/ 324317 w 597652"/>
              <a:gd name="connsiteY76" fmla="*/ 56628 h 110081"/>
              <a:gd name="connsiteX77" fmla="*/ 332410 w 597652"/>
              <a:gd name="connsiteY77" fmla="*/ 43933 h 110081"/>
              <a:gd name="connsiteX78" fmla="*/ 334775 w 597652"/>
              <a:gd name="connsiteY78" fmla="*/ 32109 h 110081"/>
              <a:gd name="connsiteX79" fmla="*/ 329235 w 597652"/>
              <a:gd name="connsiteY79" fmla="*/ 17610 h 110081"/>
              <a:gd name="connsiteX80" fmla="*/ 314046 w 597652"/>
              <a:gd name="connsiteY80" fmla="*/ 12383 h 110081"/>
              <a:gd name="connsiteX81" fmla="*/ 285037 w 597652"/>
              <a:gd name="connsiteY81" fmla="*/ 27194 h 110081"/>
              <a:gd name="connsiteX82" fmla="*/ 285037 w 597652"/>
              <a:gd name="connsiteY82" fmla="*/ 12134 h 110081"/>
              <a:gd name="connsiteX83" fmla="*/ 314482 w 597652"/>
              <a:gd name="connsiteY83" fmla="*/ 0 h 110081"/>
              <a:gd name="connsiteX84" fmla="*/ 339879 w 597652"/>
              <a:gd name="connsiteY84" fmla="*/ 8401 h 110081"/>
              <a:gd name="connsiteX85" fmla="*/ 349279 w 597652"/>
              <a:gd name="connsiteY85" fmla="*/ 30803 h 110081"/>
              <a:gd name="connsiteX86" fmla="*/ 346913 w 597652"/>
              <a:gd name="connsiteY86" fmla="*/ 44804 h 110081"/>
              <a:gd name="connsiteX87" fmla="*/ 338821 w 597652"/>
              <a:gd name="connsiteY87" fmla="*/ 58681 h 110081"/>
              <a:gd name="connsiteX88" fmla="*/ 323134 w 597652"/>
              <a:gd name="connsiteY88" fmla="*/ 74860 h 110081"/>
              <a:gd name="connsiteX89" fmla="*/ 297736 w 597652"/>
              <a:gd name="connsiteY89" fmla="*/ 95769 h 110081"/>
              <a:gd name="connsiteX90" fmla="*/ 350461 w 597652"/>
              <a:gd name="connsiteY90" fmla="*/ 95769 h 110081"/>
              <a:gd name="connsiteX91" fmla="*/ 350461 w 597652"/>
              <a:gd name="connsiteY91" fmla="*/ 108588 h 110081"/>
              <a:gd name="connsiteX92" fmla="*/ 398518 w 597652"/>
              <a:gd name="connsiteY92" fmla="*/ 110082 h 110081"/>
              <a:gd name="connsiteX93" fmla="*/ 379843 w 597652"/>
              <a:gd name="connsiteY93" fmla="*/ 106473 h 110081"/>
              <a:gd name="connsiteX94" fmla="*/ 367144 w 597652"/>
              <a:gd name="connsiteY94" fmla="*/ 96205 h 110081"/>
              <a:gd name="connsiteX95" fmla="*/ 362538 w 597652"/>
              <a:gd name="connsiteY95" fmla="*/ 79777 h 110081"/>
              <a:gd name="connsiteX96" fmla="*/ 367891 w 597652"/>
              <a:gd name="connsiteY96" fmla="*/ 62291 h 110081"/>
              <a:gd name="connsiteX97" fmla="*/ 382706 w 597652"/>
              <a:gd name="connsiteY97" fmla="*/ 51711 h 110081"/>
              <a:gd name="connsiteX98" fmla="*/ 370754 w 597652"/>
              <a:gd name="connsiteY98" fmla="*/ 42564 h 110081"/>
              <a:gd name="connsiteX99" fmla="*/ 366397 w 597652"/>
              <a:gd name="connsiteY99" fmla="*/ 27504 h 110081"/>
              <a:gd name="connsiteX100" fmla="*/ 370630 w 597652"/>
              <a:gd name="connsiteY100" fmla="*/ 12570 h 110081"/>
              <a:gd name="connsiteX101" fmla="*/ 382084 w 597652"/>
              <a:gd name="connsiteY101" fmla="*/ 3298 h 110081"/>
              <a:gd name="connsiteX102" fmla="*/ 398518 w 597652"/>
              <a:gd name="connsiteY102" fmla="*/ 186 h 110081"/>
              <a:gd name="connsiteX103" fmla="*/ 414702 w 597652"/>
              <a:gd name="connsiteY103" fmla="*/ 3298 h 110081"/>
              <a:gd name="connsiteX104" fmla="*/ 426031 w 597652"/>
              <a:gd name="connsiteY104" fmla="*/ 12259 h 110081"/>
              <a:gd name="connsiteX105" fmla="*/ 430389 w 597652"/>
              <a:gd name="connsiteY105" fmla="*/ 27194 h 110081"/>
              <a:gd name="connsiteX106" fmla="*/ 425907 w 597652"/>
              <a:gd name="connsiteY106" fmla="*/ 42439 h 110081"/>
              <a:gd name="connsiteX107" fmla="*/ 414080 w 597652"/>
              <a:gd name="connsiteY107" fmla="*/ 51711 h 110081"/>
              <a:gd name="connsiteX108" fmla="*/ 428397 w 597652"/>
              <a:gd name="connsiteY108" fmla="*/ 61855 h 110081"/>
              <a:gd name="connsiteX109" fmla="*/ 433937 w 597652"/>
              <a:gd name="connsiteY109" fmla="*/ 79341 h 110081"/>
              <a:gd name="connsiteX110" fmla="*/ 429331 w 597652"/>
              <a:gd name="connsiteY110" fmla="*/ 95893 h 110081"/>
              <a:gd name="connsiteX111" fmla="*/ 416632 w 597652"/>
              <a:gd name="connsiteY111" fmla="*/ 106473 h 110081"/>
              <a:gd name="connsiteX112" fmla="*/ 398518 w 597652"/>
              <a:gd name="connsiteY112" fmla="*/ 110082 h 110081"/>
              <a:gd name="connsiteX113" fmla="*/ 398518 w 597652"/>
              <a:gd name="connsiteY113" fmla="*/ 46298 h 110081"/>
              <a:gd name="connsiteX114" fmla="*/ 411528 w 597652"/>
              <a:gd name="connsiteY114" fmla="*/ 41817 h 110081"/>
              <a:gd name="connsiteX115" fmla="*/ 416756 w 597652"/>
              <a:gd name="connsiteY115" fmla="*/ 29122 h 110081"/>
              <a:gd name="connsiteX116" fmla="*/ 411528 w 597652"/>
              <a:gd name="connsiteY116" fmla="*/ 16615 h 110081"/>
              <a:gd name="connsiteX117" fmla="*/ 398518 w 597652"/>
              <a:gd name="connsiteY117" fmla="*/ 11947 h 110081"/>
              <a:gd name="connsiteX118" fmla="*/ 385259 w 597652"/>
              <a:gd name="connsiteY118" fmla="*/ 16615 h 110081"/>
              <a:gd name="connsiteX119" fmla="*/ 380029 w 597652"/>
              <a:gd name="connsiteY119" fmla="*/ 29122 h 110081"/>
              <a:gd name="connsiteX120" fmla="*/ 385259 w 597652"/>
              <a:gd name="connsiteY120" fmla="*/ 41817 h 110081"/>
              <a:gd name="connsiteX121" fmla="*/ 398518 w 597652"/>
              <a:gd name="connsiteY121" fmla="*/ 46298 h 110081"/>
              <a:gd name="connsiteX122" fmla="*/ 398518 w 597652"/>
              <a:gd name="connsiteY122" fmla="*/ 98258 h 110081"/>
              <a:gd name="connsiteX123" fmla="*/ 413956 w 597652"/>
              <a:gd name="connsiteY123" fmla="*/ 92907 h 110081"/>
              <a:gd name="connsiteX124" fmla="*/ 420180 w 597652"/>
              <a:gd name="connsiteY124" fmla="*/ 77536 h 110081"/>
              <a:gd name="connsiteX125" fmla="*/ 413956 w 597652"/>
              <a:gd name="connsiteY125" fmla="*/ 62291 h 110081"/>
              <a:gd name="connsiteX126" fmla="*/ 398518 w 597652"/>
              <a:gd name="connsiteY126" fmla="*/ 56752 h 110081"/>
              <a:gd name="connsiteX127" fmla="*/ 382582 w 597652"/>
              <a:gd name="connsiteY127" fmla="*/ 62291 h 110081"/>
              <a:gd name="connsiteX128" fmla="*/ 376295 w 597652"/>
              <a:gd name="connsiteY128" fmla="*/ 77536 h 110081"/>
              <a:gd name="connsiteX129" fmla="*/ 382582 w 597652"/>
              <a:gd name="connsiteY129" fmla="*/ 92907 h 110081"/>
              <a:gd name="connsiteX130" fmla="*/ 398518 w 597652"/>
              <a:gd name="connsiteY130" fmla="*/ 98258 h 110081"/>
              <a:gd name="connsiteX131" fmla="*/ 480562 w 597652"/>
              <a:gd name="connsiteY131" fmla="*/ 110082 h 110081"/>
              <a:gd name="connsiteX132" fmla="*/ 462323 w 597652"/>
              <a:gd name="connsiteY132" fmla="*/ 104233 h 110081"/>
              <a:gd name="connsiteX133" fmla="*/ 449624 w 597652"/>
              <a:gd name="connsiteY133" fmla="*/ 86311 h 110081"/>
              <a:gd name="connsiteX134" fmla="*/ 445142 w 597652"/>
              <a:gd name="connsiteY134" fmla="*/ 54947 h 110081"/>
              <a:gd name="connsiteX135" fmla="*/ 449624 w 597652"/>
              <a:gd name="connsiteY135" fmla="*/ 23584 h 110081"/>
              <a:gd name="connsiteX136" fmla="*/ 462323 w 597652"/>
              <a:gd name="connsiteY136" fmla="*/ 5849 h 110081"/>
              <a:gd name="connsiteX137" fmla="*/ 480562 w 597652"/>
              <a:gd name="connsiteY137" fmla="*/ 186 h 110081"/>
              <a:gd name="connsiteX138" fmla="*/ 498614 w 597652"/>
              <a:gd name="connsiteY138" fmla="*/ 5849 h 110081"/>
              <a:gd name="connsiteX139" fmla="*/ 511001 w 597652"/>
              <a:gd name="connsiteY139" fmla="*/ 23584 h 110081"/>
              <a:gd name="connsiteX140" fmla="*/ 515483 w 597652"/>
              <a:gd name="connsiteY140" fmla="*/ 54698 h 110081"/>
              <a:gd name="connsiteX141" fmla="*/ 511001 w 597652"/>
              <a:gd name="connsiteY141" fmla="*/ 86062 h 110081"/>
              <a:gd name="connsiteX142" fmla="*/ 498614 w 597652"/>
              <a:gd name="connsiteY142" fmla="*/ 104233 h 110081"/>
              <a:gd name="connsiteX143" fmla="*/ 480562 w 597652"/>
              <a:gd name="connsiteY143" fmla="*/ 110082 h 110081"/>
              <a:gd name="connsiteX144" fmla="*/ 480375 w 597652"/>
              <a:gd name="connsiteY144" fmla="*/ 98258 h 110081"/>
              <a:gd name="connsiteX145" fmla="*/ 491767 w 597652"/>
              <a:gd name="connsiteY145" fmla="*/ 94275 h 110081"/>
              <a:gd name="connsiteX146" fmla="*/ 498925 w 597652"/>
              <a:gd name="connsiteY146" fmla="*/ 80648 h 110081"/>
              <a:gd name="connsiteX147" fmla="*/ 501477 w 597652"/>
              <a:gd name="connsiteY147" fmla="*/ 55134 h 110081"/>
              <a:gd name="connsiteX148" fmla="*/ 499049 w 597652"/>
              <a:gd name="connsiteY148" fmla="*/ 29745 h 110081"/>
              <a:gd name="connsiteX149" fmla="*/ 491891 w 597652"/>
              <a:gd name="connsiteY149" fmla="*/ 16117 h 110081"/>
              <a:gd name="connsiteX150" fmla="*/ 480562 w 597652"/>
              <a:gd name="connsiteY150" fmla="*/ 11947 h 110081"/>
              <a:gd name="connsiteX151" fmla="*/ 469046 w 597652"/>
              <a:gd name="connsiteY151" fmla="*/ 16117 h 110081"/>
              <a:gd name="connsiteX152" fmla="*/ 461700 w 597652"/>
              <a:gd name="connsiteY152" fmla="*/ 29745 h 110081"/>
              <a:gd name="connsiteX153" fmla="*/ 459148 w 597652"/>
              <a:gd name="connsiteY153" fmla="*/ 55134 h 110081"/>
              <a:gd name="connsiteX154" fmla="*/ 461576 w 597652"/>
              <a:gd name="connsiteY154" fmla="*/ 80648 h 110081"/>
              <a:gd name="connsiteX155" fmla="*/ 468859 w 597652"/>
              <a:gd name="connsiteY155" fmla="*/ 94275 h 110081"/>
              <a:gd name="connsiteX156" fmla="*/ 480375 w 597652"/>
              <a:gd name="connsiteY156" fmla="*/ 98258 h 110081"/>
              <a:gd name="connsiteX157" fmla="*/ 562668 w 597652"/>
              <a:gd name="connsiteY157" fmla="*/ 110082 h 110081"/>
              <a:gd name="connsiteX158" fmla="*/ 544429 w 597652"/>
              <a:gd name="connsiteY158" fmla="*/ 104233 h 110081"/>
              <a:gd name="connsiteX159" fmla="*/ 531730 w 597652"/>
              <a:gd name="connsiteY159" fmla="*/ 86311 h 110081"/>
              <a:gd name="connsiteX160" fmla="*/ 527248 w 597652"/>
              <a:gd name="connsiteY160" fmla="*/ 54947 h 110081"/>
              <a:gd name="connsiteX161" fmla="*/ 531730 w 597652"/>
              <a:gd name="connsiteY161" fmla="*/ 23584 h 110081"/>
              <a:gd name="connsiteX162" fmla="*/ 544429 w 597652"/>
              <a:gd name="connsiteY162" fmla="*/ 5849 h 110081"/>
              <a:gd name="connsiteX163" fmla="*/ 562668 w 597652"/>
              <a:gd name="connsiteY163" fmla="*/ 186 h 110081"/>
              <a:gd name="connsiteX164" fmla="*/ 580782 w 597652"/>
              <a:gd name="connsiteY164" fmla="*/ 5849 h 110081"/>
              <a:gd name="connsiteX165" fmla="*/ 593170 w 597652"/>
              <a:gd name="connsiteY165" fmla="*/ 23584 h 110081"/>
              <a:gd name="connsiteX166" fmla="*/ 597652 w 597652"/>
              <a:gd name="connsiteY166" fmla="*/ 54698 h 110081"/>
              <a:gd name="connsiteX167" fmla="*/ 593170 w 597652"/>
              <a:gd name="connsiteY167" fmla="*/ 86062 h 110081"/>
              <a:gd name="connsiteX168" fmla="*/ 580782 w 597652"/>
              <a:gd name="connsiteY168" fmla="*/ 104233 h 110081"/>
              <a:gd name="connsiteX169" fmla="*/ 562668 w 597652"/>
              <a:gd name="connsiteY169" fmla="*/ 110082 h 110081"/>
              <a:gd name="connsiteX170" fmla="*/ 562544 w 597652"/>
              <a:gd name="connsiteY170" fmla="*/ 98258 h 110081"/>
              <a:gd name="connsiteX171" fmla="*/ 573873 w 597652"/>
              <a:gd name="connsiteY171" fmla="*/ 94275 h 110081"/>
              <a:gd name="connsiteX172" fmla="*/ 581031 w 597652"/>
              <a:gd name="connsiteY172" fmla="*/ 80648 h 110081"/>
              <a:gd name="connsiteX173" fmla="*/ 583584 w 597652"/>
              <a:gd name="connsiteY173" fmla="*/ 55134 h 110081"/>
              <a:gd name="connsiteX174" fmla="*/ 581218 w 597652"/>
              <a:gd name="connsiteY174" fmla="*/ 29745 h 110081"/>
              <a:gd name="connsiteX175" fmla="*/ 574060 w 597652"/>
              <a:gd name="connsiteY175" fmla="*/ 16117 h 110081"/>
              <a:gd name="connsiteX176" fmla="*/ 562668 w 597652"/>
              <a:gd name="connsiteY176" fmla="*/ 11947 h 110081"/>
              <a:gd name="connsiteX177" fmla="*/ 551152 w 597652"/>
              <a:gd name="connsiteY177" fmla="*/ 16117 h 110081"/>
              <a:gd name="connsiteX178" fmla="*/ 543869 w 597652"/>
              <a:gd name="connsiteY178" fmla="*/ 29745 h 110081"/>
              <a:gd name="connsiteX179" fmla="*/ 541317 w 597652"/>
              <a:gd name="connsiteY179" fmla="*/ 55134 h 110081"/>
              <a:gd name="connsiteX180" fmla="*/ 543682 w 597652"/>
              <a:gd name="connsiteY180" fmla="*/ 80648 h 110081"/>
              <a:gd name="connsiteX181" fmla="*/ 551028 w 597652"/>
              <a:gd name="connsiteY181" fmla="*/ 94275 h 110081"/>
              <a:gd name="connsiteX182" fmla="*/ 562544 w 597652"/>
              <a:gd name="connsiteY182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652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89672" y="108588"/>
                </a:moveTo>
                <a:lnTo>
                  <a:pt x="174732" y="108588"/>
                </a:lnTo>
                <a:lnTo>
                  <a:pt x="163714" y="77972"/>
                </a:lnTo>
                <a:lnTo>
                  <a:pt x="116343" y="77972"/>
                </a:lnTo>
                <a:lnTo>
                  <a:pt x="105449" y="108588"/>
                </a:lnTo>
                <a:lnTo>
                  <a:pt x="92315" y="108588"/>
                </a:lnTo>
                <a:lnTo>
                  <a:pt x="130411" y="1493"/>
                </a:lnTo>
                <a:lnTo>
                  <a:pt x="151327" y="1493"/>
                </a:lnTo>
                <a:lnTo>
                  <a:pt x="189672" y="108588"/>
                </a:lnTo>
                <a:close/>
                <a:moveTo>
                  <a:pt x="120949" y="65278"/>
                </a:moveTo>
                <a:lnTo>
                  <a:pt x="159233" y="65278"/>
                </a:lnTo>
                <a:lnTo>
                  <a:pt x="140122" y="11947"/>
                </a:lnTo>
                <a:lnTo>
                  <a:pt x="120949" y="65278"/>
                </a:lnTo>
                <a:close/>
                <a:moveTo>
                  <a:pt x="229200" y="110082"/>
                </a:moveTo>
                <a:cubicBezTo>
                  <a:pt x="217249" y="110082"/>
                  <a:pt x="207725" y="107530"/>
                  <a:pt x="200628" y="102490"/>
                </a:cubicBezTo>
                <a:lnTo>
                  <a:pt x="200628" y="87804"/>
                </a:lnTo>
                <a:cubicBezTo>
                  <a:pt x="204861" y="91226"/>
                  <a:pt x="209219" y="93778"/>
                  <a:pt x="213825" y="95458"/>
                </a:cubicBezTo>
                <a:cubicBezTo>
                  <a:pt x="218369" y="97014"/>
                  <a:pt x="223535" y="97823"/>
                  <a:pt x="229200" y="97823"/>
                </a:cubicBezTo>
                <a:cubicBezTo>
                  <a:pt x="236546" y="97823"/>
                  <a:pt x="242210" y="95583"/>
                  <a:pt x="246194" y="91102"/>
                </a:cubicBezTo>
                <a:cubicBezTo>
                  <a:pt x="250303" y="86621"/>
                  <a:pt x="252357" y="80772"/>
                  <a:pt x="252357" y="73491"/>
                </a:cubicBezTo>
                <a:cubicBezTo>
                  <a:pt x="252357" y="65713"/>
                  <a:pt x="250365" y="60050"/>
                  <a:pt x="246381" y="56441"/>
                </a:cubicBezTo>
                <a:cubicBezTo>
                  <a:pt x="242397" y="52894"/>
                  <a:pt x="237355" y="51089"/>
                  <a:pt x="231255" y="51089"/>
                </a:cubicBezTo>
                <a:cubicBezTo>
                  <a:pt x="226897" y="51089"/>
                  <a:pt x="223349" y="51836"/>
                  <a:pt x="220672" y="53329"/>
                </a:cubicBezTo>
                <a:cubicBezTo>
                  <a:pt x="217996" y="54698"/>
                  <a:pt x="215941" y="56192"/>
                  <a:pt x="214572" y="57810"/>
                </a:cubicBezTo>
                <a:lnTo>
                  <a:pt x="203616" y="57810"/>
                </a:lnTo>
                <a:lnTo>
                  <a:pt x="203616" y="1493"/>
                </a:lnTo>
                <a:lnTo>
                  <a:pt x="261633" y="1493"/>
                </a:lnTo>
                <a:lnTo>
                  <a:pt x="261633" y="14374"/>
                </a:lnTo>
                <a:lnTo>
                  <a:pt x="215879" y="14374"/>
                </a:lnTo>
                <a:lnTo>
                  <a:pt x="215879" y="44991"/>
                </a:lnTo>
                <a:cubicBezTo>
                  <a:pt x="217871" y="43498"/>
                  <a:pt x="220299" y="42190"/>
                  <a:pt x="223225" y="41071"/>
                </a:cubicBezTo>
                <a:cubicBezTo>
                  <a:pt x="226088" y="39888"/>
                  <a:pt x="229512" y="39266"/>
                  <a:pt x="233496" y="39266"/>
                </a:cubicBezTo>
                <a:cubicBezTo>
                  <a:pt x="239721" y="39266"/>
                  <a:pt x="245261" y="40572"/>
                  <a:pt x="250240" y="43186"/>
                </a:cubicBezTo>
                <a:cubicBezTo>
                  <a:pt x="255221" y="45675"/>
                  <a:pt x="259142" y="49471"/>
                  <a:pt x="262068" y="54512"/>
                </a:cubicBezTo>
                <a:cubicBezTo>
                  <a:pt x="265056" y="59490"/>
                  <a:pt x="266550" y="65713"/>
                  <a:pt x="266550" y="73181"/>
                </a:cubicBezTo>
                <a:cubicBezTo>
                  <a:pt x="266550" y="80586"/>
                  <a:pt x="264993" y="87058"/>
                  <a:pt x="261881" y="92596"/>
                </a:cubicBezTo>
                <a:cubicBezTo>
                  <a:pt x="258893" y="98196"/>
                  <a:pt x="254660" y="102490"/>
                  <a:pt x="249058" y="105601"/>
                </a:cubicBezTo>
                <a:cubicBezTo>
                  <a:pt x="243456" y="108588"/>
                  <a:pt x="236857" y="110082"/>
                  <a:pt x="229200" y="110082"/>
                </a:cubicBezTo>
                <a:close/>
                <a:moveTo>
                  <a:pt x="350461" y="108588"/>
                </a:moveTo>
                <a:lnTo>
                  <a:pt x="282174" y="108588"/>
                </a:lnTo>
                <a:lnTo>
                  <a:pt x="282174" y="94400"/>
                </a:lnTo>
                <a:cubicBezTo>
                  <a:pt x="292881" y="85812"/>
                  <a:pt x="301596" y="78532"/>
                  <a:pt x="308319" y="72433"/>
                </a:cubicBezTo>
                <a:cubicBezTo>
                  <a:pt x="315229" y="66397"/>
                  <a:pt x="320520" y="61108"/>
                  <a:pt x="324317" y="56628"/>
                </a:cubicBezTo>
                <a:cubicBezTo>
                  <a:pt x="328239" y="52023"/>
                  <a:pt x="330915" y="47791"/>
                  <a:pt x="332410" y="43933"/>
                </a:cubicBezTo>
                <a:cubicBezTo>
                  <a:pt x="333966" y="40012"/>
                  <a:pt x="334775" y="36092"/>
                  <a:pt x="334775" y="32109"/>
                </a:cubicBezTo>
                <a:cubicBezTo>
                  <a:pt x="334775" y="25949"/>
                  <a:pt x="332970" y="21095"/>
                  <a:pt x="329235" y="17610"/>
                </a:cubicBezTo>
                <a:cubicBezTo>
                  <a:pt x="325562" y="14125"/>
                  <a:pt x="320520" y="12383"/>
                  <a:pt x="314046" y="12383"/>
                </a:cubicBezTo>
                <a:cubicBezTo>
                  <a:pt x="303651" y="12383"/>
                  <a:pt x="294002" y="17361"/>
                  <a:pt x="285037" y="27194"/>
                </a:cubicBezTo>
                <a:lnTo>
                  <a:pt x="285037" y="12134"/>
                </a:lnTo>
                <a:cubicBezTo>
                  <a:pt x="293317" y="4044"/>
                  <a:pt x="303090" y="0"/>
                  <a:pt x="314482" y="0"/>
                </a:cubicBezTo>
                <a:cubicBezTo>
                  <a:pt x="325251" y="0"/>
                  <a:pt x="333717" y="2800"/>
                  <a:pt x="339879" y="8401"/>
                </a:cubicBezTo>
                <a:cubicBezTo>
                  <a:pt x="346166" y="13877"/>
                  <a:pt x="349279" y="21344"/>
                  <a:pt x="349279" y="30803"/>
                </a:cubicBezTo>
                <a:cubicBezTo>
                  <a:pt x="349279" y="35657"/>
                  <a:pt x="348470" y="40324"/>
                  <a:pt x="346913" y="44804"/>
                </a:cubicBezTo>
                <a:cubicBezTo>
                  <a:pt x="345419" y="49222"/>
                  <a:pt x="342680" y="53827"/>
                  <a:pt x="338821" y="58681"/>
                </a:cubicBezTo>
                <a:cubicBezTo>
                  <a:pt x="335024" y="63473"/>
                  <a:pt x="329795" y="68887"/>
                  <a:pt x="323134" y="74860"/>
                </a:cubicBezTo>
                <a:cubicBezTo>
                  <a:pt x="316473" y="80835"/>
                  <a:pt x="308008" y="87804"/>
                  <a:pt x="297736" y="95769"/>
                </a:cubicBezTo>
                <a:lnTo>
                  <a:pt x="350461" y="95769"/>
                </a:lnTo>
                <a:lnTo>
                  <a:pt x="350461" y="108588"/>
                </a:lnTo>
                <a:close/>
                <a:moveTo>
                  <a:pt x="398518" y="110082"/>
                </a:moveTo>
                <a:cubicBezTo>
                  <a:pt x="391546" y="110082"/>
                  <a:pt x="385321" y="108900"/>
                  <a:pt x="379843" y="106473"/>
                </a:cubicBezTo>
                <a:cubicBezTo>
                  <a:pt x="374489" y="104108"/>
                  <a:pt x="370257" y="100685"/>
                  <a:pt x="367144" y="96205"/>
                </a:cubicBezTo>
                <a:cubicBezTo>
                  <a:pt x="364094" y="91600"/>
                  <a:pt x="362538" y="86124"/>
                  <a:pt x="362538" y="79777"/>
                </a:cubicBezTo>
                <a:cubicBezTo>
                  <a:pt x="362538" y="72869"/>
                  <a:pt x="364343" y="67082"/>
                  <a:pt x="367891" y="62291"/>
                </a:cubicBezTo>
                <a:cubicBezTo>
                  <a:pt x="371626" y="57437"/>
                  <a:pt x="376544" y="53889"/>
                  <a:pt x="382706" y="51711"/>
                </a:cubicBezTo>
                <a:cubicBezTo>
                  <a:pt x="377726" y="49720"/>
                  <a:pt x="373742" y="46671"/>
                  <a:pt x="370754" y="42564"/>
                </a:cubicBezTo>
                <a:cubicBezTo>
                  <a:pt x="367891" y="38519"/>
                  <a:pt x="366397" y="33479"/>
                  <a:pt x="366397" y="27504"/>
                </a:cubicBezTo>
                <a:cubicBezTo>
                  <a:pt x="366397" y="21593"/>
                  <a:pt x="367829" y="16615"/>
                  <a:pt x="370630" y="12570"/>
                </a:cubicBezTo>
                <a:cubicBezTo>
                  <a:pt x="373369" y="8463"/>
                  <a:pt x="377228" y="5414"/>
                  <a:pt x="382084" y="3298"/>
                </a:cubicBezTo>
                <a:cubicBezTo>
                  <a:pt x="387001" y="1182"/>
                  <a:pt x="392479" y="186"/>
                  <a:pt x="398518" y="186"/>
                </a:cubicBezTo>
                <a:cubicBezTo>
                  <a:pt x="404494" y="186"/>
                  <a:pt x="409909" y="1182"/>
                  <a:pt x="414702" y="3298"/>
                </a:cubicBezTo>
                <a:cubicBezTo>
                  <a:pt x="419433" y="5289"/>
                  <a:pt x="423231" y="8276"/>
                  <a:pt x="426031" y="12259"/>
                </a:cubicBezTo>
                <a:cubicBezTo>
                  <a:pt x="428895" y="16242"/>
                  <a:pt x="430389" y="21219"/>
                  <a:pt x="430389" y="27194"/>
                </a:cubicBezTo>
                <a:cubicBezTo>
                  <a:pt x="430389" y="33292"/>
                  <a:pt x="428895" y="38332"/>
                  <a:pt x="425907" y="42439"/>
                </a:cubicBezTo>
                <a:cubicBezTo>
                  <a:pt x="422919" y="46484"/>
                  <a:pt x="418935" y="49596"/>
                  <a:pt x="414080" y="51711"/>
                </a:cubicBezTo>
                <a:cubicBezTo>
                  <a:pt x="420056" y="53765"/>
                  <a:pt x="424849" y="57188"/>
                  <a:pt x="428397" y="61855"/>
                </a:cubicBezTo>
                <a:cubicBezTo>
                  <a:pt x="432132" y="66522"/>
                  <a:pt x="433937" y="72372"/>
                  <a:pt x="433937" y="79341"/>
                </a:cubicBezTo>
                <a:cubicBezTo>
                  <a:pt x="433937" y="85688"/>
                  <a:pt x="432381" y="91226"/>
                  <a:pt x="429331" y="95893"/>
                </a:cubicBezTo>
                <a:cubicBezTo>
                  <a:pt x="426218" y="100498"/>
                  <a:pt x="421985" y="103983"/>
                  <a:pt x="416632" y="106473"/>
                </a:cubicBezTo>
                <a:cubicBezTo>
                  <a:pt x="411341" y="108900"/>
                  <a:pt x="405303" y="110082"/>
                  <a:pt x="398518" y="110082"/>
                </a:cubicBezTo>
                <a:close/>
                <a:moveTo>
                  <a:pt x="398518" y="46298"/>
                </a:moveTo>
                <a:cubicBezTo>
                  <a:pt x="403809" y="46298"/>
                  <a:pt x="408166" y="44804"/>
                  <a:pt x="411528" y="41817"/>
                </a:cubicBezTo>
                <a:cubicBezTo>
                  <a:pt x="415013" y="38768"/>
                  <a:pt x="416756" y="34536"/>
                  <a:pt x="416756" y="29122"/>
                </a:cubicBezTo>
                <a:cubicBezTo>
                  <a:pt x="416756" y="23771"/>
                  <a:pt x="415013" y="19601"/>
                  <a:pt x="411528" y="16615"/>
                </a:cubicBezTo>
                <a:cubicBezTo>
                  <a:pt x="408166" y="13503"/>
                  <a:pt x="403809" y="11947"/>
                  <a:pt x="398518" y="11947"/>
                </a:cubicBezTo>
                <a:cubicBezTo>
                  <a:pt x="393288" y="11947"/>
                  <a:pt x="388807" y="13503"/>
                  <a:pt x="385259" y="16615"/>
                </a:cubicBezTo>
                <a:cubicBezTo>
                  <a:pt x="381773" y="19601"/>
                  <a:pt x="380029" y="23771"/>
                  <a:pt x="380029" y="29122"/>
                </a:cubicBezTo>
                <a:cubicBezTo>
                  <a:pt x="380029" y="34536"/>
                  <a:pt x="381773" y="38768"/>
                  <a:pt x="385259" y="41817"/>
                </a:cubicBezTo>
                <a:cubicBezTo>
                  <a:pt x="388807" y="44804"/>
                  <a:pt x="393288" y="46298"/>
                  <a:pt x="398518" y="46298"/>
                </a:cubicBezTo>
                <a:close/>
                <a:moveTo>
                  <a:pt x="398518" y="98258"/>
                </a:moveTo>
                <a:cubicBezTo>
                  <a:pt x="404743" y="98258"/>
                  <a:pt x="409847" y="96516"/>
                  <a:pt x="413956" y="92907"/>
                </a:cubicBezTo>
                <a:cubicBezTo>
                  <a:pt x="418126" y="89235"/>
                  <a:pt x="420180" y="84071"/>
                  <a:pt x="420180" y="77536"/>
                </a:cubicBezTo>
                <a:cubicBezTo>
                  <a:pt x="420180" y="70940"/>
                  <a:pt x="418126" y="65900"/>
                  <a:pt x="413956" y="62291"/>
                </a:cubicBezTo>
                <a:cubicBezTo>
                  <a:pt x="409847" y="58619"/>
                  <a:pt x="404743" y="56752"/>
                  <a:pt x="398518" y="56752"/>
                </a:cubicBezTo>
                <a:cubicBezTo>
                  <a:pt x="392168" y="56752"/>
                  <a:pt x="386815" y="58619"/>
                  <a:pt x="382582" y="62291"/>
                </a:cubicBezTo>
                <a:cubicBezTo>
                  <a:pt x="378349" y="65900"/>
                  <a:pt x="376295" y="70940"/>
                  <a:pt x="376295" y="77536"/>
                </a:cubicBezTo>
                <a:cubicBezTo>
                  <a:pt x="376295" y="84071"/>
                  <a:pt x="378349" y="89235"/>
                  <a:pt x="382582" y="92907"/>
                </a:cubicBezTo>
                <a:cubicBezTo>
                  <a:pt x="386815" y="96516"/>
                  <a:pt x="392168" y="98258"/>
                  <a:pt x="398518" y="98258"/>
                </a:cubicBezTo>
                <a:close/>
                <a:moveTo>
                  <a:pt x="480562" y="110082"/>
                </a:moveTo>
                <a:cubicBezTo>
                  <a:pt x="473777" y="110082"/>
                  <a:pt x="467676" y="108153"/>
                  <a:pt x="462323" y="104233"/>
                </a:cubicBezTo>
                <a:cubicBezTo>
                  <a:pt x="456907" y="100374"/>
                  <a:pt x="452674" y="94400"/>
                  <a:pt x="449624" y="86311"/>
                </a:cubicBezTo>
                <a:cubicBezTo>
                  <a:pt x="446636" y="78159"/>
                  <a:pt x="445142" y="67705"/>
                  <a:pt x="445142" y="54947"/>
                </a:cubicBezTo>
                <a:cubicBezTo>
                  <a:pt x="445142" y="42128"/>
                  <a:pt x="446636" y="31674"/>
                  <a:pt x="449624" y="23584"/>
                </a:cubicBezTo>
                <a:cubicBezTo>
                  <a:pt x="452674" y="15557"/>
                  <a:pt x="456907" y="9645"/>
                  <a:pt x="462323" y="5849"/>
                </a:cubicBezTo>
                <a:cubicBezTo>
                  <a:pt x="467676" y="2053"/>
                  <a:pt x="473777" y="186"/>
                  <a:pt x="480562" y="186"/>
                </a:cubicBezTo>
                <a:cubicBezTo>
                  <a:pt x="487285" y="186"/>
                  <a:pt x="493323" y="2053"/>
                  <a:pt x="498614" y="5849"/>
                </a:cubicBezTo>
                <a:cubicBezTo>
                  <a:pt x="503905" y="9645"/>
                  <a:pt x="508014" y="15557"/>
                  <a:pt x="511001" y="23584"/>
                </a:cubicBezTo>
                <a:cubicBezTo>
                  <a:pt x="513989" y="31549"/>
                  <a:pt x="515483" y="41942"/>
                  <a:pt x="515483" y="54698"/>
                </a:cubicBezTo>
                <a:cubicBezTo>
                  <a:pt x="515483" y="67331"/>
                  <a:pt x="513989" y="77786"/>
                  <a:pt x="511001" y="86062"/>
                </a:cubicBezTo>
                <a:cubicBezTo>
                  <a:pt x="508014" y="94213"/>
                  <a:pt x="503905" y="100250"/>
                  <a:pt x="498614" y="104233"/>
                </a:cubicBezTo>
                <a:cubicBezTo>
                  <a:pt x="493323" y="108153"/>
                  <a:pt x="487285" y="110082"/>
                  <a:pt x="480562" y="110082"/>
                </a:cubicBezTo>
                <a:close/>
                <a:moveTo>
                  <a:pt x="480375" y="98258"/>
                </a:moveTo>
                <a:cubicBezTo>
                  <a:pt x="484857" y="98258"/>
                  <a:pt x="488654" y="96952"/>
                  <a:pt x="491767" y="94275"/>
                </a:cubicBezTo>
                <a:cubicBezTo>
                  <a:pt x="494941" y="91475"/>
                  <a:pt x="497307" y="86933"/>
                  <a:pt x="498925" y="80648"/>
                </a:cubicBezTo>
                <a:cubicBezTo>
                  <a:pt x="500606" y="74300"/>
                  <a:pt x="501477" y="65775"/>
                  <a:pt x="501477" y="55134"/>
                </a:cubicBezTo>
                <a:cubicBezTo>
                  <a:pt x="501477" y="44493"/>
                  <a:pt x="500668" y="36030"/>
                  <a:pt x="499049" y="29745"/>
                </a:cubicBezTo>
                <a:cubicBezTo>
                  <a:pt x="497493" y="23336"/>
                  <a:pt x="495066" y="18855"/>
                  <a:pt x="491891" y="16117"/>
                </a:cubicBezTo>
                <a:cubicBezTo>
                  <a:pt x="488779" y="13379"/>
                  <a:pt x="485043" y="11947"/>
                  <a:pt x="480562" y="11947"/>
                </a:cubicBezTo>
                <a:cubicBezTo>
                  <a:pt x="476080" y="11947"/>
                  <a:pt x="472220" y="13379"/>
                  <a:pt x="469046" y="16117"/>
                </a:cubicBezTo>
                <a:cubicBezTo>
                  <a:pt x="465871" y="18855"/>
                  <a:pt x="463381" y="23336"/>
                  <a:pt x="461700" y="29745"/>
                </a:cubicBezTo>
                <a:cubicBezTo>
                  <a:pt x="460020" y="36030"/>
                  <a:pt x="459148" y="44493"/>
                  <a:pt x="459148" y="55134"/>
                </a:cubicBezTo>
                <a:cubicBezTo>
                  <a:pt x="459148" y="65775"/>
                  <a:pt x="459958" y="74300"/>
                  <a:pt x="461576" y="80648"/>
                </a:cubicBezTo>
                <a:cubicBezTo>
                  <a:pt x="463256" y="86933"/>
                  <a:pt x="465684" y="91475"/>
                  <a:pt x="468859" y="94275"/>
                </a:cubicBezTo>
                <a:cubicBezTo>
                  <a:pt x="472096" y="96952"/>
                  <a:pt x="475893" y="98258"/>
                  <a:pt x="480375" y="98258"/>
                </a:cubicBezTo>
                <a:close/>
                <a:moveTo>
                  <a:pt x="562668" y="110082"/>
                </a:moveTo>
                <a:cubicBezTo>
                  <a:pt x="555883" y="110082"/>
                  <a:pt x="549845" y="108153"/>
                  <a:pt x="544429" y="104233"/>
                </a:cubicBezTo>
                <a:cubicBezTo>
                  <a:pt x="539076" y="100374"/>
                  <a:pt x="534843" y="94400"/>
                  <a:pt x="531730" y="86311"/>
                </a:cubicBezTo>
                <a:cubicBezTo>
                  <a:pt x="528742" y="78159"/>
                  <a:pt x="527248" y="67705"/>
                  <a:pt x="527248" y="54947"/>
                </a:cubicBezTo>
                <a:cubicBezTo>
                  <a:pt x="527248" y="42128"/>
                  <a:pt x="528742" y="31674"/>
                  <a:pt x="531730" y="23584"/>
                </a:cubicBezTo>
                <a:cubicBezTo>
                  <a:pt x="534843" y="15557"/>
                  <a:pt x="539076" y="9645"/>
                  <a:pt x="544429" y="5849"/>
                </a:cubicBezTo>
                <a:cubicBezTo>
                  <a:pt x="549845" y="2053"/>
                  <a:pt x="555883" y="186"/>
                  <a:pt x="562668" y="186"/>
                </a:cubicBezTo>
                <a:cubicBezTo>
                  <a:pt x="569453" y="186"/>
                  <a:pt x="575491" y="2053"/>
                  <a:pt x="580782" y="5849"/>
                </a:cubicBezTo>
                <a:cubicBezTo>
                  <a:pt x="586012" y="9645"/>
                  <a:pt x="590182" y="15557"/>
                  <a:pt x="593170" y="23584"/>
                </a:cubicBezTo>
                <a:cubicBezTo>
                  <a:pt x="596158" y="31549"/>
                  <a:pt x="597652" y="41942"/>
                  <a:pt x="597652" y="54698"/>
                </a:cubicBezTo>
                <a:cubicBezTo>
                  <a:pt x="597652" y="67331"/>
                  <a:pt x="596158" y="77786"/>
                  <a:pt x="593170" y="86062"/>
                </a:cubicBezTo>
                <a:cubicBezTo>
                  <a:pt x="590182" y="94213"/>
                  <a:pt x="586012" y="100250"/>
                  <a:pt x="580782" y="104233"/>
                </a:cubicBezTo>
                <a:cubicBezTo>
                  <a:pt x="575491" y="108153"/>
                  <a:pt x="569453" y="110082"/>
                  <a:pt x="562668" y="110082"/>
                </a:cubicBezTo>
                <a:close/>
                <a:moveTo>
                  <a:pt x="562544" y="98258"/>
                </a:moveTo>
                <a:cubicBezTo>
                  <a:pt x="567025" y="98258"/>
                  <a:pt x="570823" y="96952"/>
                  <a:pt x="573873" y="94275"/>
                </a:cubicBezTo>
                <a:cubicBezTo>
                  <a:pt x="577047" y="91475"/>
                  <a:pt x="579475" y="86933"/>
                  <a:pt x="581031" y="80648"/>
                </a:cubicBezTo>
                <a:cubicBezTo>
                  <a:pt x="582775" y="74300"/>
                  <a:pt x="583584" y="65775"/>
                  <a:pt x="583584" y="55134"/>
                </a:cubicBezTo>
                <a:cubicBezTo>
                  <a:pt x="583584" y="44493"/>
                  <a:pt x="582775" y="36030"/>
                  <a:pt x="581218" y="29745"/>
                </a:cubicBezTo>
                <a:cubicBezTo>
                  <a:pt x="579600" y="23336"/>
                  <a:pt x="577234" y="18855"/>
                  <a:pt x="574060" y="16117"/>
                </a:cubicBezTo>
                <a:cubicBezTo>
                  <a:pt x="570947" y="13379"/>
                  <a:pt x="567150" y="11947"/>
                  <a:pt x="562668" y="11947"/>
                </a:cubicBezTo>
                <a:cubicBezTo>
                  <a:pt x="558186" y="11947"/>
                  <a:pt x="554389" y="13379"/>
                  <a:pt x="551152" y="16117"/>
                </a:cubicBezTo>
                <a:cubicBezTo>
                  <a:pt x="547978" y="18855"/>
                  <a:pt x="545550" y="23336"/>
                  <a:pt x="543869" y="29745"/>
                </a:cubicBezTo>
                <a:cubicBezTo>
                  <a:pt x="542188" y="36030"/>
                  <a:pt x="541317" y="44493"/>
                  <a:pt x="541317" y="55134"/>
                </a:cubicBezTo>
                <a:cubicBezTo>
                  <a:pt x="541317" y="65775"/>
                  <a:pt x="542126" y="74300"/>
                  <a:pt x="543682" y="80648"/>
                </a:cubicBezTo>
                <a:cubicBezTo>
                  <a:pt x="545425" y="86933"/>
                  <a:pt x="547853" y="91475"/>
                  <a:pt x="551028" y="94275"/>
                </a:cubicBezTo>
                <a:cubicBezTo>
                  <a:pt x="554203" y="96952"/>
                  <a:pt x="558062" y="98258"/>
                  <a:pt x="56254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7" name="Полилиния 1046">
            <a:extLst>
              <a:ext uri="{FF2B5EF4-FFF2-40B4-BE49-F238E27FC236}">
                <a16:creationId xmlns:a16="http://schemas.microsoft.com/office/drawing/2014/main" id="{E1F085D1-0CDA-FF49-D5EF-ED49AD8B5640}"/>
              </a:ext>
            </a:extLst>
          </p:cNvPr>
          <p:cNvSpPr/>
          <p:nvPr userDrawn="1"/>
        </p:nvSpPr>
        <p:spPr>
          <a:xfrm>
            <a:off x="19989822" y="5966300"/>
            <a:ext cx="1398954" cy="726227"/>
          </a:xfrm>
          <a:custGeom>
            <a:avLst/>
            <a:gdLst>
              <a:gd name="connsiteX0" fmla="*/ 1063 w 1198727"/>
              <a:gd name="connsiteY0" fmla="*/ 1322 h 622284"/>
              <a:gd name="connsiteX1" fmla="*/ 1199791 w 1198727"/>
              <a:gd name="connsiteY1" fmla="*/ 1322 h 622284"/>
              <a:gd name="connsiteX2" fmla="*/ 1199791 w 1198727"/>
              <a:gd name="connsiteY2" fmla="*/ 623606 h 622284"/>
              <a:gd name="connsiteX3" fmla="*/ 1063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322"/>
                </a:moveTo>
                <a:lnTo>
                  <a:pt x="1199791" y="1322"/>
                </a:lnTo>
                <a:lnTo>
                  <a:pt x="1199791" y="623606"/>
                </a:lnTo>
                <a:lnTo>
                  <a:pt x="1063" y="623606"/>
                </a:lnTo>
                <a:close/>
              </a:path>
            </a:pathLst>
          </a:custGeom>
          <a:solidFill>
            <a:srgbClr val="D741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8" name="Полилиния 1047">
            <a:extLst>
              <a:ext uri="{FF2B5EF4-FFF2-40B4-BE49-F238E27FC236}">
                <a16:creationId xmlns:a16="http://schemas.microsoft.com/office/drawing/2014/main" id="{E214E9BC-4796-8A5B-8DD0-A28E26BCFC5E}"/>
              </a:ext>
            </a:extLst>
          </p:cNvPr>
          <p:cNvSpPr/>
          <p:nvPr userDrawn="1"/>
        </p:nvSpPr>
        <p:spPr>
          <a:xfrm>
            <a:off x="20113031" y="6268264"/>
            <a:ext cx="706850" cy="128252"/>
          </a:xfrm>
          <a:custGeom>
            <a:avLst/>
            <a:gdLst>
              <a:gd name="connsiteX0" fmla="*/ 22098 w 605681"/>
              <a:gd name="connsiteY0" fmla="*/ 108402 h 109895"/>
              <a:gd name="connsiteX1" fmla="*/ 10147 w 605681"/>
              <a:gd name="connsiteY1" fmla="*/ 108402 h 109895"/>
              <a:gd name="connsiteX2" fmla="*/ 16434 w 605681"/>
              <a:gd name="connsiteY2" fmla="*/ 77475 h 109895"/>
              <a:gd name="connsiteX3" fmla="*/ 0 w 605681"/>
              <a:gd name="connsiteY3" fmla="*/ 77475 h 109895"/>
              <a:gd name="connsiteX4" fmla="*/ 0 w 605681"/>
              <a:gd name="connsiteY4" fmla="*/ 67020 h 109895"/>
              <a:gd name="connsiteX5" fmla="*/ 18675 w 605681"/>
              <a:gd name="connsiteY5" fmla="*/ 67020 h 109895"/>
              <a:gd name="connsiteX6" fmla="*/ 24215 w 605681"/>
              <a:gd name="connsiteY6" fmla="*/ 39826 h 109895"/>
              <a:gd name="connsiteX7" fmla="*/ 4046 w 605681"/>
              <a:gd name="connsiteY7" fmla="*/ 39826 h 109895"/>
              <a:gd name="connsiteX8" fmla="*/ 4046 w 605681"/>
              <a:gd name="connsiteY8" fmla="*/ 29372 h 109895"/>
              <a:gd name="connsiteX9" fmla="*/ 26269 w 605681"/>
              <a:gd name="connsiteY9" fmla="*/ 29372 h 109895"/>
              <a:gd name="connsiteX10" fmla="*/ 32120 w 605681"/>
              <a:gd name="connsiteY10" fmla="*/ 1307 h 109895"/>
              <a:gd name="connsiteX11" fmla="*/ 44072 w 605681"/>
              <a:gd name="connsiteY11" fmla="*/ 1307 h 109895"/>
              <a:gd name="connsiteX12" fmla="*/ 38221 w 605681"/>
              <a:gd name="connsiteY12" fmla="*/ 29372 h 109895"/>
              <a:gd name="connsiteX13" fmla="*/ 60630 w 605681"/>
              <a:gd name="connsiteY13" fmla="*/ 29372 h 109895"/>
              <a:gd name="connsiteX14" fmla="*/ 66481 w 605681"/>
              <a:gd name="connsiteY14" fmla="*/ 1307 h 109895"/>
              <a:gd name="connsiteX15" fmla="*/ 78434 w 605681"/>
              <a:gd name="connsiteY15" fmla="*/ 1307 h 109895"/>
              <a:gd name="connsiteX16" fmla="*/ 72582 w 605681"/>
              <a:gd name="connsiteY16" fmla="*/ 29372 h 109895"/>
              <a:gd name="connsiteX17" fmla="*/ 89327 w 605681"/>
              <a:gd name="connsiteY17" fmla="*/ 29372 h 109895"/>
              <a:gd name="connsiteX18" fmla="*/ 89327 w 605681"/>
              <a:gd name="connsiteY18" fmla="*/ 39826 h 109895"/>
              <a:gd name="connsiteX19" fmla="*/ 70528 w 605681"/>
              <a:gd name="connsiteY19" fmla="*/ 39826 h 109895"/>
              <a:gd name="connsiteX20" fmla="*/ 64988 w 605681"/>
              <a:gd name="connsiteY20" fmla="*/ 67020 h 109895"/>
              <a:gd name="connsiteX21" fmla="*/ 85281 w 605681"/>
              <a:gd name="connsiteY21" fmla="*/ 67020 h 109895"/>
              <a:gd name="connsiteX22" fmla="*/ 85281 w 605681"/>
              <a:gd name="connsiteY22" fmla="*/ 77475 h 109895"/>
              <a:gd name="connsiteX23" fmla="*/ 62747 w 605681"/>
              <a:gd name="connsiteY23" fmla="*/ 77475 h 109895"/>
              <a:gd name="connsiteX24" fmla="*/ 56459 w 605681"/>
              <a:gd name="connsiteY24" fmla="*/ 108402 h 109895"/>
              <a:gd name="connsiteX25" fmla="*/ 44508 w 605681"/>
              <a:gd name="connsiteY25" fmla="*/ 108402 h 109895"/>
              <a:gd name="connsiteX26" fmla="*/ 50795 w 605681"/>
              <a:gd name="connsiteY26" fmla="*/ 77475 h 109895"/>
              <a:gd name="connsiteX27" fmla="*/ 28385 w 605681"/>
              <a:gd name="connsiteY27" fmla="*/ 77475 h 109895"/>
              <a:gd name="connsiteX28" fmla="*/ 22098 w 605681"/>
              <a:gd name="connsiteY28" fmla="*/ 108402 h 109895"/>
              <a:gd name="connsiteX29" fmla="*/ 30626 w 605681"/>
              <a:gd name="connsiteY29" fmla="*/ 67020 h 109895"/>
              <a:gd name="connsiteX30" fmla="*/ 53036 w 605681"/>
              <a:gd name="connsiteY30" fmla="*/ 67020 h 109895"/>
              <a:gd name="connsiteX31" fmla="*/ 58576 w 605681"/>
              <a:gd name="connsiteY31" fmla="*/ 39826 h 109895"/>
              <a:gd name="connsiteX32" fmla="*/ 36166 w 605681"/>
              <a:gd name="connsiteY32" fmla="*/ 39826 h 109895"/>
              <a:gd name="connsiteX33" fmla="*/ 30626 w 605681"/>
              <a:gd name="connsiteY33" fmla="*/ 67020 h 109895"/>
              <a:gd name="connsiteX34" fmla="*/ 107815 w 605681"/>
              <a:gd name="connsiteY34" fmla="*/ 1307 h 109895"/>
              <a:gd name="connsiteX35" fmla="*/ 143857 w 605681"/>
              <a:gd name="connsiteY35" fmla="*/ 1307 h 109895"/>
              <a:gd name="connsiteX36" fmla="*/ 163839 w 605681"/>
              <a:gd name="connsiteY36" fmla="*/ 3858 h 109895"/>
              <a:gd name="connsiteX37" fmla="*/ 179961 w 605681"/>
              <a:gd name="connsiteY37" fmla="*/ 12197 h 109895"/>
              <a:gd name="connsiteX38" fmla="*/ 190731 w 605681"/>
              <a:gd name="connsiteY38" fmla="*/ 27443 h 109895"/>
              <a:gd name="connsiteX39" fmla="*/ 194653 w 605681"/>
              <a:gd name="connsiteY39" fmla="*/ 51215 h 109895"/>
              <a:gd name="connsiteX40" fmla="*/ 187742 w 605681"/>
              <a:gd name="connsiteY40" fmla="*/ 82889 h 109895"/>
              <a:gd name="connsiteX41" fmla="*/ 169255 w 605681"/>
              <a:gd name="connsiteY41" fmla="*/ 101992 h 109895"/>
              <a:gd name="connsiteX42" fmla="*/ 142176 w 605681"/>
              <a:gd name="connsiteY42" fmla="*/ 108402 h 109895"/>
              <a:gd name="connsiteX43" fmla="*/ 107815 w 605681"/>
              <a:gd name="connsiteY43" fmla="*/ 108402 h 109895"/>
              <a:gd name="connsiteX44" fmla="*/ 107815 w 605681"/>
              <a:gd name="connsiteY44" fmla="*/ 1307 h 109895"/>
              <a:gd name="connsiteX45" fmla="*/ 142176 w 605681"/>
              <a:gd name="connsiteY45" fmla="*/ 95707 h 109895"/>
              <a:gd name="connsiteX46" fmla="*/ 161598 w 605681"/>
              <a:gd name="connsiteY46" fmla="*/ 91227 h 109895"/>
              <a:gd name="connsiteX47" fmla="*/ 174608 w 605681"/>
              <a:gd name="connsiteY47" fmla="*/ 77039 h 109895"/>
              <a:gd name="connsiteX48" fmla="*/ 179401 w 605681"/>
              <a:gd name="connsiteY48" fmla="*/ 52272 h 109895"/>
              <a:gd name="connsiteX49" fmla="*/ 174732 w 605681"/>
              <a:gd name="connsiteY49" fmla="*/ 28936 h 109895"/>
              <a:gd name="connsiteX50" fmla="*/ 162034 w 605681"/>
              <a:gd name="connsiteY50" fmla="*/ 17424 h 109895"/>
              <a:gd name="connsiteX51" fmla="*/ 143857 w 605681"/>
              <a:gd name="connsiteY51" fmla="*/ 14188 h 109895"/>
              <a:gd name="connsiteX52" fmla="*/ 121883 w 605681"/>
              <a:gd name="connsiteY52" fmla="*/ 14188 h 109895"/>
              <a:gd name="connsiteX53" fmla="*/ 121883 w 605681"/>
              <a:gd name="connsiteY53" fmla="*/ 95707 h 109895"/>
              <a:gd name="connsiteX54" fmla="*/ 142176 w 605681"/>
              <a:gd name="connsiteY54" fmla="*/ 95707 h 109895"/>
              <a:gd name="connsiteX55" fmla="*/ 276385 w 605681"/>
              <a:gd name="connsiteY55" fmla="*/ 13442 h 109895"/>
              <a:gd name="connsiteX56" fmla="*/ 230943 w 605681"/>
              <a:gd name="connsiteY56" fmla="*/ 108402 h 109895"/>
              <a:gd name="connsiteX57" fmla="*/ 216315 w 605681"/>
              <a:gd name="connsiteY57" fmla="*/ 108402 h 109895"/>
              <a:gd name="connsiteX58" fmla="*/ 262006 w 605681"/>
              <a:gd name="connsiteY58" fmla="*/ 14188 h 109895"/>
              <a:gd name="connsiteX59" fmla="*/ 207475 w 605681"/>
              <a:gd name="connsiteY59" fmla="*/ 14188 h 109895"/>
              <a:gd name="connsiteX60" fmla="*/ 207475 w 605681"/>
              <a:gd name="connsiteY60" fmla="*/ 1307 h 109895"/>
              <a:gd name="connsiteX61" fmla="*/ 276385 w 605681"/>
              <a:gd name="connsiteY61" fmla="*/ 1307 h 109895"/>
              <a:gd name="connsiteX62" fmla="*/ 276385 w 605681"/>
              <a:gd name="connsiteY62" fmla="*/ 13442 h 109895"/>
              <a:gd name="connsiteX63" fmla="*/ 346416 w 605681"/>
              <a:gd name="connsiteY63" fmla="*/ 108402 h 109895"/>
              <a:gd name="connsiteX64" fmla="*/ 333219 w 605681"/>
              <a:gd name="connsiteY64" fmla="*/ 108402 h 109895"/>
              <a:gd name="connsiteX65" fmla="*/ 333219 w 605681"/>
              <a:gd name="connsiteY65" fmla="*/ 83013 h 109895"/>
              <a:gd name="connsiteX66" fmla="*/ 286905 w 605681"/>
              <a:gd name="connsiteY66" fmla="*/ 83013 h 109895"/>
              <a:gd name="connsiteX67" fmla="*/ 286905 w 605681"/>
              <a:gd name="connsiteY67" fmla="*/ 73741 h 109895"/>
              <a:gd name="connsiteX68" fmla="*/ 328736 w 605681"/>
              <a:gd name="connsiteY68" fmla="*/ 1307 h 109895"/>
              <a:gd name="connsiteX69" fmla="*/ 346416 w 605681"/>
              <a:gd name="connsiteY69" fmla="*/ 1307 h 109895"/>
              <a:gd name="connsiteX70" fmla="*/ 346416 w 605681"/>
              <a:gd name="connsiteY70" fmla="*/ 71687 h 109895"/>
              <a:gd name="connsiteX71" fmla="*/ 360857 w 605681"/>
              <a:gd name="connsiteY71" fmla="*/ 71687 h 109895"/>
              <a:gd name="connsiteX72" fmla="*/ 360857 w 605681"/>
              <a:gd name="connsiteY72" fmla="*/ 83013 h 109895"/>
              <a:gd name="connsiteX73" fmla="*/ 346416 w 605681"/>
              <a:gd name="connsiteY73" fmla="*/ 83013 h 109895"/>
              <a:gd name="connsiteX74" fmla="*/ 346416 w 605681"/>
              <a:gd name="connsiteY74" fmla="*/ 108402 h 109895"/>
              <a:gd name="connsiteX75" fmla="*/ 300538 w 605681"/>
              <a:gd name="connsiteY75" fmla="*/ 71687 h 109895"/>
              <a:gd name="connsiteX76" fmla="*/ 333219 w 605681"/>
              <a:gd name="connsiteY76" fmla="*/ 71687 h 109895"/>
              <a:gd name="connsiteX77" fmla="*/ 333219 w 605681"/>
              <a:gd name="connsiteY77" fmla="*/ 15931 h 109895"/>
              <a:gd name="connsiteX78" fmla="*/ 300538 w 605681"/>
              <a:gd name="connsiteY78" fmla="*/ 71687 h 109895"/>
              <a:gd name="connsiteX79" fmla="*/ 420616 w 605681"/>
              <a:gd name="connsiteY79" fmla="*/ 108402 h 109895"/>
              <a:gd name="connsiteX80" fmla="*/ 407046 w 605681"/>
              <a:gd name="connsiteY80" fmla="*/ 108402 h 109895"/>
              <a:gd name="connsiteX81" fmla="*/ 407046 w 605681"/>
              <a:gd name="connsiteY81" fmla="*/ 18171 h 109895"/>
              <a:gd name="connsiteX82" fmla="*/ 377415 w 605681"/>
              <a:gd name="connsiteY82" fmla="*/ 40885 h 109895"/>
              <a:gd name="connsiteX83" fmla="*/ 377415 w 605681"/>
              <a:gd name="connsiteY83" fmla="*/ 25825 h 109895"/>
              <a:gd name="connsiteX84" fmla="*/ 409287 w 605681"/>
              <a:gd name="connsiteY84" fmla="*/ 1307 h 109895"/>
              <a:gd name="connsiteX85" fmla="*/ 420616 w 605681"/>
              <a:gd name="connsiteY85" fmla="*/ 1307 h 109895"/>
              <a:gd name="connsiteX86" fmla="*/ 420616 w 605681"/>
              <a:gd name="connsiteY86" fmla="*/ 108402 h 109895"/>
              <a:gd name="connsiteX87" fmla="*/ 488592 w 605681"/>
              <a:gd name="connsiteY87" fmla="*/ 109896 h 109895"/>
              <a:gd name="connsiteX88" fmla="*/ 470353 w 605681"/>
              <a:gd name="connsiteY88" fmla="*/ 104047 h 109895"/>
              <a:gd name="connsiteX89" fmla="*/ 457654 w 605681"/>
              <a:gd name="connsiteY89" fmla="*/ 86125 h 109895"/>
              <a:gd name="connsiteX90" fmla="*/ 453172 w 605681"/>
              <a:gd name="connsiteY90" fmla="*/ 54761 h 109895"/>
              <a:gd name="connsiteX91" fmla="*/ 457654 w 605681"/>
              <a:gd name="connsiteY91" fmla="*/ 23398 h 109895"/>
              <a:gd name="connsiteX92" fmla="*/ 470353 w 605681"/>
              <a:gd name="connsiteY92" fmla="*/ 5663 h 109895"/>
              <a:gd name="connsiteX93" fmla="*/ 488592 w 605681"/>
              <a:gd name="connsiteY93" fmla="*/ 0 h 109895"/>
              <a:gd name="connsiteX94" fmla="*/ 506644 w 605681"/>
              <a:gd name="connsiteY94" fmla="*/ 5663 h 109895"/>
              <a:gd name="connsiteX95" fmla="*/ 519032 w 605681"/>
              <a:gd name="connsiteY95" fmla="*/ 23398 h 109895"/>
              <a:gd name="connsiteX96" fmla="*/ 523514 w 605681"/>
              <a:gd name="connsiteY96" fmla="*/ 54512 h 109895"/>
              <a:gd name="connsiteX97" fmla="*/ 519032 w 605681"/>
              <a:gd name="connsiteY97" fmla="*/ 85876 h 109895"/>
              <a:gd name="connsiteX98" fmla="*/ 506644 w 605681"/>
              <a:gd name="connsiteY98" fmla="*/ 104047 h 109895"/>
              <a:gd name="connsiteX99" fmla="*/ 488592 w 605681"/>
              <a:gd name="connsiteY99" fmla="*/ 109896 h 109895"/>
              <a:gd name="connsiteX100" fmla="*/ 488405 w 605681"/>
              <a:gd name="connsiteY100" fmla="*/ 98072 h 109895"/>
              <a:gd name="connsiteX101" fmla="*/ 499796 w 605681"/>
              <a:gd name="connsiteY101" fmla="*/ 94089 h 109895"/>
              <a:gd name="connsiteX102" fmla="*/ 506955 w 605681"/>
              <a:gd name="connsiteY102" fmla="*/ 80462 h 109895"/>
              <a:gd name="connsiteX103" fmla="*/ 509508 w 605681"/>
              <a:gd name="connsiteY103" fmla="*/ 54948 h 109895"/>
              <a:gd name="connsiteX104" fmla="*/ 507080 w 605681"/>
              <a:gd name="connsiteY104" fmla="*/ 29559 h 109895"/>
              <a:gd name="connsiteX105" fmla="*/ 499921 w 605681"/>
              <a:gd name="connsiteY105" fmla="*/ 15931 h 109895"/>
              <a:gd name="connsiteX106" fmla="*/ 488592 w 605681"/>
              <a:gd name="connsiteY106" fmla="*/ 11761 h 109895"/>
              <a:gd name="connsiteX107" fmla="*/ 477076 w 605681"/>
              <a:gd name="connsiteY107" fmla="*/ 15931 h 109895"/>
              <a:gd name="connsiteX108" fmla="*/ 469730 w 605681"/>
              <a:gd name="connsiteY108" fmla="*/ 29559 h 109895"/>
              <a:gd name="connsiteX109" fmla="*/ 467178 w 605681"/>
              <a:gd name="connsiteY109" fmla="*/ 54948 h 109895"/>
              <a:gd name="connsiteX110" fmla="*/ 469606 w 605681"/>
              <a:gd name="connsiteY110" fmla="*/ 80462 h 109895"/>
              <a:gd name="connsiteX111" fmla="*/ 476889 w 605681"/>
              <a:gd name="connsiteY111" fmla="*/ 94089 h 109895"/>
              <a:gd name="connsiteX112" fmla="*/ 488405 w 605681"/>
              <a:gd name="connsiteY112" fmla="*/ 98072 h 109895"/>
              <a:gd name="connsiteX113" fmla="*/ 570698 w 605681"/>
              <a:gd name="connsiteY113" fmla="*/ 109896 h 109895"/>
              <a:gd name="connsiteX114" fmla="*/ 552459 w 605681"/>
              <a:gd name="connsiteY114" fmla="*/ 104047 h 109895"/>
              <a:gd name="connsiteX115" fmla="*/ 539760 w 605681"/>
              <a:gd name="connsiteY115" fmla="*/ 86125 h 109895"/>
              <a:gd name="connsiteX116" fmla="*/ 535279 w 605681"/>
              <a:gd name="connsiteY116" fmla="*/ 54761 h 109895"/>
              <a:gd name="connsiteX117" fmla="*/ 539760 w 605681"/>
              <a:gd name="connsiteY117" fmla="*/ 23398 h 109895"/>
              <a:gd name="connsiteX118" fmla="*/ 552459 w 605681"/>
              <a:gd name="connsiteY118" fmla="*/ 5663 h 109895"/>
              <a:gd name="connsiteX119" fmla="*/ 570698 w 605681"/>
              <a:gd name="connsiteY119" fmla="*/ 0 h 109895"/>
              <a:gd name="connsiteX120" fmla="*/ 588750 w 605681"/>
              <a:gd name="connsiteY120" fmla="*/ 5663 h 109895"/>
              <a:gd name="connsiteX121" fmla="*/ 601200 w 605681"/>
              <a:gd name="connsiteY121" fmla="*/ 23398 h 109895"/>
              <a:gd name="connsiteX122" fmla="*/ 605682 w 605681"/>
              <a:gd name="connsiteY122" fmla="*/ 54512 h 109895"/>
              <a:gd name="connsiteX123" fmla="*/ 601200 w 605681"/>
              <a:gd name="connsiteY123" fmla="*/ 85876 h 109895"/>
              <a:gd name="connsiteX124" fmla="*/ 588750 w 605681"/>
              <a:gd name="connsiteY124" fmla="*/ 104047 h 109895"/>
              <a:gd name="connsiteX125" fmla="*/ 570698 w 605681"/>
              <a:gd name="connsiteY125" fmla="*/ 109896 h 109895"/>
              <a:gd name="connsiteX126" fmla="*/ 570573 w 605681"/>
              <a:gd name="connsiteY126" fmla="*/ 98072 h 109895"/>
              <a:gd name="connsiteX127" fmla="*/ 581903 w 605681"/>
              <a:gd name="connsiteY127" fmla="*/ 94089 h 109895"/>
              <a:gd name="connsiteX128" fmla="*/ 589062 w 605681"/>
              <a:gd name="connsiteY128" fmla="*/ 80462 h 109895"/>
              <a:gd name="connsiteX129" fmla="*/ 591614 w 605681"/>
              <a:gd name="connsiteY129" fmla="*/ 54948 h 109895"/>
              <a:gd name="connsiteX130" fmla="*/ 589248 w 605681"/>
              <a:gd name="connsiteY130" fmla="*/ 29559 h 109895"/>
              <a:gd name="connsiteX131" fmla="*/ 582028 w 605681"/>
              <a:gd name="connsiteY131" fmla="*/ 15931 h 109895"/>
              <a:gd name="connsiteX132" fmla="*/ 570698 w 605681"/>
              <a:gd name="connsiteY132" fmla="*/ 11761 h 109895"/>
              <a:gd name="connsiteX133" fmla="*/ 559182 w 605681"/>
              <a:gd name="connsiteY133" fmla="*/ 15931 h 109895"/>
              <a:gd name="connsiteX134" fmla="*/ 551899 w 605681"/>
              <a:gd name="connsiteY134" fmla="*/ 29559 h 109895"/>
              <a:gd name="connsiteX135" fmla="*/ 549347 w 605681"/>
              <a:gd name="connsiteY135" fmla="*/ 54948 h 109895"/>
              <a:gd name="connsiteX136" fmla="*/ 551712 w 605681"/>
              <a:gd name="connsiteY136" fmla="*/ 80462 h 109895"/>
              <a:gd name="connsiteX137" fmla="*/ 559057 w 605681"/>
              <a:gd name="connsiteY137" fmla="*/ 94089 h 109895"/>
              <a:gd name="connsiteX138" fmla="*/ 570573 w 605681"/>
              <a:gd name="connsiteY138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605681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07815" y="1307"/>
                </a:moveTo>
                <a:lnTo>
                  <a:pt x="143857" y="1307"/>
                </a:lnTo>
                <a:cubicBezTo>
                  <a:pt x="151016" y="1307"/>
                  <a:pt x="157676" y="2179"/>
                  <a:pt x="163839" y="3858"/>
                </a:cubicBezTo>
                <a:cubicBezTo>
                  <a:pt x="170001" y="5538"/>
                  <a:pt x="175417" y="8339"/>
                  <a:pt x="179961" y="12197"/>
                </a:cubicBezTo>
                <a:cubicBezTo>
                  <a:pt x="184568" y="15993"/>
                  <a:pt x="188178" y="21096"/>
                  <a:pt x="190731" y="27443"/>
                </a:cubicBezTo>
                <a:cubicBezTo>
                  <a:pt x="193345" y="33853"/>
                  <a:pt x="194653" y="41756"/>
                  <a:pt x="194653" y="51215"/>
                </a:cubicBezTo>
                <a:cubicBezTo>
                  <a:pt x="194653" y="63722"/>
                  <a:pt x="192349" y="74301"/>
                  <a:pt x="187742" y="82889"/>
                </a:cubicBezTo>
                <a:cubicBezTo>
                  <a:pt x="183261" y="91352"/>
                  <a:pt x="177098" y="97699"/>
                  <a:pt x="169255" y="101992"/>
                </a:cubicBezTo>
                <a:cubicBezTo>
                  <a:pt x="161349" y="106287"/>
                  <a:pt x="152323" y="108402"/>
                  <a:pt x="142176" y="108402"/>
                </a:cubicBezTo>
                <a:lnTo>
                  <a:pt x="107815" y="108402"/>
                </a:lnTo>
                <a:lnTo>
                  <a:pt x="107815" y="1307"/>
                </a:lnTo>
                <a:close/>
                <a:moveTo>
                  <a:pt x="142176" y="95707"/>
                </a:moveTo>
                <a:cubicBezTo>
                  <a:pt x="149584" y="95707"/>
                  <a:pt x="156058" y="94214"/>
                  <a:pt x="161598" y="91227"/>
                </a:cubicBezTo>
                <a:cubicBezTo>
                  <a:pt x="167201" y="88116"/>
                  <a:pt x="171495" y="83386"/>
                  <a:pt x="174608" y="77039"/>
                </a:cubicBezTo>
                <a:cubicBezTo>
                  <a:pt x="177783" y="70568"/>
                  <a:pt x="179401" y="62291"/>
                  <a:pt x="179401" y="52272"/>
                </a:cubicBezTo>
                <a:cubicBezTo>
                  <a:pt x="179401" y="42191"/>
                  <a:pt x="177845" y="34413"/>
                  <a:pt x="174732" y="28936"/>
                </a:cubicBezTo>
                <a:cubicBezTo>
                  <a:pt x="171682" y="23460"/>
                  <a:pt x="167450" y="19664"/>
                  <a:pt x="162034" y="17424"/>
                </a:cubicBezTo>
                <a:cubicBezTo>
                  <a:pt x="156805" y="15246"/>
                  <a:pt x="150704" y="14188"/>
                  <a:pt x="143857" y="14188"/>
                </a:cubicBezTo>
                <a:lnTo>
                  <a:pt x="121883" y="14188"/>
                </a:lnTo>
                <a:lnTo>
                  <a:pt x="121883" y="95707"/>
                </a:lnTo>
                <a:lnTo>
                  <a:pt x="142176" y="95707"/>
                </a:lnTo>
                <a:close/>
                <a:moveTo>
                  <a:pt x="276385" y="13442"/>
                </a:moveTo>
                <a:lnTo>
                  <a:pt x="230943" y="108402"/>
                </a:lnTo>
                <a:lnTo>
                  <a:pt x="216315" y="108402"/>
                </a:lnTo>
                <a:lnTo>
                  <a:pt x="262006" y="14188"/>
                </a:lnTo>
                <a:lnTo>
                  <a:pt x="207475" y="14188"/>
                </a:lnTo>
                <a:lnTo>
                  <a:pt x="207475" y="1307"/>
                </a:lnTo>
                <a:lnTo>
                  <a:pt x="276385" y="1307"/>
                </a:lnTo>
                <a:lnTo>
                  <a:pt x="276385" y="13442"/>
                </a:lnTo>
                <a:close/>
                <a:moveTo>
                  <a:pt x="346416" y="108402"/>
                </a:moveTo>
                <a:lnTo>
                  <a:pt x="333219" y="108402"/>
                </a:lnTo>
                <a:lnTo>
                  <a:pt x="333219" y="83013"/>
                </a:lnTo>
                <a:lnTo>
                  <a:pt x="286905" y="83013"/>
                </a:lnTo>
                <a:lnTo>
                  <a:pt x="286905" y="73741"/>
                </a:lnTo>
                <a:lnTo>
                  <a:pt x="328736" y="1307"/>
                </a:lnTo>
                <a:lnTo>
                  <a:pt x="346416" y="1307"/>
                </a:lnTo>
                <a:lnTo>
                  <a:pt x="346416" y="71687"/>
                </a:lnTo>
                <a:lnTo>
                  <a:pt x="360857" y="71687"/>
                </a:lnTo>
                <a:lnTo>
                  <a:pt x="360857" y="83013"/>
                </a:lnTo>
                <a:lnTo>
                  <a:pt x="346416" y="83013"/>
                </a:lnTo>
                <a:lnTo>
                  <a:pt x="346416" y="108402"/>
                </a:lnTo>
                <a:close/>
                <a:moveTo>
                  <a:pt x="300538" y="71687"/>
                </a:moveTo>
                <a:lnTo>
                  <a:pt x="333219" y="71687"/>
                </a:lnTo>
                <a:lnTo>
                  <a:pt x="333219" y="15931"/>
                </a:lnTo>
                <a:lnTo>
                  <a:pt x="300538" y="71687"/>
                </a:lnTo>
                <a:close/>
                <a:moveTo>
                  <a:pt x="420616" y="108402"/>
                </a:moveTo>
                <a:lnTo>
                  <a:pt x="407046" y="108402"/>
                </a:lnTo>
                <a:lnTo>
                  <a:pt x="407046" y="18171"/>
                </a:lnTo>
                <a:lnTo>
                  <a:pt x="377415" y="40885"/>
                </a:lnTo>
                <a:lnTo>
                  <a:pt x="377415" y="25825"/>
                </a:lnTo>
                <a:lnTo>
                  <a:pt x="409287" y="1307"/>
                </a:lnTo>
                <a:lnTo>
                  <a:pt x="420616" y="1307"/>
                </a:lnTo>
                <a:lnTo>
                  <a:pt x="420616" y="108402"/>
                </a:lnTo>
                <a:close/>
                <a:moveTo>
                  <a:pt x="488592" y="109896"/>
                </a:moveTo>
                <a:cubicBezTo>
                  <a:pt x="481807" y="109896"/>
                  <a:pt x="475706" y="107967"/>
                  <a:pt x="470353" y="104047"/>
                </a:cubicBezTo>
                <a:cubicBezTo>
                  <a:pt x="464937" y="100188"/>
                  <a:pt x="460705" y="94214"/>
                  <a:pt x="457654" y="86125"/>
                </a:cubicBezTo>
                <a:cubicBezTo>
                  <a:pt x="454666" y="77972"/>
                  <a:pt x="453172" y="67518"/>
                  <a:pt x="453172" y="54761"/>
                </a:cubicBezTo>
                <a:cubicBezTo>
                  <a:pt x="453172" y="41942"/>
                  <a:pt x="454666" y="31488"/>
                  <a:pt x="457654" y="23398"/>
                </a:cubicBezTo>
                <a:cubicBezTo>
                  <a:pt x="460705" y="15371"/>
                  <a:pt x="464937" y="9459"/>
                  <a:pt x="470353" y="5663"/>
                </a:cubicBezTo>
                <a:cubicBezTo>
                  <a:pt x="475706" y="1867"/>
                  <a:pt x="481807" y="0"/>
                  <a:pt x="488592" y="0"/>
                </a:cubicBezTo>
                <a:cubicBezTo>
                  <a:pt x="495315" y="0"/>
                  <a:pt x="501353" y="1867"/>
                  <a:pt x="506644" y="5663"/>
                </a:cubicBezTo>
                <a:cubicBezTo>
                  <a:pt x="511935" y="9459"/>
                  <a:pt x="516044" y="15371"/>
                  <a:pt x="519032" y="23398"/>
                </a:cubicBezTo>
                <a:cubicBezTo>
                  <a:pt x="522020" y="31363"/>
                  <a:pt x="523514" y="41756"/>
                  <a:pt x="523514" y="54512"/>
                </a:cubicBezTo>
                <a:cubicBezTo>
                  <a:pt x="523514" y="67145"/>
                  <a:pt x="522020" y="77599"/>
                  <a:pt x="519032" y="85876"/>
                </a:cubicBezTo>
                <a:cubicBezTo>
                  <a:pt x="516044" y="94027"/>
                  <a:pt x="511935" y="100064"/>
                  <a:pt x="506644" y="104047"/>
                </a:cubicBezTo>
                <a:cubicBezTo>
                  <a:pt x="501353" y="107967"/>
                  <a:pt x="495315" y="109896"/>
                  <a:pt x="488592" y="109896"/>
                </a:cubicBezTo>
                <a:close/>
                <a:moveTo>
                  <a:pt x="488405" y="98072"/>
                </a:moveTo>
                <a:cubicBezTo>
                  <a:pt x="492887" y="98072"/>
                  <a:pt x="496684" y="96766"/>
                  <a:pt x="499796" y="94089"/>
                </a:cubicBezTo>
                <a:cubicBezTo>
                  <a:pt x="502971" y="91289"/>
                  <a:pt x="505337" y="86747"/>
                  <a:pt x="506955" y="80462"/>
                </a:cubicBezTo>
                <a:cubicBezTo>
                  <a:pt x="508636" y="74114"/>
                  <a:pt x="509508" y="65589"/>
                  <a:pt x="509508" y="54948"/>
                </a:cubicBezTo>
                <a:cubicBezTo>
                  <a:pt x="509508" y="44307"/>
                  <a:pt x="508698" y="35844"/>
                  <a:pt x="507080" y="29559"/>
                </a:cubicBezTo>
                <a:cubicBezTo>
                  <a:pt x="505523" y="23150"/>
                  <a:pt x="503096" y="18669"/>
                  <a:pt x="499921" y="15931"/>
                </a:cubicBezTo>
                <a:cubicBezTo>
                  <a:pt x="496808" y="13192"/>
                  <a:pt x="493074" y="11761"/>
                  <a:pt x="488592" y="11761"/>
                </a:cubicBezTo>
                <a:cubicBezTo>
                  <a:pt x="484110" y="11761"/>
                  <a:pt x="480251" y="13192"/>
                  <a:pt x="477076" y="15931"/>
                </a:cubicBezTo>
                <a:cubicBezTo>
                  <a:pt x="473901" y="18669"/>
                  <a:pt x="471411" y="23150"/>
                  <a:pt x="469730" y="29559"/>
                </a:cubicBezTo>
                <a:cubicBezTo>
                  <a:pt x="468049" y="35844"/>
                  <a:pt x="467178" y="44307"/>
                  <a:pt x="467178" y="54948"/>
                </a:cubicBezTo>
                <a:cubicBezTo>
                  <a:pt x="467178" y="65589"/>
                  <a:pt x="467987" y="74114"/>
                  <a:pt x="469606" y="80462"/>
                </a:cubicBezTo>
                <a:cubicBezTo>
                  <a:pt x="471287" y="86747"/>
                  <a:pt x="473714" y="91289"/>
                  <a:pt x="476889" y="94089"/>
                </a:cubicBezTo>
                <a:cubicBezTo>
                  <a:pt x="480126" y="96766"/>
                  <a:pt x="483923" y="98072"/>
                  <a:pt x="488405" y="98072"/>
                </a:cubicBezTo>
                <a:close/>
                <a:moveTo>
                  <a:pt x="570698" y="109896"/>
                </a:moveTo>
                <a:cubicBezTo>
                  <a:pt x="563913" y="109896"/>
                  <a:pt x="557875" y="107967"/>
                  <a:pt x="552459" y="104047"/>
                </a:cubicBezTo>
                <a:cubicBezTo>
                  <a:pt x="547106" y="100188"/>
                  <a:pt x="542873" y="94214"/>
                  <a:pt x="539760" y="86125"/>
                </a:cubicBezTo>
                <a:cubicBezTo>
                  <a:pt x="536773" y="77972"/>
                  <a:pt x="535279" y="67518"/>
                  <a:pt x="535279" y="54761"/>
                </a:cubicBezTo>
                <a:cubicBezTo>
                  <a:pt x="535279" y="41942"/>
                  <a:pt x="536773" y="31488"/>
                  <a:pt x="539760" y="23398"/>
                </a:cubicBezTo>
                <a:cubicBezTo>
                  <a:pt x="542873" y="15371"/>
                  <a:pt x="547106" y="9459"/>
                  <a:pt x="552459" y="5663"/>
                </a:cubicBezTo>
                <a:cubicBezTo>
                  <a:pt x="557875" y="1867"/>
                  <a:pt x="563913" y="0"/>
                  <a:pt x="570698" y="0"/>
                </a:cubicBezTo>
                <a:cubicBezTo>
                  <a:pt x="577484" y="0"/>
                  <a:pt x="583522" y="1867"/>
                  <a:pt x="588750" y="5663"/>
                </a:cubicBezTo>
                <a:cubicBezTo>
                  <a:pt x="594041" y="9459"/>
                  <a:pt x="598212" y="15371"/>
                  <a:pt x="601200" y="23398"/>
                </a:cubicBezTo>
                <a:cubicBezTo>
                  <a:pt x="604188" y="31363"/>
                  <a:pt x="605682" y="41756"/>
                  <a:pt x="605682" y="54512"/>
                </a:cubicBezTo>
                <a:cubicBezTo>
                  <a:pt x="605682" y="67145"/>
                  <a:pt x="604188" y="77599"/>
                  <a:pt x="601200" y="85876"/>
                </a:cubicBezTo>
                <a:cubicBezTo>
                  <a:pt x="598212" y="94027"/>
                  <a:pt x="594041" y="100064"/>
                  <a:pt x="588750" y="104047"/>
                </a:cubicBezTo>
                <a:cubicBezTo>
                  <a:pt x="583522" y="107967"/>
                  <a:pt x="577484" y="109896"/>
                  <a:pt x="570698" y="109896"/>
                </a:cubicBezTo>
                <a:close/>
                <a:moveTo>
                  <a:pt x="570573" y="98072"/>
                </a:moveTo>
                <a:cubicBezTo>
                  <a:pt x="575056" y="98072"/>
                  <a:pt x="578791" y="96766"/>
                  <a:pt x="581903" y="94089"/>
                </a:cubicBezTo>
                <a:cubicBezTo>
                  <a:pt x="585078" y="91289"/>
                  <a:pt x="587506" y="86747"/>
                  <a:pt x="589062" y="80462"/>
                </a:cubicBezTo>
                <a:cubicBezTo>
                  <a:pt x="590743" y="74114"/>
                  <a:pt x="591614" y="65589"/>
                  <a:pt x="591614" y="54948"/>
                </a:cubicBezTo>
                <a:cubicBezTo>
                  <a:pt x="591614" y="44307"/>
                  <a:pt x="590804" y="35844"/>
                  <a:pt x="589248" y="29559"/>
                </a:cubicBezTo>
                <a:cubicBezTo>
                  <a:pt x="587630" y="23150"/>
                  <a:pt x="585265" y="18669"/>
                  <a:pt x="582028" y="15931"/>
                </a:cubicBezTo>
                <a:cubicBezTo>
                  <a:pt x="578978" y="13192"/>
                  <a:pt x="575180" y="11761"/>
                  <a:pt x="570698" y="11761"/>
                </a:cubicBezTo>
                <a:cubicBezTo>
                  <a:pt x="566216" y="11761"/>
                  <a:pt x="562357" y="13192"/>
                  <a:pt x="559182" y="15931"/>
                </a:cubicBezTo>
                <a:cubicBezTo>
                  <a:pt x="556007" y="18669"/>
                  <a:pt x="553579" y="23150"/>
                  <a:pt x="551899" y="29559"/>
                </a:cubicBezTo>
                <a:cubicBezTo>
                  <a:pt x="550156" y="35844"/>
                  <a:pt x="549347" y="44307"/>
                  <a:pt x="549347" y="54948"/>
                </a:cubicBezTo>
                <a:cubicBezTo>
                  <a:pt x="549347" y="65589"/>
                  <a:pt x="550156" y="74114"/>
                  <a:pt x="551712" y="80462"/>
                </a:cubicBezTo>
                <a:cubicBezTo>
                  <a:pt x="553393" y="86747"/>
                  <a:pt x="555883" y="91289"/>
                  <a:pt x="559057" y="94089"/>
                </a:cubicBezTo>
                <a:cubicBezTo>
                  <a:pt x="562232" y="96766"/>
                  <a:pt x="566092" y="98072"/>
                  <a:pt x="570573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9" name="Полилиния 1048">
            <a:extLst>
              <a:ext uri="{FF2B5EF4-FFF2-40B4-BE49-F238E27FC236}">
                <a16:creationId xmlns:a16="http://schemas.microsoft.com/office/drawing/2014/main" id="{2C39DA6B-77BD-0361-7D15-AE1D9126E3AC}"/>
              </a:ext>
            </a:extLst>
          </p:cNvPr>
          <p:cNvSpPr/>
          <p:nvPr userDrawn="1"/>
        </p:nvSpPr>
        <p:spPr>
          <a:xfrm>
            <a:off x="19989822" y="6692525"/>
            <a:ext cx="1398954" cy="726227"/>
          </a:xfrm>
          <a:custGeom>
            <a:avLst/>
            <a:gdLst>
              <a:gd name="connsiteX0" fmla="*/ 1063 w 1198727"/>
              <a:gd name="connsiteY0" fmla="*/ 1422 h 622284"/>
              <a:gd name="connsiteX1" fmla="*/ 1199791 w 1198727"/>
              <a:gd name="connsiteY1" fmla="*/ 1422 h 622284"/>
              <a:gd name="connsiteX2" fmla="*/ 1199791 w 1198727"/>
              <a:gd name="connsiteY2" fmla="*/ 623706 h 622284"/>
              <a:gd name="connsiteX3" fmla="*/ 1063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422"/>
                </a:moveTo>
                <a:lnTo>
                  <a:pt x="1199791" y="1422"/>
                </a:lnTo>
                <a:lnTo>
                  <a:pt x="1199791" y="623706"/>
                </a:lnTo>
                <a:lnTo>
                  <a:pt x="1063" y="623706"/>
                </a:lnTo>
                <a:close/>
              </a:path>
            </a:pathLst>
          </a:custGeom>
          <a:solidFill>
            <a:srgbClr val="FF5F2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0" name="Полилиния 1049">
            <a:extLst>
              <a:ext uri="{FF2B5EF4-FFF2-40B4-BE49-F238E27FC236}">
                <a16:creationId xmlns:a16="http://schemas.microsoft.com/office/drawing/2014/main" id="{89BA1850-F2C2-6FA0-CB94-03D364FDA895}"/>
              </a:ext>
            </a:extLst>
          </p:cNvPr>
          <p:cNvSpPr/>
          <p:nvPr userDrawn="1"/>
        </p:nvSpPr>
        <p:spPr>
          <a:xfrm>
            <a:off x="20113031" y="6994273"/>
            <a:ext cx="689487" cy="128468"/>
          </a:xfrm>
          <a:custGeom>
            <a:avLst/>
            <a:gdLst>
              <a:gd name="connsiteX0" fmla="*/ 22098 w 590804"/>
              <a:gd name="connsiteY0" fmla="*/ 108588 h 110081"/>
              <a:gd name="connsiteX1" fmla="*/ 10147 w 590804"/>
              <a:gd name="connsiteY1" fmla="*/ 108588 h 110081"/>
              <a:gd name="connsiteX2" fmla="*/ 16434 w 590804"/>
              <a:gd name="connsiteY2" fmla="*/ 77661 h 110081"/>
              <a:gd name="connsiteX3" fmla="*/ 0 w 590804"/>
              <a:gd name="connsiteY3" fmla="*/ 77661 h 110081"/>
              <a:gd name="connsiteX4" fmla="*/ 0 w 590804"/>
              <a:gd name="connsiteY4" fmla="*/ 67206 h 110081"/>
              <a:gd name="connsiteX5" fmla="*/ 18675 w 590804"/>
              <a:gd name="connsiteY5" fmla="*/ 67206 h 110081"/>
              <a:gd name="connsiteX6" fmla="*/ 24215 w 590804"/>
              <a:gd name="connsiteY6" fmla="*/ 40012 h 110081"/>
              <a:gd name="connsiteX7" fmla="*/ 4046 w 590804"/>
              <a:gd name="connsiteY7" fmla="*/ 40012 h 110081"/>
              <a:gd name="connsiteX8" fmla="*/ 4046 w 590804"/>
              <a:gd name="connsiteY8" fmla="*/ 29559 h 110081"/>
              <a:gd name="connsiteX9" fmla="*/ 26269 w 590804"/>
              <a:gd name="connsiteY9" fmla="*/ 29559 h 110081"/>
              <a:gd name="connsiteX10" fmla="*/ 32120 w 590804"/>
              <a:gd name="connsiteY10" fmla="*/ 1493 h 110081"/>
              <a:gd name="connsiteX11" fmla="*/ 44072 w 590804"/>
              <a:gd name="connsiteY11" fmla="*/ 1493 h 110081"/>
              <a:gd name="connsiteX12" fmla="*/ 38221 w 590804"/>
              <a:gd name="connsiteY12" fmla="*/ 29559 h 110081"/>
              <a:gd name="connsiteX13" fmla="*/ 60630 w 590804"/>
              <a:gd name="connsiteY13" fmla="*/ 29559 h 110081"/>
              <a:gd name="connsiteX14" fmla="*/ 66481 w 590804"/>
              <a:gd name="connsiteY14" fmla="*/ 1493 h 110081"/>
              <a:gd name="connsiteX15" fmla="*/ 78434 w 590804"/>
              <a:gd name="connsiteY15" fmla="*/ 1493 h 110081"/>
              <a:gd name="connsiteX16" fmla="*/ 72582 w 590804"/>
              <a:gd name="connsiteY16" fmla="*/ 29559 h 110081"/>
              <a:gd name="connsiteX17" fmla="*/ 89327 w 590804"/>
              <a:gd name="connsiteY17" fmla="*/ 29559 h 110081"/>
              <a:gd name="connsiteX18" fmla="*/ 89327 w 590804"/>
              <a:gd name="connsiteY18" fmla="*/ 40012 h 110081"/>
              <a:gd name="connsiteX19" fmla="*/ 70528 w 590804"/>
              <a:gd name="connsiteY19" fmla="*/ 40012 h 110081"/>
              <a:gd name="connsiteX20" fmla="*/ 64988 w 590804"/>
              <a:gd name="connsiteY20" fmla="*/ 67206 h 110081"/>
              <a:gd name="connsiteX21" fmla="*/ 85281 w 590804"/>
              <a:gd name="connsiteY21" fmla="*/ 67206 h 110081"/>
              <a:gd name="connsiteX22" fmla="*/ 85281 w 590804"/>
              <a:gd name="connsiteY22" fmla="*/ 77661 h 110081"/>
              <a:gd name="connsiteX23" fmla="*/ 62747 w 590804"/>
              <a:gd name="connsiteY23" fmla="*/ 77661 h 110081"/>
              <a:gd name="connsiteX24" fmla="*/ 56459 w 590804"/>
              <a:gd name="connsiteY24" fmla="*/ 108588 h 110081"/>
              <a:gd name="connsiteX25" fmla="*/ 44508 w 590804"/>
              <a:gd name="connsiteY25" fmla="*/ 108588 h 110081"/>
              <a:gd name="connsiteX26" fmla="*/ 50795 w 590804"/>
              <a:gd name="connsiteY26" fmla="*/ 77661 h 110081"/>
              <a:gd name="connsiteX27" fmla="*/ 28385 w 590804"/>
              <a:gd name="connsiteY27" fmla="*/ 77661 h 110081"/>
              <a:gd name="connsiteX28" fmla="*/ 22098 w 590804"/>
              <a:gd name="connsiteY28" fmla="*/ 108588 h 110081"/>
              <a:gd name="connsiteX29" fmla="*/ 30626 w 590804"/>
              <a:gd name="connsiteY29" fmla="*/ 67206 h 110081"/>
              <a:gd name="connsiteX30" fmla="*/ 53036 w 590804"/>
              <a:gd name="connsiteY30" fmla="*/ 67206 h 110081"/>
              <a:gd name="connsiteX31" fmla="*/ 58576 w 590804"/>
              <a:gd name="connsiteY31" fmla="*/ 40012 h 110081"/>
              <a:gd name="connsiteX32" fmla="*/ 36166 w 590804"/>
              <a:gd name="connsiteY32" fmla="*/ 40012 h 110081"/>
              <a:gd name="connsiteX33" fmla="*/ 30626 w 590804"/>
              <a:gd name="connsiteY33" fmla="*/ 67206 h 110081"/>
              <a:gd name="connsiteX34" fmla="*/ 107815 w 590804"/>
              <a:gd name="connsiteY34" fmla="*/ 1493 h 110081"/>
              <a:gd name="connsiteX35" fmla="*/ 173239 w 590804"/>
              <a:gd name="connsiteY35" fmla="*/ 1493 h 110081"/>
              <a:gd name="connsiteX36" fmla="*/ 173239 w 590804"/>
              <a:gd name="connsiteY36" fmla="*/ 14374 h 110081"/>
              <a:gd name="connsiteX37" fmla="*/ 121883 w 590804"/>
              <a:gd name="connsiteY37" fmla="*/ 14374 h 110081"/>
              <a:gd name="connsiteX38" fmla="*/ 121883 w 590804"/>
              <a:gd name="connsiteY38" fmla="*/ 49907 h 110081"/>
              <a:gd name="connsiteX39" fmla="*/ 165520 w 590804"/>
              <a:gd name="connsiteY39" fmla="*/ 49907 h 110081"/>
              <a:gd name="connsiteX40" fmla="*/ 165520 w 590804"/>
              <a:gd name="connsiteY40" fmla="*/ 62601 h 110081"/>
              <a:gd name="connsiteX41" fmla="*/ 121883 w 590804"/>
              <a:gd name="connsiteY41" fmla="*/ 62601 h 110081"/>
              <a:gd name="connsiteX42" fmla="*/ 121883 w 590804"/>
              <a:gd name="connsiteY42" fmla="*/ 108588 h 110081"/>
              <a:gd name="connsiteX43" fmla="*/ 107815 w 590804"/>
              <a:gd name="connsiteY43" fmla="*/ 108588 h 110081"/>
              <a:gd name="connsiteX44" fmla="*/ 107815 w 590804"/>
              <a:gd name="connsiteY44" fmla="*/ 1493 h 110081"/>
              <a:gd name="connsiteX45" fmla="*/ 192723 w 590804"/>
              <a:gd name="connsiteY45" fmla="*/ 1493 h 110081"/>
              <a:gd name="connsiteX46" fmla="*/ 258146 w 590804"/>
              <a:gd name="connsiteY46" fmla="*/ 1493 h 110081"/>
              <a:gd name="connsiteX47" fmla="*/ 258146 w 590804"/>
              <a:gd name="connsiteY47" fmla="*/ 14374 h 110081"/>
              <a:gd name="connsiteX48" fmla="*/ 206791 w 590804"/>
              <a:gd name="connsiteY48" fmla="*/ 14374 h 110081"/>
              <a:gd name="connsiteX49" fmla="*/ 206791 w 590804"/>
              <a:gd name="connsiteY49" fmla="*/ 49907 h 110081"/>
              <a:gd name="connsiteX50" fmla="*/ 250427 w 590804"/>
              <a:gd name="connsiteY50" fmla="*/ 49907 h 110081"/>
              <a:gd name="connsiteX51" fmla="*/ 250427 w 590804"/>
              <a:gd name="connsiteY51" fmla="*/ 62601 h 110081"/>
              <a:gd name="connsiteX52" fmla="*/ 206791 w 590804"/>
              <a:gd name="connsiteY52" fmla="*/ 62601 h 110081"/>
              <a:gd name="connsiteX53" fmla="*/ 206791 w 590804"/>
              <a:gd name="connsiteY53" fmla="*/ 108588 h 110081"/>
              <a:gd name="connsiteX54" fmla="*/ 192723 w 590804"/>
              <a:gd name="connsiteY54" fmla="*/ 108588 h 110081"/>
              <a:gd name="connsiteX55" fmla="*/ 192723 w 590804"/>
              <a:gd name="connsiteY55" fmla="*/ 1493 h 110081"/>
              <a:gd name="connsiteX56" fmla="*/ 301534 w 590804"/>
              <a:gd name="connsiteY56" fmla="*/ 110082 h 110081"/>
              <a:gd name="connsiteX57" fmla="*/ 273024 w 590804"/>
              <a:gd name="connsiteY57" fmla="*/ 102490 h 110081"/>
              <a:gd name="connsiteX58" fmla="*/ 273024 w 590804"/>
              <a:gd name="connsiteY58" fmla="*/ 87804 h 110081"/>
              <a:gd name="connsiteX59" fmla="*/ 286158 w 590804"/>
              <a:gd name="connsiteY59" fmla="*/ 95458 h 110081"/>
              <a:gd name="connsiteX60" fmla="*/ 301534 w 590804"/>
              <a:gd name="connsiteY60" fmla="*/ 97823 h 110081"/>
              <a:gd name="connsiteX61" fmla="*/ 318590 w 590804"/>
              <a:gd name="connsiteY61" fmla="*/ 91102 h 110081"/>
              <a:gd name="connsiteX62" fmla="*/ 324690 w 590804"/>
              <a:gd name="connsiteY62" fmla="*/ 73491 h 110081"/>
              <a:gd name="connsiteX63" fmla="*/ 318714 w 590804"/>
              <a:gd name="connsiteY63" fmla="*/ 56441 h 110081"/>
              <a:gd name="connsiteX64" fmla="*/ 303651 w 590804"/>
              <a:gd name="connsiteY64" fmla="*/ 51089 h 110081"/>
              <a:gd name="connsiteX65" fmla="*/ 293068 w 590804"/>
              <a:gd name="connsiteY65" fmla="*/ 53329 h 110081"/>
              <a:gd name="connsiteX66" fmla="*/ 286905 w 590804"/>
              <a:gd name="connsiteY66" fmla="*/ 57810 h 110081"/>
              <a:gd name="connsiteX67" fmla="*/ 276012 w 590804"/>
              <a:gd name="connsiteY67" fmla="*/ 57810 h 110081"/>
              <a:gd name="connsiteX68" fmla="*/ 276012 w 590804"/>
              <a:gd name="connsiteY68" fmla="*/ 1493 h 110081"/>
              <a:gd name="connsiteX69" fmla="*/ 333966 w 590804"/>
              <a:gd name="connsiteY69" fmla="*/ 1493 h 110081"/>
              <a:gd name="connsiteX70" fmla="*/ 333966 w 590804"/>
              <a:gd name="connsiteY70" fmla="*/ 14374 h 110081"/>
              <a:gd name="connsiteX71" fmla="*/ 288274 w 590804"/>
              <a:gd name="connsiteY71" fmla="*/ 14374 h 110081"/>
              <a:gd name="connsiteX72" fmla="*/ 288274 w 590804"/>
              <a:gd name="connsiteY72" fmla="*/ 44991 h 110081"/>
              <a:gd name="connsiteX73" fmla="*/ 295558 w 590804"/>
              <a:gd name="connsiteY73" fmla="*/ 41071 h 110081"/>
              <a:gd name="connsiteX74" fmla="*/ 305891 w 590804"/>
              <a:gd name="connsiteY74" fmla="*/ 39266 h 110081"/>
              <a:gd name="connsiteX75" fmla="*/ 322636 w 590804"/>
              <a:gd name="connsiteY75" fmla="*/ 43186 h 110081"/>
              <a:gd name="connsiteX76" fmla="*/ 334401 w 590804"/>
              <a:gd name="connsiteY76" fmla="*/ 54512 h 110081"/>
              <a:gd name="connsiteX77" fmla="*/ 338883 w 590804"/>
              <a:gd name="connsiteY77" fmla="*/ 73181 h 110081"/>
              <a:gd name="connsiteX78" fmla="*/ 334277 w 590804"/>
              <a:gd name="connsiteY78" fmla="*/ 92596 h 110081"/>
              <a:gd name="connsiteX79" fmla="*/ 321454 w 590804"/>
              <a:gd name="connsiteY79" fmla="*/ 105601 h 110081"/>
              <a:gd name="connsiteX80" fmla="*/ 301534 w 590804"/>
              <a:gd name="connsiteY80" fmla="*/ 110082 h 110081"/>
              <a:gd name="connsiteX81" fmla="*/ 359798 w 590804"/>
              <a:gd name="connsiteY81" fmla="*/ 1493 h 110081"/>
              <a:gd name="connsiteX82" fmla="*/ 425222 w 590804"/>
              <a:gd name="connsiteY82" fmla="*/ 1493 h 110081"/>
              <a:gd name="connsiteX83" fmla="*/ 425222 w 590804"/>
              <a:gd name="connsiteY83" fmla="*/ 14374 h 110081"/>
              <a:gd name="connsiteX84" fmla="*/ 373804 w 590804"/>
              <a:gd name="connsiteY84" fmla="*/ 14374 h 110081"/>
              <a:gd name="connsiteX85" fmla="*/ 373804 w 590804"/>
              <a:gd name="connsiteY85" fmla="*/ 49907 h 110081"/>
              <a:gd name="connsiteX86" fmla="*/ 417441 w 590804"/>
              <a:gd name="connsiteY86" fmla="*/ 49907 h 110081"/>
              <a:gd name="connsiteX87" fmla="*/ 417441 w 590804"/>
              <a:gd name="connsiteY87" fmla="*/ 62601 h 110081"/>
              <a:gd name="connsiteX88" fmla="*/ 373804 w 590804"/>
              <a:gd name="connsiteY88" fmla="*/ 62601 h 110081"/>
              <a:gd name="connsiteX89" fmla="*/ 373804 w 590804"/>
              <a:gd name="connsiteY89" fmla="*/ 108588 h 110081"/>
              <a:gd name="connsiteX90" fmla="*/ 359798 w 590804"/>
              <a:gd name="connsiteY90" fmla="*/ 108588 h 110081"/>
              <a:gd name="connsiteX91" fmla="*/ 359798 w 590804"/>
              <a:gd name="connsiteY91" fmla="*/ 1493 h 110081"/>
              <a:gd name="connsiteX92" fmla="*/ 507764 w 590804"/>
              <a:gd name="connsiteY92" fmla="*/ 108588 h 110081"/>
              <a:gd name="connsiteX93" fmla="*/ 439477 w 590804"/>
              <a:gd name="connsiteY93" fmla="*/ 108588 h 110081"/>
              <a:gd name="connsiteX94" fmla="*/ 439477 w 590804"/>
              <a:gd name="connsiteY94" fmla="*/ 94400 h 110081"/>
              <a:gd name="connsiteX95" fmla="*/ 465622 w 590804"/>
              <a:gd name="connsiteY95" fmla="*/ 72433 h 110081"/>
              <a:gd name="connsiteX96" fmla="*/ 481620 w 590804"/>
              <a:gd name="connsiteY96" fmla="*/ 56628 h 110081"/>
              <a:gd name="connsiteX97" fmla="*/ 489650 w 590804"/>
              <a:gd name="connsiteY97" fmla="*/ 43933 h 110081"/>
              <a:gd name="connsiteX98" fmla="*/ 492077 w 590804"/>
              <a:gd name="connsiteY98" fmla="*/ 32109 h 110081"/>
              <a:gd name="connsiteX99" fmla="*/ 486537 w 590804"/>
              <a:gd name="connsiteY99" fmla="*/ 17610 h 110081"/>
              <a:gd name="connsiteX100" fmla="*/ 471287 w 590804"/>
              <a:gd name="connsiteY100" fmla="*/ 12383 h 110081"/>
              <a:gd name="connsiteX101" fmla="*/ 442341 w 590804"/>
              <a:gd name="connsiteY101" fmla="*/ 27194 h 110081"/>
              <a:gd name="connsiteX102" fmla="*/ 442341 w 590804"/>
              <a:gd name="connsiteY102" fmla="*/ 12134 h 110081"/>
              <a:gd name="connsiteX103" fmla="*/ 471723 w 590804"/>
              <a:gd name="connsiteY103" fmla="*/ 0 h 110081"/>
              <a:gd name="connsiteX104" fmla="*/ 497120 w 590804"/>
              <a:gd name="connsiteY104" fmla="*/ 8401 h 110081"/>
              <a:gd name="connsiteX105" fmla="*/ 506582 w 590804"/>
              <a:gd name="connsiteY105" fmla="*/ 30803 h 110081"/>
              <a:gd name="connsiteX106" fmla="*/ 504154 w 590804"/>
              <a:gd name="connsiteY106" fmla="*/ 44804 h 110081"/>
              <a:gd name="connsiteX107" fmla="*/ 496124 w 590804"/>
              <a:gd name="connsiteY107" fmla="*/ 58681 h 110081"/>
              <a:gd name="connsiteX108" fmla="*/ 480437 w 590804"/>
              <a:gd name="connsiteY108" fmla="*/ 74860 h 110081"/>
              <a:gd name="connsiteX109" fmla="*/ 455040 w 590804"/>
              <a:gd name="connsiteY109" fmla="*/ 95769 h 110081"/>
              <a:gd name="connsiteX110" fmla="*/ 507764 w 590804"/>
              <a:gd name="connsiteY110" fmla="*/ 95769 h 110081"/>
              <a:gd name="connsiteX111" fmla="*/ 507764 w 590804"/>
              <a:gd name="connsiteY111" fmla="*/ 108588 h 110081"/>
              <a:gd name="connsiteX112" fmla="*/ 539076 w 590804"/>
              <a:gd name="connsiteY112" fmla="*/ 58992 h 110081"/>
              <a:gd name="connsiteX113" fmla="*/ 539076 w 590804"/>
              <a:gd name="connsiteY113" fmla="*/ 46298 h 110081"/>
              <a:gd name="connsiteX114" fmla="*/ 553455 w 590804"/>
              <a:gd name="connsiteY114" fmla="*/ 46298 h 110081"/>
              <a:gd name="connsiteX115" fmla="*/ 567025 w 590804"/>
              <a:gd name="connsiteY115" fmla="*/ 41817 h 110081"/>
              <a:gd name="connsiteX116" fmla="*/ 572379 w 590804"/>
              <a:gd name="connsiteY116" fmla="*/ 28812 h 110081"/>
              <a:gd name="connsiteX117" fmla="*/ 567461 w 590804"/>
              <a:gd name="connsiteY117" fmla="*/ 16864 h 110081"/>
              <a:gd name="connsiteX118" fmla="*/ 553269 w 590804"/>
              <a:gd name="connsiteY118" fmla="*/ 12383 h 110081"/>
              <a:gd name="connsiteX119" fmla="*/ 538640 w 590804"/>
              <a:gd name="connsiteY119" fmla="*/ 15246 h 110081"/>
              <a:gd name="connsiteX120" fmla="*/ 524572 w 590804"/>
              <a:gd name="connsiteY120" fmla="*/ 24331 h 110081"/>
              <a:gd name="connsiteX121" fmla="*/ 524572 w 590804"/>
              <a:gd name="connsiteY121" fmla="*/ 9707 h 110081"/>
              <a:gd name="connsiteX122" fmla="*/ 553455 w 590804"/>
              <a:gd name="connsiteY122" fmla="*/ 0 h 110081"/>
              <a:gd name="connsiteX123" fmla="*/ 577484 w 590804"/>
              <a:gd name="connsiteY123" fmla="*/ 7779 h 110081"/>
              <a:gd name="connsiteX124" fmla="*/ 586323 w 590804"/>
              <a:gd name="connsiteY124" fmla="*/ 28065 h 110081"/>
              <a:gd name="connsiteX125" fmla="*/ 580596 w 590804"/>
              <a:gd name="connsiteY125" fmla="*/ 44244 h 110081"/>
              <a:gd name="connsiteX126" fmla="*/ 567337 w 590804"/>
              <a:gd name="connsiteY126" fmla="*/ 52147 h 110081"/>
              <a:gd name="connsiteX127" fmla="*/ 578853 w 590804"/>
              <a:gd name="connsiteY127" fmla="*/ 56441 h 110081"/>
              <a:gd name="connsiteX128" fmla="*/ 587506 w 590804"/>
              <a:gd name="connsiteY128" fmla="*/ 65153 h 110081"/>
              <a:gd name="connsiteX129" fmla="*/ 590804 w 590804"/>
              <a:gd name="connsiteY129" fmla="*/ 77661 h 110081"/>
              <a:gd name="connsiteX130" fmla="*/ 585825 w 590804"/>
              <a:gd name="connsiteY130" fmla="*/ 94836 h 110081"/>
              <a:gd name="connsiteX131" fmla="*/ 572254 w 590804"/>
              <a:gd name="connsiteY131" fmla="*/ 106224 h 110081"/>
              <a:gd name="connsiteX132" fmla="*/ 552397 w 590804"/>
              <a:gd name="connsiteY132" fmla="*/ 110082 h 110081"/>
              <a:gd name="connsiteX133" fmla="*/ 521895 w 590804"/>
              <a:gd name="connsiteY133" fmla="*/ 100997 h 110081"/>
              <a:gd name="connsiteX134" fmla="*/ 521895 w 590804"/>
              <a:gd name="connsiteY134" fmla="*/ 86062 h 110081"/>
              <a:gd name="connsiteX135" fmla="*/ 535652 w 590804"/>
              <a:gd name="connsiteY135" fmla="*/ 94711 h 110081"/>
              <a:gd name="connsiteX136" fmla="*/ 552522 w 590804"/>
              <a:gd name="connsiteY136" fmla="*/ 97823 h 110081"/>
              <a:gd name="connsiteX137" fmla="*/ 569889 w 590804"/>
              <a:gd name="connsiteY137" fmla="*/ 92596 h 110081"/>
              <a:gd name="connsiteX138" fmla="*/ 576301 w 590804"/>
              <a:gd name="connsiteY138" fmla="*/ 77972 h 110081"/>
              <a:gd name="connsiteX139" fmla="*/ 570449 w 590804"/>
              <a:gd name="connsiteY139" fmla="*/ 64095 h 110081"/>
              <a:gd name="connsiteX140" fmla="*/ 552833 w 590804"/>
              <a:gd name="connsiteY140" fmla="*/ 58992 h 110081"/>
              <a:gd name="connsiteX141" fmla="*/ 539076 w 590804"/>
              <a:gd name="connsiteY141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590804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01534" y="110082"/>
                </a:moveTo>
                <a:cubicBezTo>
                  <a:pt x="289582" y="110082"/>
                  <a:pt x="280120" y="107530"/>
                  <a:pt x="273024" y="102490"/>
                </a:cubicBezTo>
                <a:lnTo>
                  <a:pt x="273024" y="87804"/>
                </a:lnTo>
                <a:cubicBezTo>
                  <a:pt x="277195" y="91226"/>
                  <a:pt x="281614" y="93778"/>
                  <a:pt x="286158" y="95458"/>
                </a:cubicBezTo>
                <a:cubicBezTo>
                  <a:pt x="290765" y="97014"/>
                  <a:pt x="295869" y="97823"/>
                  <a:pt x="301534" y="97823"/>
                </a:cubicBezTo>
                <a:cubicBezTo>
                  <a:pt x="308942" y="97823"/>
                  <a:pt x="314606" y="95583"/>
                  <a:pt x="318590" y="91102"/>
                </a:cubicBezTo>
                <a:cubicBezTo>
                  <a:pt x="322698" y="86621"/>
                  <a:pt x="324690" y="80772"/>
                  <a:pt x="324690" y="73491"/>
                </a:cubicBezTo>
                <a:cubicBezTo>
                  <a:pt x="324690" y="65713"/>
                  <a:pt x="322698" y="60050"/>
                  <a:pt x="318714" y="56441"/>
                </a:cubicBezTo>
                <a:cubicBezTo>
                  <a:pt x="314730" y="52894"/>
                  <a:pt x="309751" y="51089"/>
                  <a:pt x="303651" y="51089"/>
                </a:cubicBezTo>
                <a:cubicBezTo>
                  <a:pt x="299293" y="51089"/>
                  <a:pt x="295745" y="51836"/>
                  <a:pt x="293068" y="53329"/>
                </a:cubicBezTo>
                <a:cubicBezTo>
                  <a:pt x="290329" y="54698"/>
                  <a:pt x="288337" y="56192"/>
                  <a:pt x="286905" y="57810"/>
                </a:cubicBezTo>
                <a:lnTo>
                  <a:pt x="276012" y="57810"/>
                </a:lnTo>
                <a:lnTo>
                  <a:pt x="276012" y="1493"/>
                </a:lnTo>
                <a:lnTo>
                  <a:pt x="333966" y="1493"/>
                </a:lnTo>
                <a:lnTo>
                  <a:pt x="333966" y="14374"/>
                </a:lnTo>
                <a:lnTo>
                  <a:pt x="288274" y="14374"/>
                </a:lnTo>
                <a:lnTo>
                  <a:pt x="288274" y="44991"/>
                </a:lnTo>
                <a:cubicBezTo>
                  <a:pt x="290267" y="43498"/>
                  <a:pt x="292695" y="42190"/>
                  <a:pt x="295558" y="41071"/>
                </a:cubicBezTo>
                <a:cubicBezTo>
                  <a:pt x="298483" y="39888"/>
                  <a:pt x="301907" y="39266"/>
                  <a:pt x="305891" y="39266"/>
                </a:cubicBezTo>
                <a:cubicBezTo>
                  <a:pt x="312054" y="39266"/>
                  <a:pt x="317657" y="40572"/>
                  <a:pt x="322636" y="43186"/>
                </a:cubicBezTo>
                <a:cubicBezTo>
                  <a:pt x="327616" y="45675"/>
                  <a:pt x="331538" y="49471"/>
                  <a:pt x="334401" y="54512"/>
                </a:cubicBezTo>
                <a:cubicBezTo>
                  <a:pt x="337389" y="59490"/>
                  <a:pt x="338883" y="65713"/>
                  <a:pt x="338883" y="73181"/>
                </a:cubicBezTo>
                <a:cubicBezTo>
                  <a:pt x="338883" y="80586"/>
                  <a:pt x="337389" y="87058"/>
                  <a:pt x="334277" y="92596"/>
                </a:cubicBezTo>
                <a:cubicBezTo>
                  <a:pt x="331289" y="98196"/>
                  <a:pt x="326994" y="102490"/>
                  <a:pt x="321454" y="105601"/>
                </a:cubicBezTo>
                <a:cubicBezTo>
                  <a:pt x="315851" y="108588"/>
                  <a:pt x="309252" y="110082"/>
                  <a:pt x="301534" y="110082"/>
                </a:cubicBezTo>
                <a:close/>
                <a:moveTo>
                  <a:pt x="359798" y="1493"/>
                </a:moveTo>
                <a:lnTo>
                  <a:pt x="425222" y="1493"/>
                </a:lnTo>
                <a:lnTo>
                  <a:pt x="425222" y="14374"/>
                </a:lnTo>
                <a:lnTo>
                  <a:pt x="373804" y="14374"/>
                </a:lnTo>
                <a:lnTo>
                  <a:pt x="373804" y="49907"/>
                </a:lnTo>
                <a:lnTo>
                  <a:pt x="417441" y="49907"/>
                </a:lnTo>
                <a:lnTo>
                  <a:pt x="417441" y="62601"/>
                </a:lnTo>
                <a:lnTo>
                  <a:pt x="373804" y="62601"/>
                </a:lnTo>
                <a:lnTo>
                  <a:pt x="373804" y="108588"/>
                </a:lnTo>
                <a:lnTo>
                  <a:pt x="359798" y="108588"/>
                </a:lnTo>
                <a:lnTo>
                  <a:pt x="359798" y="1493"/>
                </a:lnTo>
                <a:close/>
                <a:moveTo>
                  <a:pt x="507764" y="108588"/>
                </a:moveTo>
                <a:lnTo>
                  <a:pt x="439477" y="108588"/>
                </a:lnTo>
                <a:lnTo>
                  <a:pt x="439477" y="94400"/>
                </a:lnTo>
                <a:cubicBezTo>
                  <a:pt x="450122" y="85812"/>
                  <a:pt x="458837" y="78532"/>
                  <a:pt x="465622" y="72433"/>
                </a:cubicBezTo>
                <a:cubicBezTo>
                  <a:pt x="472470" y="66397"/>
                  <a:pt x="477823" y="61108"/>
                  <a:pt x="481620" y="56628"/>
                </a:cubicBezTo>
                <a:cubicBezTo>
                  <a:pt x="485479" y="52023"/>
                  <a:pt x="488156" y="47791"/>
                  <a:pt x="489650" y="43933"/>
                </a:cubicBezTo>
                <a:cubicBezTo>
                  <a:pt x="491268" y="40012"/>
                  <a:pt x="492077" y="36092"/>
                  <a:pt x="492077" y="32109"/>
                </a:cubicBezTo>
                <a:cubicBezTo>
                  <a:pt x="492077" y="25949"/>
                  <a:pt x="490210" y="21095"/>
                  <a:pt x="486537" y="17610"/>
                </a:cubicBezTo>
                <a:cubicBezTo>
                  <a:pt x="482865" y="14125"/>
                  <a:pt x="477761" y="12383"/>
                  <a:pt x="471287" y="12383"/>
                </a:cubicBezTo>
                <a:cubicBezTo>
                  <a:pt x="460953" y="12383"/>
                  <a:pt x="451305" y="17361"/>
                  <a:pt x="442341" y="27194"/>
                </a:cubicBezTo>
                <a:lnTo>
                  <a:pt x="442341" y="12134"/>
                </a:lnTo>
                <a:cubicBezTo>
                  <a:pt x="450558" y="4044"/>
                  <a:pt x="460393" y="0"/>
                  <a:pt x="471723" y="0"/>
                </a:cubicBezTo>
                <a:cubicBezTo>
                  <a:pt x="482492" y="0"/>
                  <a:pt x="490957" y="2800"/>
                  <a:pt x="497120" y="8401"/>
                </a:cubicBezTo>
                <a:cubicBezTo>
                  <a:pt x="503407" y="13877"/>
                  <a:pt x="506582" y="21344"/>
                  <a:pt x="506582" y="30803"/>
                </a:cubicBezTo>
                <a:cubicBezTo>
                  <a:pt x="506582" y="35657"/>
                  <a:pt x="505773" y="40324"/>
                  <a:pt x="504154" y="44804"/>
                </a:cubicBezTo>
                <a:cubicBezTo>
                  <a:pt x="502660" y="49222"/>
                  <a:pt x="499983" y="53827"/>
                  <a:pt x="496124" y="58681"/>
                </a:cubicBezTo>
                <a:cubicBezTo>
                  <a:pt x="492327" y="63473"/>
                  <a:pt x="487098" y="68887"/>
                  <a:pt x="480437" y="74860"/>
                </a:cubicBezTo>
                <a:cubicBezTo>
                  <a:pt x="473714" y="80835"/>
                  <a:pt x="465249" y="87804"/>
                  <a:pt x="455040" y="95769"/>
                </a:cubicBezTo>
                <a:lnTo>
                  <a:pt x="507764" y="95769"/>
                </a:lnTo>
                <a:lnTo>
                  <a:pt x="507764" y="108588"/>
                </a:lnTo>
                <a:close/>
                <a:moveTo>
                  <a:pt x="539076" y="58992"/>
                </a:moveTo>
                <a:lnTo>
                  <a:pt x="539076" y="46298"/>
                </a:lnTo>
                <a:lnTo>
                  <a:pt x="553455" y="46298"/>
                </a:lnTo>
                <a:cubicBezTo>
                  <a:pt x="558995" y="46298"/>
                  <a:pt x="563540" y="44804"/>
                  <a:pt x="567025" y="41817"/>
                </a:cubicBezTo>
                <a:cubicBezTo>
                  <a:pt x="570636" y="38768"/>
                  <a:pt x="572379" y="34412"/>
                  <a:pt x="572379" y="28812"/>
                </a:cubicBezTo>
                <a:cubicBezTo>
                  <a:pt x="572379" y="23771"/>
                  <a:pt x="570760" y="19788"/>
                  <a:pt x="567461" y="16864"/>
                </a:cubicBezTo>
                <a:cubicBezTo>
                  <a:pt x="564162" y="13877"/>
                  <a:pt x="559431" y="12383"/>
                  <a:pt x="553269" y="12383"/>
                </a:cubicBezTo>
                <a:cubicBezTo>
                  <a:pt x="548102" y="12383"/>
                  <a:pt x="543247" y="13379"/>
                  <a:pt x="538640" y="15246"/>
                </a:cubicBezTo>
                <a:cubicBezTo>
                  <a:pt x="534158" y="17113"/>
                  <a:pt x="529489" y="20162"/>
                  <a:pt x="524572" y="24331"/>
                </a:cubicBezTo>
                <a:lnTo>
                  <a:pt x="524572" y="9707"/>
                </a:lnTo>
                <a:cubicBezTo>
                  <a:pt x="532539" y="3235"/>
                  <a:pt x="542188" y="0"/>
                  <a:pt x="553455" y="0"/>
                </a:cubicBezTo>
                <a:cubicBezTo>
                  <a:pt x="563664" y="0"/>
                  <a:pt x="571694" y="2613"/>
                  <a:pt x="577484" y="7779"/>
                </a:cubicBezTo>
                <a:cubicBezTo>
                  <a:pt x="583335" y="12943"/>
                  <a:pt x="586323" y="19726"/>
                  <a:pt x="586323" y="28065"/>
                </a:cubicBezTo>
                <a:cubicBezTo>
                  <a:pt x="586323" y="34848"/>
                  <a:pt x="584393" y="40262"/>
                  <a:pt x="580596" y="44244"/>
                </a:cubicBezTo>
                <a:cubicBezTo>
                  <a:pt x="576923" y="48227"/>
                  <a:pt x="572503" y="50840"/>
                  <a:pt x="567337" y="52147"/>
                </a:cubicBezTo>
                <a:cubicBezTo>
                  <a:pt x="571507" y="52707"/>
                  <a:pt x="575367" y="54201"/>
                  <a:pt x="578853" y="56441"/>
                </a:cubicBezTo>
                <a:cubicBezTo>
                  <a:pt x="582401" y="58681"/>
                  <a:pt x="585327" y="61543"/>
                  <a:pt x="587506" y="65153"/>
                </a:cubicBezTo>
                <a:cubicBezTo>
                  <a:pt x="589684" y="68700"/>
                  <a:pt x="590804" y="72869"/>
                  <a:pt x="590804" y="77661"/>
                </a:cubicBezTo>
                <a:cubicBezTo>
                  <a:pt x="590804" y="84257"/>
                  <a:pt x="589124" y="89982"/>
                  <a:pt x="585825" y="94836"/>
                </a:cubicBezTo>
                <a:cubicBezTo>
                  <a:pt x="582588" y="99752"/>
                  <a:pt x="578044" y="103486"/>
                  <a:pt x="572254" y="106224"/>
                </a:cubicBezTo>
                <a:cubicBezTo>
                  <a:pt x="566590" y="108775"/>
                  <a:pt x="559929" y="110082"/>
                  <a:pt x="552397" y="110082"/>
                </a:cubicBezTo>
                <a:cubicBezTo>
                  <a:pt x="539263" y="110082"/>
                  <a:pt x="529054" y="107033"/>
                  <a:pt x="521895" y="100997"/>
                </a:cubicBezTo>
                <a:lnTo>
                  <a:pt x="521895" y="86062"/>
                </a:lnTo>
                <a:cubicBezTo>
                  <a:pt x="525692" y="89733"/>
                  <a:pt x="530298" y="92596"/>
                  <a:pt x="535652" y="94711"/>
                </a:cubicBezTo>
                <a:cubicBezTo>
                  <a:pt x="541005" y="96765"/>
                  <a:pt x="546670" y="97823"/>
                  <a:pt x="552522" y="97823"/>
                </a:cubicBezTo>
                <a:cubicBezTo>
                  <a:pt x="559929" y="97823"/>
                  <a:pt x="565656" y="96080"/>
                  <a:pt x="569889" y="92596"/>
                </a:cubicBezTo>
                <a:cubicBezTo>
                  <a:pt x="574122" y="89048"/>
                  <a:pt x="576301" y="84132"/>
                  <a:pt x="576301" y="77972"/>
                </a:cubicBezTo>
                <a:cubicBezTo>
                  <a:pt x="576301" y="71998"/>
                  <a:pt x="574371" y="67393"/>
                  <a:pt x="570449" y="64095"/>
                </a:cubicBezTo>
                <a:cubicBezTo>
                  <a:pt x="566652" y="60673"/>
                  <a:pt x="560801" y="58992"/>
                  <a:pt x="552833" y="58992"/>
                </a:cubicBezTo>
                <a:lnTo>
                  <a:pt x="539076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1" name="Полилиния 1050">
            <a:extLst>
              <a:ext uri="{FF2B5EF4-FFF2-40B4-BE49-F238E27FC236}">
                <a16:creationId xmlns:a16="http://schemas.microsoft.com/office/drawing/2014/main" id="{29B19721-FF7A-B77C-D59A-EAF8E898BB93}"/>
              </a:ext>
            </a:extLst>
          </p:cNvPr>
          <p:cNvSpPr/>
          <p:nvPr userDrawn="1"/>
        </p:nvSpPr>
        <p:spPr>
          <a:xfrm>
            <a:off x="19989822" y="7418752"/>
            <a:ext cx="1398954" cy="726227"/>
          </a:xfrm>
          <a:custGeom>
            <a:avLst/>
            <a:gdLst>
              <a:gd name="connsiteX0" fmla="*/ 1063 w 1198727"/>
              <a:gd name="connsiteY0" fmla="*/ 1522 h 622284"/>
              <a:gd name="connsiteX1" fmla="*/ 1199791 w 1198727"/>
              <a:gd name="connsiteY1" fmla="*/ 1522 h 622284"/>
              <a:gd name="connsiteX2" fmla="*/ 1199791 w 1198727"/>
              <a:gd name="connsiteY2" fmla="*/ 623806 h 622284"/>
              <a:gd name="connsiteX3" fmla="*/ 1063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522"/>
                </a:moveTo>
                <a:lnTo>
                  <a:pt x="1199791" y="1522"/>
                </a:lnTo>
                <a:lnTo>
                  <a:pt x="1199791" y="623806"/>
                </a:lnTo>
                <a:lnTo>
                  <a:pt x="1063" y="623806"/>
                </a:lnTo>
                <a:close/>
              </a:path>
            </a:pathLst>
          </a:custGeom>
          <a:solidFill>
            <a:srgbClr val="FF82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2" name="Полилиния 1051">
            <a:extLst>
              <a:ext uri="{FF2B5EF4-FFF2-40B4-BE49-F238E27FC236}">
                <a16:creationId xmlns:a16="http://schemas.microsoft.com/office/drawing/2014/main" id="{9D83258E-50AC-087B-6500-708B87C89665}"/>
              </a:ext>
            </a:extLst>
          </p:cNvPr>
          <p:cNvSpPr/>
          <p:nvPr userDrawn="1"/>
        </p:nvSpPr>
        <p:spPr>
          <a:xfrm>
            <a:off x="20113031" y="7720500"/>
            <a:ext cx="714114" cy="128468"/>
          </a:xfrm>
          <a:custGeom>
            <a:avLst/>
            <a:gdLst>
              <a:gd name="connsiteX0" fmla="*/ 22098 w 611906"/>
              <a:gd name="connsiteY0" fmla="*/ 108588 h 110081"/>
              <a:gd name="connsiteX1" fmla="*/ 10147 w 611906"/>
              <a:gd name="connsiteY1" fmla="*/ 108588 h 110081"/>
              <a:gd name="connsiteX2" fmla="*/ 16434 w 611906"/>
              <a:gd name="connsiteY2" fmla="*/ 77661 h 110081"/>
              <a:gd name="connsiteX3" fmla="*/ 0 w 611906"/>
              <a:gd name="connsiteY3" fmla="*/ 77661 h 110081"/>
              <a:gd name="connsiteX4" fmla="*/ 0 w 611906"/>
              <a:gd name="connsiteY4" fmla="*/ 67206 h 110081"/>
              <a:gd name="connsiteX5" fmla="*/ 18675 w 611906"/>
              <a:gd name="connsiteY5" fmla="*/ 67206 h 110081"/>
              <a:gd name="connsiteX6" fmla="*/ 24215 w 611906"/>
              <a:gd name="connsiteY6" fmla="*/ 40012 h 110081"/>
              <a:gd name="connsiteX7" fmla="*/ 4046 w 611906"/>
              <a:gd name="connsiteY7" fmla="*/ 40012 h 110081"/>
              <a:gd name="connsiteX8" fmla="*/ 4046 w 611906"/>
              <a:gd name="connsiteY8" fmla="*/ 29559 h 110081"/>
              <a:gd name="connsiteX9" fmla="*/ 26269 w 611906"/>
              <a:gd name="connsiteY9" fmla="*/ 29559 h 110081"/>
              <a:gd name="connsiteX10" fmla="*/ 32120 w 611906"/>
              <a:gd name="connsiteY10" fmla="*/ 1493 h 110081"/>
              <a:gd name="connsiteX11" fmla="*/ 44072 w 611906"/>
              <a:gd name="connsiteY11" fmla="*/ 1493 h 110081"/>
              <a:gd name="connsiteX12" fmla="*/ 38221 w 611906"/>
              <a:gd name="connsiteY12" fmla="*/ 29559 h 110081"/>
              <a:gd name="connsiteX13" fmla="*/ 60630 w 611906"/>
              <a:gd name="connsiteY13" fmla="*/ 29559 h 110081"/>
              <a:gd name="connsiteX14" fmla="*/ 66481 w 611906"/>
              <a:gd name="connsiteY14" fmla="*/ 1493 h 110081"/>
              <a:gd name="connsiteX15" fmla="*/ 78434 w 611906"/>
              <a:gd name="connsiteY15" fmla="*/ 1493 h 110081"/>
              <a:gd name="connsiteX16" fmla="*/ 72582 w 611906"/>
              <a:gd name="connsiteY16" fmla="*/ 29559 h 110081"/>
              <a:gd name="connsiteX17" fmla="*/ 89327 w 611906"/>
              <a:gd name="connsiteY17" fmla="*/ 29559 h 110081"/>
              <a:gd name="connsiteX18" fmla="*/ 89327 w 611906"/>
              <a:gd name="connsiteY18" fmla="*/ 40012 h 110081"/>
              <a:gd name="connsiteX19" fmla="*/ 70528 w 611906"/>
              <a:gd name="connsiteY19" fmla="*/ 40012 h 110081"/>
              <a:gd name="connsiteX20" fmla="*/ 64988 w 611906"/>
              <a:gd name="connsiteY20" fmla="*/ 67206 h 110081"/>
              <a:gd name="connsiteX21" fmla="*/ 85281 w 611906"/>
              <a:gd name="connsiteY21" fmla="*/ 67206 h 110081"/>
              <a:gd name="connsiteX22" fmla="*/ 85281 w 611906"/>
              <a:gd name="connsiteY22" fmla="*/ 77661 h 110081"/>
              <a:gd name="connsiteX23" fmla="*/ 62747 w 611906"/>
              <a:gd name="connsiteY23" fmla="*/ 77661 h 110081"/>
              <a:gd name="connsiteX24" fmla="*/ 56459 w 611906"/>
              <a:gd name="connsiteY24" fmla="*/ 108588 h 110081"/>
              <a:gd name="connsiteX25" fmla="*/ 44508 w 611906"/>
              <a:gd name="connsiteY25" fmla="*/ 108588 h 110081"/>
              <a:gd name="connsiteX26" fmla="*/ 50795 w 611906"/>
              <a:gd name="connsiteY26" fmla="*/ 77661 h 110081"/>
              <a:gd name="connsiteX27" fmla="*/ 28385 w 611906"/>
              <a:gd name="connsiteY27" fmla="*/ 77661 h 110081"/>
              <a:gd name="connsiteX28" fmla="*/ 22098 w 611906"/>
              <a:gd name="connsiteY28" fmla="*/ 108588 h 110081"/>
              <a:gd name="connsiteX29" fmla="*/ 30626 w 611906"/>
              <a:gd name="connsiteY29" fmla="*/ 67206 h 110081"/>
              <a:gd name="connsiteX30" fmla="*/ 53036 w 611906"/>
              <a:gd name="connsiteY30" fmla="*/ 67206 h 110081"/>
              <a:gd name="connsiteX31" fmla="*/ 58576 w 611906"/>
              <a:gd name="connsiteY31" fmla="*/ 40012 h 110081"/>
              <a:gd name="connsiteX32" fmla="*/ 36166 w 611906"/>
              <a:gd name="connsiteY32" fmla="*/ 40012 h 110081"/>
              <a:gd name="connsiteX33" fmla="*/ 30626 w 611906"/>
              <a:gd name="connsiteY33" fmla="*/ 67206 h 110081"/>
              <a:gd name="connsiteX34" fmla="*/ 107815 w 611906"/>
              <a:gd name="connsiteY34" fmla="*/ 1493 h 110081"/>
              <a:gd name="connsiteX35" fmla="*/ 173239 w 611906"/>
              <a:gd name="connsiteY35" fmla="*/ 1493 h 110081"/>
              <a:gd name="connsiteX36" fmla="*/ 173239 w 611906"/>
              <a:gd name="connsiteY36" fmla="*/ 14374 h 110081"/>
              <a:gd name="connsiteX37" fmla="*/ 121883 w 611906"/>
              <a:gd name="connsiteY37" fmla="*/ 14374 h 110081"/>
              <a:gd name="connsiteX38" fmla="*/ 121883 w 611906"/>
              <a:gd name="connsiteY38" fmla="*/ 49907 h 110081"/>
              <a:gd name="connsiteX39" fmla="*/ 165520 w 611906"/>
              <a:gd name="connsiteY39" fmla="*/ 49907 h 110081"/>
              <a:gd name="connsiteX40" fmla="*/ 165520 w 611906"/>
              <a:gd name="connsiteY40" fmla="*/ 62601 h 110081"/>
              <a:gd name="connsiteX41" fmla="*/ 121883 w 611906"/>
              <a:gd name="connsiteY41" fmla="*/ 62601 h 110081"/>
              <a:gd name="connsiteX42" fmla="*/ 121883 w 611906"/>
              <a:gd name="connsiteY42" fmla="*/ 108588 h 110081"/>
              <a:gd name="connsiteX43" fmla="*/ 107815 w 611906"/>
              <a:gd name="connsiteY43" fmla="*/ 108588 h 110081"/>
              <a:gd name="connsiteX44" fmla="*/ 107815 w 611906"/>
              <a:gd name="connsiteY44" fmla="*/ 1493 h 110081"/>
              <a:gd name="connsiteX45" fmla="*/ 192723 w 611906"/>
              <a:gd name="connsiteY45" fmla="*/ 1493 h 110081"/>
              <a:gd name="connsiteX46" fmla="*/ 258146 w 611906"/>
              <a:gd name="connsiteY46" fmla="*/ 1493 h 110081"/>
              <a:gd name="connsiteX47" fmla="*/ 258146 w 611906"/>
              <a:gd name="connsiteY47" fmla="*/ 14374 h 110081"/>
              <a:gd name="connsiteX48" fmla="*/ 206791 w 611906"/>
              <a:gd name="connsiteY48" fmla="*/ 14374 h 110081"/>
              <a:gd name="connsiteX49" fmla="*/ 206791 w 611906"/>
              <a:gd name="connsiteY49" fmla="*/ 49907 h 110081"/>
              <a:gd name="connsiteX50" fmla="*/ 250427 w 611906"/>
              <a:gd name="connsiteY50" fmla="*/ 49907 h 110081"/>
              <a:gd name="connsiteX51" fmla="*/ 250427 w 611906"/>
              <a:gd name="connsiteY51" fmla="*/ 62601 h 110081"/>
              <a:gd name="connsiteX52" fmla="*/ 206791 w 611906"/>
              <a:gd name="connsiteY52" fmla="*/ 62601 h 110081"/>
              <a:gd name="connsiteX53" fmla="*/ 206791 w 611906"/>
              <a:gd name="connsiteY53" fmla="*/ 108588 h 110081"/>
              <a:gd name="connsiteX54" fmla="*/ 192723 w 611906"/>
              <a:gd name="connsiteY54" fmla="*/ 108588 h 110081"/>
              <a:gd name="connsiteX55" fmla="*/ 192723 w 611906"/>
              <a:gd name="connsiteY55" fmla="*/ 1493 h 110081"/>
              <a:gd name="connsiteX56" fmla="*/ 306638 w 611906"/>
              <a:gd name="connsiteY56" fmla="*/ 110082 h 110081"/>
              <a:gd name="connsiteX57" fmla="*/ 287964 w 611906"/>
              <a:gd name="connsiteY57" fmla="*/ 106473 h 110081"/>
              <a:gd name="connsiteX58" fmla="*/ 275265 w 611906"/>
              <a:gd name="connsiteY58" fmla="*/ 96205 h 110081"/>
              <a:gd name="connsiteX59" fmla="*/ 270658 w 611906"/>
              <a:gd name="connsiteY59" fmla="*/ 79777 h 110081"/>
              <a:gd name="connsiteX60" fmla="*/ 276012 w 611906"/>
              <a:gd name="connsiteY60" fmla="*/ 62291 h 110081"/>
              <a:gd name="connsiteX61" fmla="*/ 290827 w 611906"/>
              <a:gd name="connsiteY61" fmla="*/ 51711 h 110081"/>
              <a:gd name="connsiteX62" fmla="*/ 278875 w 611906"/>
              <a:gd name="connsiteY62" fmla="*/ 42564 h 110081"/>
              <a:gd name="connsiteX63" fmla="*/ 274518 w 611906"/>
              <a:gd name="connsiteY63" fmla="*/ 27504 h 110081"/>
              <a:gd name="connsiteX64" fmla="*/ 278689 w 611906"/>
              <a:gd name="connsiteY64" fmla="*/ 12570 h 110081"/>
              <a:gd name="connsiteX65" fmla="*/ 290205 w 611906"/>
              <a:gd name="connsiteY65" fmla="*/ 3298 h 110081"/>
              <a:gd name="connsiteX66" fmla="*/ 306638 w 611906"/>
              <a:gd name="connsiteY66" fmla="*/ 186 h 110081"/>
              <a:gd name="connsiteX67" fmla="*/ 322761 w 611906"/>
              <a:gd name="connsiteY67" fmla="*/ 3298 h 110081"/>
              <a:gd name="connsiteX68" fmla="*/ 334152 w 611906"/>
              <a:gd name="connsiteY68" fmla="*/ 12259 h 110081"/>
              <a:gd name="connsiteX69" fmla="*/ 338448 w 611906"/>
              <a:gd name="connsiteY69" fmla="*/ 27194 h 110081"/>
              <a:gd name="connsiteX70" fmla="*/ 333966 w 611906"/>
              <a:gd name="connsiteY70" fmla="*/ 42439 h 110081"/>
              <a:gd name="connsiteX71" fmla="*/ 322201 w 611906"/>
              <a:gd name="connsiteY71" fmla="*/ 51711 h 110081"/>
              <a:gd name="connsiteX72" fmla="*/ 336517 w 611906"/>
              <a:gd name="connsiteY72" fmla="*/ 61855 h 110081"/>
              <a:gd name="connsiteX73" fmla="*/ 342058 w 611906"/>
              <a:gd name="connsiteY73" fmla="*/ 79341 h 110081"/>
              <a:gd name="connsiteX74" fmla="*/ 337389 w 611906"/>
              <a:gd name="connsiteY74" fmla="*/ 95893 h 110081"/>
              <a:gd name="connsiteX75" fmla="*/ 324690 w 611906"/>
              <a:gd name="connsiteY75" fmla="*/ 106473 h 110081"/>
              <a:gd name="connsiteX76" fmla="*/ 306638 w 611906"/>
              <a:gd name="connsiteY76" fmla="*/ 110082 h 110081"/>
              <a:gd name="connsiteX77" fmla="*/ 306638 w 611906"/>
              <a:gd name="connsiteY77" fmla="*/ 46298 h 110081"/>
              <a:gd name="connsiteX78" fmla="*/ 319648 w 611906"/>
              <a:gd name="connsiteY78" fmla="*/ 41817 h 110081"/>
              <a:gd name="connsiteX79" fmla="*/ 324877 w 611906"/>
              <a:gd name="connsiteY79" fmla="*/ 29122 h 110081"/>
              <a:gd name="connsiteX80" fmla="*/ 319648 w 611906"/>
              <a:gd name="connsiteY80" fmla="*/ 16615 h 110081"/>
              <a:gd name="connsiteX81" fmla="*/ 306638 w 611906"/>
              <a:gd name="connsiteY81" fmla="*/ 11947 h 110081"/>
              <a:gd name="connsiteX82" fmla="*/ 293317 w 611906"/>
              <a:gd name="connsiteY82" fmla="*/ 16615 h 110081"/>
              <a:gd name="connsiteX83" fmla="*/ 288088 w 611906"/>
              <a:gd name="connsiteY83" fmla="*/ 29122 h 110081"/>
              <a:gd name="connsiteX84" fmla="*/ 293317 w 611906"/>
              <a:gd name="connsiteY84" fmla="*/ 41817 h 110081"/>
              <a:gd name="connsiteX85" fmla="*/ 306638 w 611906"/>
              <a:gd name="connsiteY85" fmla="*/ 46298 h 110081"/>
              <a:gd name="connsiteX86" fmla="*/ 306638 w 611906"/>
              <a:gd name="connsiteY86" fmla="*/ 98258 h 110081"/>
              <a:gd name="connsiteX87" fmla="*/ 322014 w 611906"/>
              <a:gd name="connsiteY87" fmla="*/ 92907 h 110081"/>
              <a:gd name="connsiteX88" fmla="*/ 328301 w 611906"/>
              <a:gd name="connsiteY88" fmla="*/ 77536 h 110081"/>
              <a:gd name="connsiteX89" fmla="*/ 322014 w 611906"/>
              <a:gd name="connsiteY89" fmla="*/ 62291 h 110081"/>
              <a:gd name="connsiteX90" fmla="*/ 306638 w 611906"/>
              <a:gd name="connsiteY90" fmla="*/ 56752 h 110081"/>
              <a:gd name="connsiteX91" fmla="*/ 290640 w 611906"/>
              <a:gd name="connsiteY91" fmla="*/ 62291 h 110081"/>
              <a:gd name="connsiteX92" fmla="*/ 284353 w 611906"/>
              <a:gd name="connsiteY92" fmla="*/ 77536 h 110081"/>
              <a:gd name="connsiteX93" fmla="*/ 290640 w 611906"/>
              <a:gd name="connsiteY93" fmla="*/ 92907 h 110081"/>
              <a:gd name="connsiteX94" fmla="*/ 306638 w 611906"/>
              <a:gd name="connsiteY94" fmla="*/ 98258 h 110081"/>
              <a:gd name="connsiteX95" fmla="*/ 422857 w 611906"/>
              <a:gd name="connsiteY95" fmla="*/ 108588 h 110081"/>
              <a:gd name="connsiteX96" fmla="*/ 354570 w 611906"/>
              <a:gd name="connsiteY96" fmla="*/ 108588 h 110081"/>
              <a:gd name="connsiteX97" fmla="*/ 354570 w 611906"/>
              <a:gd name="connsiteY97" fmla="*/ 94400 h 110081"/>
              <a:gd name="connsiteX98" fmla="*/ 380714 w 611906"/>
              <a:gd name="connsiteY98" fmla="*/ 72433 h 110081"/>
              <a:gd name="connsiteX99" fmla="*/ 396712 w 611906"/>
              <a:gd name="connsiteY99" fmla="*/ 56628 h 110081"/>
              <a:gd name="connsiteX100" fmla="*/ 404743 w 611906"/>
              <a:gd name="connsiteY100" fmla="*/ 43933 h 110081"/>
              <a:gd name="connsiteX101" fmla="*/ 407170 w 611906"/>
              <a:gd name="connsiteY101" fmla="*/ 32109 h 110081"/>
              <a:gd name="connsiteX102" fmla="*/ 401630 w 611906"/>
              <a:gd name="connsiteY102" fmla="*/ 17610 h 110081"/>
              <a:gd name="connsiteX103" fmla="*/ 386379 w 611906"/>
              <a:gd name="connsiteY103" fmla="*/ 12383 h 110081"/>
              <a:gd name="connsiteX104" fmla="*/ 357371 w 611906"/>
              <a:gd name="connsiteY104" fmla="*/ 27194 h 110081"/>
              <a:gd name="connsiteX105" fmla="*/ 357371 w 611906"/>
              <a:gd name="connsiteY105" fmla="*/ 12134 h 110081"/>
              <a:gd name="connsiteX106" fmla="*/ 386815 w 611906"/>
              <a:gd name="connsiteY106" fmla="*/ 0 h 110081"/>
              <a:gd name="connsiteX107" fmla="*/ 412212 w 611906"/>
              <a:gd name="connsiteY107" fmla="*/ 8401 h 110081"/>
              <a:gd name="connsiteX108" fmla="*/ 421612 w 611906"/>
              <a:gd name="connsiteY108" fmla="*/ 30803 h 110081"/>
              <a:gd name="connsiteX109" fmla="*/ 419247 w 611906"/>
              <a:gd name="connsiteY109" fmla="*/ 44804 h 110081"/>
              <a:gd name="connsiteX110" fmla="*/ 411154 w 611906"/>
              <a:gd name="connsiteY110" fmla="*/ 58681 h 110081"/>
              <a:gd name="connsiteX111" fmla="*/ 395468 w 611906"/>
              <a:gd name="connsiteY111" fmla="*/ 74860 h 110081"/>
              <a:gd name="connsiteX112" fmla="*/ 370070 w 611906"/>
              <a:gd name="connsiteY112" fmla="*/ 95769 h 110081"/>
              <a:gd name="connsiteX113" fmla="*/ 422857 w 611906"/>
              <a:gd name="connsiteY113" fmla="*/ 95769 h 110081"/>
              <a:gd name="connsiteX114" fmla="*/ 422857 w 611906"/>
              <a:gd name="connsiteY114" fmla="*/ 108588 h 110081"/>
              <a:gd name="connsiteX115" fmla="*/ 465809 w 611906"/>
              <a:gd name="connsiteY115" fmla="*/ 110082 h 110081"/>
              <a:gd name="connsiteX116" fmla="*/ 437299 w 611906"/>
              <a:gd name="connsiteY116" fmla="*/ 102490 h 110081"/>
              <a:gd name="connsiteX117" fmla="*/ 437299 w 611906"/>
              <a:gd name="connsiteY117" fmla="*/ 87804 h 110081"/>
              <a:gd name="connsiteX118" fmla="*/ 450433 w 611906"/>
              <a:gd name="connsiteY118" fmla="*/ 95458 h 110081"/>
              <a:gd name="connsiteX119" fmla="*/ 465809 w 611906"/>
              <a:gd name="connsiteY119" fmla="*/ 97823 h 110081"/>
              <a:gd name="connsiteX120" fmla="*/ 482865 w 611906"/>
              <a:gd name="connsiteY120" fmla="*/ 91102 h 110081"/>
              <a:gd name="connsiteX121" fmla="*/ 488965 w 611906"/>
              <a:gd name="connsiteY121" fmla="*/ 73491 h 110081"/>
              <a:gd name="connsiteX122" fmla="*/ 482989 w 611906"/>
              <a:gd name="connsiteY122" fmla="*/ 56441 h 110081"/>
              <a:gd name="connsiteX123" fmla="*/ 467925 w 611906"/>
              <a:gd name="connsiteY123" fmla="*/ 51089 h 110081"/>
              <a:gd name="connsiteX124" fmla="*/ 457343 w 611906"/>
              <a:gd name="connsiteY124" fmla="*/ 53329 h 110081"/>
              <a:gd name="connsiteX125" fmla="*/ 451180 w 611906"/>
              <a:gd name="connsiteY125" fmla="*/ 57810 h 110081"/>
              <a:gd name="connsiteX126" fmla="*/ 440287 w 611906"/>
              <a:gd name="connsiteY126" fmla="*/ 57810 h 110081"/>
              <a:gd name="connsiteX127" fmla="*/ 440287 w 611906"/>
              <a:gd name="connsiteY127" fmla="*/ 1493 h 110081"/>
              <a:gd name="connsiteX128" fmla="*/ 498240 w 611906"/>
              <a:gd name="connsiteY128" fmla="*/ 1493 h 110081"/>
              <a:gd name="connsiteX129" fmla="*/ 498240 w 611906"/>
              <a:gd name="connsiteY129" fmla="*/ 14374 h 110081"/>
              <a:gd name="connsiteX130" fmla="*/ 452550 w 611906"/>
              <a:gd name="connsiteY130" fmla="*/ 14374 h 110081"/>
              <a:gd name="connsiteX131" fmla="*/ 452550 w 611906"/>
              <a:gd name="connsiteY131" fmla="*/ 44991 h 110081"/>
              <a:gd name="connsiteX132" fmla="*/ 459833 w 611906"/>
              <a:gd name="connsiteY132" fmla="*/ 41071 h 110081"/>
              <a:gd name="connsiteX133" fmla="*/ 470167 w 611906"/>
              <a:gd name="connsiteY133" fmla="*/ 39266 h 110081"/>
              <a:gd name="connsiteX134" fmla="*/ 486911 w 611906"/>
              <a:gd name="connsiteY134" fmla="*/ 43186 h 110081"/>
              <a:gd name="connsiteX135" fmla="*/ 498676 w 611906"/>
              <a:gd name="connsiteY135" fmla="*/ 54512 h 110081"/>
              <a:gd name="connsiteX136" fmla="*/ 503158 w 611906"/>
              <a:gd name="connsiteY136" fmla="*/ 73181 h 110081"/>
              <a:gd name="connsiteX137" fmla="*/ 498552 w 611906"/>
              <a:gd name="connsiteY137" fmla="*/ 92596 h 110081"/>
              <a:gd name="connsiteX138" fmla="*/ 485729 w 611906"/>
              <a:gd name="connsiteY138" fmla="*/ 105601 h 110081"/>
              <a:gd name="connsiteX139" fmla="*/ 465809 w 611906"/>
              <a:gd name="connsiteY139" fmla="*/ 110082 h 110081"/>
              <a:gd name="connsiteX140" fmla="*/ 611907 w 611906"/>
              <a:gd name="connsiteY140" fmla="*/ 108588 h 110081"/>
              <a:gd name="connsiteX141" fmla="*/ 596968 w 611906"/>
              <a:gd name="connsiteY141" fmla="*/ 108588 h 110081"/>
              <a:gd name="connsiteX142" fmla="*/ 585949 w 611906"/>
              <a:gd name="connsiteY142" fmla="*/ 77972 h 110081"/>
              <a:gd name="connsiteX143" fmla="*/ 538578 w 611906"/>
              <a:gd name="connsiteY143" fmla="*/ 77972 h 110081"/>
              <a:gd name="connsiteX144" fmla="*/ 527684 w 611906"/>
              <a:gd name="connsiteY144" fmla="*/ 108588 h 110081"/>
              <a:gd name="connsiteX145" fmla="*/ 514488 w 611906"/>
              <a:gd name="connsiteY145" fmla="*/ 108588 h 110081"/>
              <a:gd name="connsiteX146" fmla="*/ 552584 w 611906"/>
              <a:gd name="connsiteY146" fmla="*/ 1493 h 110081"/>
              <a:gd name="connsiteX147" fmla="*/ 573500 w 611906"/>
              <a:gd name="connsiteY147" fmla="*/ 1493 h 110081"/>
              <a:gd name="connsiteX148" fmla="*/ 611907 w 611906"/>
              <a:gd name="connsiteY148" fmla="*/ 108588 h 110081"/>
              <a:gd name="connsiteX149" fmla="*/ 543184 w 611906"/>
              <a:gd name="connsiteY149" fmla="*/ 65278 h 110081"/>
              <a:gd name="connsiteX150" fmla="*/ 581467 w 611906"/>
              <a:gd name="connsiteY150" fmla="*/ 65278 h 110081"/>
              <a:gd name="connsiteX151" fmla="*/ 562295 w 611906"/>
              <a:gd name="connsiteY151" fmla="*/ 11947 h 110081"/>
              <a:gd name="connsiteX152" fmla="*/ 543184 w 611906"/>
              <a:gd name="connsiteY152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611906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06638" y="110082"/>
                </a:moveTo>
                <a:cubicBezTo>
                  <a:pt x="299667" y="110082"/>
                  <a:pt x="293442" y="108900"/>
                  <a:pt x="287964" y="106473"/>
                </a:cubicBezTo>
                <a:cubicBezTo>
                  <a:pt x="282610" y="104108"/>
                  <a:pt x="278377" y="100685"/>
                  <a:pt x="275265" y="96205"/>
                </a:cubicBezTo>
                <a:cubicBezTo>
                  <a:pt x="272152" y="91600"/>
                  <a:pt x="270658" y="86124"/>
                  <a:pt x="270658" y="79777"/>
                </a:cubicBezTo>
                <a:cubicBezTo>
                  <a:pt x="270658" y="72869"/>
                  <a:pt x="272401" y="67082"/>
                  <a:pt x="276012" y="62291"/>
                </a:cubicBezTo>
                <a:cubicBezTo>
                  <a:pt x="279684" y="57437"/>
                  <a:pt x="284602" y="53889"/>
                  <a:pt x="290827" y="51711"/>
                </a:cubicBezTo>
                <a:cubicBezTo>
                  <a:pt x="285847" y="49720"/>
                  <a:pt x="281863" y="46671"/>
                  <a:pt x="278875" y="42564"/>
                </a:cubicBezTo>
                <a:cubicBezTo>
                  <a:pt x="275949" y="38519"/>
                  <a:pt x="274518" y="33479"/>
                  <a:pt x="274518" y="27504"/>
                </a:cubicBezTo>
                <a:cubicBezTo>
                  <a:pt x="274518" y="21593"/>
                  <a:pt x="275887" y="16615"/>
                  <a:pt x="278689" y="12570"/>
                </a:cubicBezTo>
                <a:cubicBezTo>
                  <a:pt x="281490" y="8463"/>
                  <a:pt x="285349" y="5414"/>
                  <a:pt x="290205" y="3298"/>
                </a:cubicBezTo>
                <a:cubicBezTo>
                  <a:pt x="295060" y="1182"/>
                  <a:pt x="300538" y="186"/>
                  <a:pt x="306638" y="186"/>
                </a:cubicBezTo>
                <a:cubicBezTo>
                  <a:pt x="312614" y="186"/>
                  <a:pt x="317967" y="1182"/>
                  <a:pt x="322761" y="3298"/>
                </a:cubicBezTo>
                <a:cubicBezTo>
                  <a:pt x="327554" y="5289"/>
                  <a:pt x="331351" y="8276"/>
                  <a:pt x="334152" y="12259"/>
                </a:cubicBezTo>
                <a:cubicBezTo>
                  <a:pt x="337016" y="16242"/>
                  <a:pt x="338448" y="21219"/>
                  <a:pt x="338448" y="27194"/>
                </a:cubicBezTo>
                <a:cubicBezTo>
                  <a:pt x="338448" y="33292"/>
                  <a:pt x="336954" y="38332"/>
                  <a:pt x="333966" y="42439"/>
                </a:cubicBezTo>
                <a:cubicBezTo>
                  <a:pt x="330977" y="46484"/>
                  <a:pt x="327055" y="49596"/>
                  <a:pt x="322201" y="51711"/>
                </a:cubicBezTo>
                <a:cubicBezTo>
                  <a:pt x="328176" y="53765"/>
                  <a:pt x="332907" y="57188"/>
                  <a:pt x="336517" y="61855"/>
                </a:cubicBezTo>
                <a:cubicBezTo>
                  <a:pt x="340191" y="66522"/>
                  <a:pt x="342058" y="72372"/>
                  <a:pt x="342058" y="79341"/>
                </a:cubicBezTo>
                <a:cubicBezTo>
                  <a:pt x="342058" y="85688"/>
                  <a:pt x="340501" y="91226"/>
                  <a:pt x="337389" y="95893"/>
                </a:cubicBezTo>
                <a:cubicBezTo>
                  <a:pt x="334339" y="100498"/>
                  <a:pt x="330106" y="103983"/>
                  <a:pt x="324690" y="106473"/>
                </a:cubicBezTo>
                <a:cubicBezTo>
                  <a:pt x="319461" y="108900"/>
                  <a:pt x="313423" y="110082"/>
                  <a:pt x="306638" y="110082"/>
                </a:cubicBezTo>
                <a:close/>
                <a:moveTo>
                  <a:pt x="306638" y="46298"/>
                </a:moveTo>
                <a:cubicBezTo>
                  <a:pt x="311929" y="46298"/>
                  <a:pt x="316224" y="44804"/>
                  <a:pt x="319648" y="41817"/>
                </a:cubicBezTo>
                <a:cubicBezTo>
                  <a:pt x="323134" y="38768"/>
                  <a:pt x="324877" y="34536"/>
                  <a:pt x="324877" y="29122"/>
                </a:cubicBezTo>
                <a:cubicBezTo>
                  <a:pt x="324877" y="23771"/>
                  <a:pt x="323134" y="19601"/>
                  <a:pt x="319648" y="16615"/>
                </a:cubicBezTo>
                <a:cubicBezTo>
                  <a:pt x="316224" y="13503"/>
                  <a:pt x="311929" y="11947"/>
                  <a:pt x="306638" y="11947"/>
                </a:cubicBezTo>
                <a:cubicBezTo>
                  <a:pt x="301347" y="11947"/>
                  <a:pt x="296927" y="13503"/>
                  <a:pt x="293317" y="16615"/>
                </a:cubicBezTo>
                <a:cubicBezTo>
                  <a:pt x="289831" y="19601"/>
                  <a:pt x="288088" y="23771"/>
                  <a:pt x="288088" y="29122"/>
                </a:cubicBezTo>
                <a:cubicBezTo>
                  <a:pt x="288088" y="34536"/>
                  <a:pt x="289831" y="38768"/>
                  <a:pt x="293317" y="41817"/>
                </a:cubicBezTo>
                <a:cubicBezTo>
                  <a:pt x="296927" y="44804"/>
                  <a:pt x="301347" y="46298"/>
                  <a:pt x="306638" y="46298"/>
                </a:cubicBezTo>
                <a:close/>
                <a:moveTo>
                  <a:pt x="306638" y="98258"/>
                </a:moveTo>
                <a:cubicBezTo>
                  <a:pt x="312801" y="98258"/>
                  <a:pt x="317967" y="96516"/>
                  <a:pt x="322014" y="92907"/>
                </a:cubicBezTo>
                <a:cubicBezTo>
                  <a:pt x="326185" y="89235"/>
                  <a:pt x="328301" y="84071"/>
                  <a:pt x="328301" y="77536"/>
                </a:cubicBezTo>
                <a:cubicBezTo>
                  <a:pt x="328301" y="70940"/>
                  <a:pt x="326185" y="65900"/>
                  <a:pt x="322014" y="62291"/>
                </a:cubicBezTo>
                <a:cubicBezTo>
                  <a:pt x="317967" y="58619"/>
                  <a:pt x="312801" y="56752"/>
                  <a:pt x="306638" y="56752"/>
                </a:cubicBezTo>
                <a:cubicBezTo>
                  <a:pt x="300289" y="56752"/>
                  <a:pt x="294936" y="58619"/>
                  <a:pt x="290640" y="62291"/>
                </a:cubicBezTo>
                <a:cubicBezTo>
                  <a:pt x="286470" y="65900"/>
                  <a:pt x="284353" y="70940"/>
                  <a:pt x="284353" y="77536"/>
                </a:cubicBezTo>
                <a:cubicBezTo>
                  <a:pt x="284353" y="84071"/>
                  <a:pt x="286470" y="89235"/>
                  <a:pt x="290640" y="92907"/>
                </a:cubicBezTo>
                <a:cubicBezTo>
                  <a:pt x="294936" y="96516"/>
                  <a:pt x="300289" y="98258"/>
                  <a:pt x="306638" y="98258"/>
                </a:cubicBezTo>
                <a:close/>
                <a:moveTo>
                  <a:pt x="422857" y="108588"/>
                </a:moveTo>
                <a:lnTo>
                  <a:pt x="354570" y="108588"/>
                </a:lnTo>
                <a:lnTo>
                  <a:pt x="354570" y="94400"/>
                </a:lnTo>
                <a:cubicBezTo>
                  <a:pt x="365214" y="85812"/>
                  <a:pt x="373929" y="78532"/>
                  <a:pt x="380714" y="72433"/>
                </a:cubicBezTo>
                <a:cubicBezTo>
                  <a:pt x="387562" y="66397"/>
                  <a:pt x="392915" y="61108"/>
                  <a:pt x="396712" y="56628"/>
                </a:cubicBezTo>
                <a:cubicBezTo>
                  <a:pt x="400572" y="52023"/>
                  <a:pt x="403249" y="47791"/>
                  <a:pt x="404743" y="43933"/>
                </a:cubicBezTo>
                <a:cubicBezTo>
                  <a:pt x="406361" y="40012"/>
                  <a:pt x="407170" y="36092"/>
                  <a:pt x="407170" y="32109"/>
                </a:cubicBezTo>
                <a:cubicBezTo>
                  <a:pt x="407170" y="25949"/>
                  <a:pt x="405303" y="21095"/>
                  <a:pt x="401630" y="17610"/>
                </a:cubicBezTo>
                <a:cubicBezTo>
                  <a:pt x="397957" y="14125"/>
                  <a:pt x="392853" y="12383"/>
                  <a:pt x="386379" y="12383"/>
                </a:cubicBezTo>
                <a:cubicBezTo>
                  <a:pt x="376045" y="12383"/>
                  <a:pt x="366335" y="17361"/>
                  <a:pt x="357371" y="27194"/>
                </a:cubicBezTo>
                <a:lnTo>
                  <a:pt x="357371" y="12134"/>
                </a:lnTo>
                <a:cubicBezTo>
                  <a:pt x="365650" y="4044"/>
                  <a:pt x="375485" y="0"/>
                  <a:pt x="386815" y="0"/>
                </a:cubicBezTo>
                <a:cubicBezTo>
                  <a:pt x="397584" y="0"/>
                  <a:pt x="406050" y="2800"/>
                  <a:pt x="412212" y="8401"/>
                </a:cubicBezTo>
                <a:cubicBezTo>
                  <a:pt x="418500" y="13877"/>
                  <a:pt x="421612" y="21344"/>
                  <a:pt x="421612" y="30803"/>
                </a:cubicBezTo>
                <a:cubicBezTo>
                  <a:pt x="421612" y="35657"/>
                  <a:pt x="420865" y="40324"/>
                  <a:pt x="419247" y="44804"/>
                </a:cubicBezTo>
                <a:cubicBezTo>
                  <a:pt x="417753" y="49222"/>
                  <a:pt x="415076" y="53827"/>
                  <a:pt x="411154" y="58681"/>
                </a:cubicBezTo>
                <a:cubicBezTo>
                  <a:pt x="407419" y="63473"/>
                  <a:pt x="402190" y="68887"/>
                  <a:pt x="395468" y="74860"/>
                </a:cubicBezTo>
                <a:cubicBezTo>
                  <a:pt x="388807" y="80835"/>
                  <a:pt x="380341" y="87804"/>
                  <a:pt x="370070" y="95769"/>
                </a:cubicBezTo>
                <a:lnTo>
                  <a:pt x="422857" y="95769"/>
                </a:lnTo>
                <a:lnTo>
                  <a:pt x="422857" y="108588"/>
                </a:lnTo>
                <a:close/>
                <a:moveTo>
                  <a:pt x="465809" y="110082"/>
                </a:moveTo>
                <a:cubicBezTo>
                  <a:pt x="453857" y="110082"/>
                  <a:pt x="444395" y="107530"/>
                  <a:pt x="437299" y="102490"/>
                </a:cubicBezTo>
                <a:lnTo>
                  <a:pt x="437299" y="87804"/>
                </a:lnTo>
                <a:cubicBezTo>
                  <a:pt x="441469" y="91226"/>
                  <a:pt x="445889" y="93778"/>
                  <a:pt x="450433" y="95458"/>
                </a:cubicBezTo>
                <a:cubicBezTo>
                  <a:pt x="455040" y="97014"/>
                  <a:pt x="460144" y="97823"/>
                  <a:pt x="465809" y="97823"/>
                </a:cubicBezTo>
                <a:cubicBezTo>
                  <a:pt x="473217" y="97823"/>
                  <a:pt x="478881" y="95583"/>
                  <a:pt x="482865" y="91102"/>
                </a:cubicBezTo>
                <a:cubicBezTo>
                  <a:pt x="486973" y="86621"/>
                  <a:pt x="488965" y="80772"/>
                  <a:pt x="488965" y="73491"/>
                </a:cubicBezTo>
                <a:cubicBezTo>
                  <a:pt x="488965" y="65713"/>
                  <a:pt x="486973" y="60050"/>
                  <a:pt x="482989" y="56441"/>
                </a:cubicBezTo>
                <a:cubicBezTo>
                  <a:pt x="479005" y="52894"/>
                  <a:pt x="474026" y="51089"/>
                  <a:pt x="467925" y="51089"/>
                </a:cubicBezTo>
                <a:cubicBezTo>
                  <a:pt x="463568" y="51089"/>
                  <a:pt x="460020" y="51836"/>
                  <a:pt x="457343" y="53329"/>
                </a:cubicBezTo>
                <a:cubicBezTo>
                  <a:pt x="454604" y="54698"/>
                  <a:pt x="452612" y="56192"/>
                  <a:pt x="451180" y="57810"/>
                </a:cubicBezTo>
                <a:lnTo>
                  <a:pt x="440287" y="57810"/>
                </a:lnTo>
                <a:lnTo>
                  <a:pt x="440287" y="1493"/>
                </a:lnTo>
                <a:lnTo>
                  <a:pt x="498240" y="1493"/>
                </a:lnTo>
                <a:lnTo>
                  <a:pt x="498240" y="14374"/>
                </a:lnTo>
                <a:lnTo>
                  <a:pt x="452550" y="14374"/>
                </a:lnTo>
                <a:lnTo>
                  <a:pt x="452550" y="44991"/>
                </a:lnTo>
                <a:cubicBezTo>
                  <a:pt x="454542" y="43498"/>
                  <a:pt x="456969" y="42190"/>
                  <a:pt x="459833" y="41071"/>
                </a:cubicBezTo>
                <a:cubicBezTo>
                  <a:pt x="462758" y="39888"/>
                  <a:pt x="466182" y="39266"/>
                  <a:pt x="470167" y="39266"/>
                </a:cubicBezTo>
                <a:cubicBezTo>
                  <a:pt x="476329" y="39266"/>
                  <a:pt x="481931" y="40572"/>
                  <a:pt x="486911" y="43186"/>
                </a:cubicBezTo>
                <a:cubicBezTo>
                  <a:pt x="491891" y="45675"/>
                  <a:pt x="495813" y="49471"/>
                  <a:pt x="498676" y="54512"/>
                </a:cubicBezTo>
                <a:cubicBezTo>
                  <a:pt x="501664" y="59490"/>
                  <a:pt x="503158" y="65713"/>
                  <a:pt x="503158" y="73181"/>
                </a:cubicBezTo>
                <a:cubicBezTo>
                  <a:pt x="503158" y="80586"/>
                  <a:pt x="501664" y="87058"/>
                  <a:pt x="498552" y="92596"/>
                </a:cubicBezTo>
                <a:cubicBezTo>
                  <a:pt x="495564" y="98196"/>
                  <a:pt x="491268" y="102490"/>
                  <a:pt x="485729" y="105601"/>
                </a:cubicBezTo>
                <a:cubicBezTo>
                  <a:pt x="480126" y="108588"/>
                  <a:pt x="473527" y="110082"/>
                  <a:pt x="465809" y="110082"/>
                </a:cubicBezTo>
                <a:close/>
                <a:moveTo>
                  <a:pt x="611907" y="108588"/>
                </a:moveTo>
                <a:lnTo>
                  <a:pt x="596968" y="108588"/>
                </a:lnTo>
                <a:lnTo>
                  <a:pt x="585949" y="77972"/>
                </a:lnTo>
                <a:lnTo>
                  <a:pt x="538578" y="77972"/>
                </a:lnTo>
                <a:lnTo>
                  <a:pt x="527684" y="108588"/>
                </a:lnTo>
                <a:lnTo>
                  <a:pt x="514488" y="108588"/>
                </a:lnTo>
                <a:lnTo>
                  <a:pt x="552584" y="1493"/>
                </a:lnTo>
                <a:lnTo>
                  <a:pt x="573500" y="1493"/>
                </a:lnTo>
                <a:lnTo>
                  <a:pt x="611907" y="108588"/>
                </a:lnTo>
                <a:close/>
                <a:moveTo>
                  <a:pt x="543184" y="65278"/>
                </a:moveTo>
                <a:lnTo>
                  <a:pt x="581467" y="65278"/>
                </a:lnTo>
                <a:lnTo>
                  <a:pt x="562295" y="11947"/>
                </a:lnTo>
                <a:lnTo>
                  <a:pt x="543184" y="6527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3" name="Полилиния 1052">
            <a:extLst>
              <a:ext uri="{FF2B5EF4-FFF2-40B4-BE49-F238E27FC236}">
                <a16:creationId xmlns:a16="http://schemas.microsoft.com/office/drawing/2014/main" id="{0BCF2249-D728-B0AF-369B-BA31E7D4D5B6}"/>
              </a:ext>
            </a:extLst>
          </p:cNvPr>
          <p:cNvSpPr/>
          <p:nvPr userDrawn="1"/>
        </p:nvSpPr>
        <p:spPr>
          <a:xfrm>
            <a:off x="19989822" y="8144980"/>
            <a:ext cx="1398954" cy="726227"/>
          </a:xfrm>
          <a:custGeom>
            <a:avLst/>
            <a:gdLst>
              <a:gd name="connsiteX0" fmla="*/ 1063 w 1198727"/>
              <a:gd name="connsiteY0" fmla="*/ 1622 h 622284"/>
              <a:gd name="connsiteX1" fmla="*/ 1199791 w 1198727"/>
              <a:gd name="connsiteY1" fmla="*/ 1622 h 622284"/>
              <a:gd name="connsiteX2" fmla="*/ 1199791 w 1198727"/>
              <a:gd name="connsiteY2" fmla="*/ 623906 h 622284"/>
              <a:gd name="connsiteX3" fmla="*/ 1063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622"/>
                </a:moveTo>
                <a:lnTo>
                  <a:pt x="1199791" y="1622"/>
                </a:lnTo>
                <a:lnTo>
                  <a:pt x="1199791" y="623906"/>
                </a:lnTo>
                <a:lnTo>
                  <a:pt x="1063" y="623906"/>
                </a:lnTo>
                <a:close/>
              </a:path>
            </a:pathLst>
          </a:custGeom>
          <a:solidFill>
            <a:srgbClr val="FFA0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4" name="Полилиния 1053">
            <a:extLst>
              <a:ext uri="{FF2B5EF4-FFF2-40B4-BE49-F238E27FC236}">
                <a16:creationId xmlns:a16="http://schemas.microsoft.com/office/drawing/2014/main" id="{446A7AE2-E99E-B135-23DB-933F4007F73D}"/>
              </a:ext>
            </a:extLst>
          </p:cNvPr>
          <p:cNvSpPr/>
          <p:nvPr userDrawn="1"/>
        </p:nvSpPr>
        <p:spPr>
          <a:xfrm>
            <a:off x="20113031" y="8446726"/>
            <a:ext cx="701329" cy="128468"/>
          </a:xfrm>
          <a:custGeom>
            <a:avLst/>
            <a:gdLst>
              <a:gd name="connsiteX0" fmla="*/ 22098 w 600950"/>
              <a:gd name="connsiteY0" fmla="*/ 108588 h 110081"/>
              <a:gd name="connsiteX1" fmla="*/ 10147 w 600950"/>
              <a:gd name="connsiteY1" fmla="*/ 108588 h 110081"/>
              <a:gd name="connsiteX2" fmla="*/ 16434 w 600950"/>
              <a:gd name="connsiteY2" fmla="*/ 77661 h 110081"/>
              <a:gd name="connsiteX3" fmla="*/ 0 w 600950"/>
              <a:gd name="connsiteY3" fmla="*/ 77661 h 110081"/>
              <a:gd name="connsiteX4" fmla="*/ 0 w 600950"/>
              <a:gd name="connsiteY4" fmla="*/ 67206 h 110081"/>
              <a:gd name="connsiteX5" fmla="*/ 18675 w 600950"/>
              <a:gd name="connsiteY5" fmla="*/ 67206 h 110081"/>
              <a:gd name="connsiteX6" fmla="*/ 24215 w 600950"/>
              <a:gd name="connsiteY6" fmla="*/ 40012 h 110081"/>
              <a:gd name="connsiteX7" fmla="*/ 4046 w 600950"/>
              <a:gd name="connsiteY7" fmla="*/ 40012 h 110081"/>
              <a:gd name="connsiteX8" fmla="*/ 4046 w 600950"/>
              <a:gd name="connsiteY8" fmla="*/ 29559 h 110081"/>
              <a:gd name="connsiteX9" fmla="*/ 26269 w 600950"/>
              <a:gd name="connsiteY9" fmla="*/ 29559 h 110081"/>
              <a:gd name="connsiteX10" fmla="*/ 32120 w 600950"/>
              <a:gd name="connsiteY10" fmla="*/ 1493 h 110081"/>
              <a:gd name="connsiteX11" fmla="*/ 44072 w 600950"/>
              <a:gd name="connsiteY11" fmla="*/ 1493 h 110081"/>
              <a:gd name="connsiteX12" fmla="*/ 38221 w 600950"/>
              <a:gd name="connsiteY12" fmla="*/ 29559 h 110081"/>
              <a:gd name="connsiteX13" fmla="*/ 60630 w 600950"/>
              <a:gd name="connsiteY13" fmla="*/ 29559 h 110081"/>
              <a:gd name="connsiteX14" fmla="*/ 66481 w 600950"/>
              <a:gd name="connsiteY14" fmla="*/ 1493 h 110081"/>
              <a:gd name="connsiteX15" fmla="*/ 78434 w 600950"/>
              <a:gd name="connsiteY15" fmla="*/ 1493 h 110081"/>
              <a:gd name="connsiteX16" fmla="*/ 72582 w 600950"/>
              <a:gd name="connsiteY16" fmla="*/ 29559 h 110081"/>
              <a:gd name="connsiteX17" fmla="*/ 89327 w 600950"/>
              <a:gd name="connsiteY17" fmla="*/ 29559 h 110081"/>
              <a:gd name="connsiteX18" fmla="*/ 89327 w 600950"/>
              <a:gd name="connsiteY18" fmla="*/ 40012 h 110081"/>
              <a:gd name="connsiteX19" fmla="*/ 70528 w 600950"/>
              <a:gd name="connsiteY19" fmla="*/ 40012 h 110081"/>
              <a:gd name="connsiteX20" fmla="*/ 64988 w 600950"/>
              <a:gd name="connsiteY20" fmla="*/ 67206 h 110081"/>
              <a:gd name="connsiteX21" fmla="*/ 85281 w 600950"/>
              <a:gd name="connsiteY21" fmla="*/ 67206 h 110081"/>
              <a:gd name="connsiteX22" fmla="*/ 85281 w 600950"/>
              <a:gd name="connsiteY22" fmla="*/ 77661 h 110081"/>
              <a:gd name="connsiteX23" fmla="*/ 62747 w 600950"/>
              <a:gd name="connsiteY23" fmla="*/ 77661 h 110081"/>
              <a:gd name="connsiteX24" fmla="*/ 56459 w 600950"/>
              <a:gd name="connsiteY24" fmla="*/ 108588 h 110081"/>
              <a:gd name="connsiteX25" fmla="*/ 44508 w 600950"/>
              <a:gd name="connsiteY25" fmla="*/ 108588 h 110081"/>
              <a:gd name="connsiteX26" fmla="*/ 50795 w 600950"/>
              <a:gd name="connsiteY26" fmla="*/ 77661 h 110081"/>
              <a:gd name="connsiteX27" fmla="*/ 28385 w 600950"/>
              <a:gd name="connsiteY27" fmla="*/ 77661 h 110081"/>
              <a:gd name="connsiteX28" fmla="*/ 22098 w 600950"/>
              <a:gd name="connsiteY28" fmla="*/ 108588 h 110081"/>
              <a:gd name="connsiteX29" fmla="*/ 30626 w 600950"/>
              <a:gd name="connsiteY29" fmla="*/ 67206 h 110081"/>
              <a:gd name="connsiteX30" fmla="*/ 53036 w 600950"/>
              <a:gd name="connsiteY30" fmla="*/ 67206 h 110081"/>
              <a:gd name="connsiteX31" fmla="*/ 58576 w 600950"/>
              <a:gd name="connsiteY31" fmla="*/ 40012 h 110081"/>
              <a:gd name="connsiteX32" fmla="*/ 36166 w 600950"/>
              <a:gd name="connsiteY32" fmla="*/ 40012 h 110081"/>
              <a:gd name="connsiteX33" fmla="*/ 30626 w 600950"/>
              <a:gd name="connsiteY33" fmla="*/ 67206 h 110081"/>
              <a:gd name="connsiteX34" fmla="*/ 107815 w 600950"/>
              <a:gd name="connsiteY34" fmla="*/ 1493 h 110081"/>
              <a:gd name="connsiteX35" fmla="*/ 173239 w 600950"/>
              <a:gd name="connsiteY35" fmla="*/ 1493 h 110081"/>
              <a:gd name="connsiteX36" fmla="*/ 173239 w 600950"/>
              <a:gd name="connsiteY36" fmla="*/ 14374 h 110081"/>
              <a:gd name="connsiteX37" fmla="*/ 121883 w 600950"/>
              <a:gd name="connsiteY37" fmla="*/ 14374 h 110081"/>
              <a:gd name="connsiteX38" fmla="*/ 121883 w 600950"/>
              <a:gd name="connsiteY38" fmla="*/ 49907 h 110081"/>
              <a:gd name="connsiteX39" fmla="*/ 165520 w 600950"/>
              <a:gd name="connsiteY39" fmla="*/ 49907 h 110081"/>
              <a:gd name="connsiteX40" fmla="*/ 165520 w 600950"/>
              <a:gd name="connsiteY40" fmla="*/ 62601 h 110081"/>
              <a:gd name="connsiteX41" fmla="*/ 121883 w 600950"/>
              <a:gd name="connsiteY41" fmla="*/ 62601 h 110081"/>
              <a:gd name="connsiteX42" fmla="*/ 121883 w 600950"/>
              <a:gd name="connsiteY42" fmla="*/ 108588 h 110081"/>
              <a:gd name="connsiteX43" fmla="*/ 107815 w 600950"/>
              <a:gd name="connsiteY43" fmla="*/ 108588 h 110081"/>
              <a:gd name="connsiteX44" fmla="*/ 107815 w 600950"/>
              <a:gd name="connsiteY44" fmla="*/ 1493 h 110081"/>
              <a:gd name="connsiteX45" fmla="*/ 192723 w 600950"/>
              <a:gd name="connsiteY45" fmla="*/ 1493 h 110081"/>
              <a:gd name="connsiteX46" fmla="*/ 258146 w 600950"/>
              <a:gd name="connsiteY46" fmla="*/ 1493 h 110081"/>
              <a:gd name="connsiteX47" fmla="*/ 258146 w 600950"/>
              <a:gd name="connsiteY47" fmla="*/ 14374 h 110081"/>
              <a:gd name="connsiteX48" fmla="*/ 206791 w 600950"/>
              <a:gd name="connsiteY48" fmla="*/ 14374 h 110081"/>
              <a:gd name="connsiteX49" fmla="*/ 206791 w 600950"/>
              <a:gd name="connsiteY49" fmla="*/ 49907 h 110081"/>
              <a:gd name="connsiteX50" fmla="*/ 250427 w 600950"/>
              <a:gd name="connsiteY50" fmla="*/ 49907 h 110081"/>
              <a:gd name="connsiteX51" fmla="*/ 250427 w 600950"/>
              <a:gd name="connsiteY51" fmla="*/ 62601 h 110081"/>
              <a:gd name="connsiteX52" fmla="*/ 206791 w 600950"/>
              <a:gd name="connsiteY52" fmla="*/ 62601 h 110081"/>
              <a:gd name="connsiteX53" fmla="*/ 206791 w 600950"/>
              <a:gd name="connsiteY53" fmla="*/ 108588 h 110081"/>
              <a:gd name="connsiteX54" fmla="*/ 192723 w 600950"/>
              <a:gd name="connsiteY54" fmla="*/ 108588 h 110081"/>
              <a:gd name="connsiteX55" fmla="*/ 192723 w 600950"/>
              <a:gd name="connsiteY55" fmla="*/ 1493 h 110081"/>
              <a:gd name="connsiteX56" fmla="*/ 358056 w 600950"/>
              <a:gd name="connsiteY56" fmla="*/ 108588 h 110081"/>
              <a:gd name="connsiteX57" fmla="*/ 343116 w 600950"/>
              <a:gd name="connsiteY57" fmla="*/ 108588 h 110081"/>
              <a:gd name="connsiteX58" fmla="*/ 332036 w 600950"/>
              <a:gd name="connsiteY58" fmla="*/ 77972 h 110081"/>
              <a:gd name="connsiteX59" fmla="*/ 284727 w 600950"/>
              <a:gd name="connsiteY59" fmla="*/ 77972 h 110081"/>
              <a:gd name="connsiteX60" fmla="*/ 273771 w 600950"/>
              <a:gd name="connsiteY60" fmla="*/ 108588 h 110081"/>
              <a:gd name="connsiteX61" fmla="*/ 260636 w 600950"/>
              <a:gd name="connsiteY61" fmla="*/ 108588 h 110081"/>
              <a:gd name="connsiteX62" fmla="*/ 298733 w 600950"/>
              <a:gd name="connsiteY62" fmla="*/ 1493 h 110081"/>
              <a:gd name="connsiteX63" fmla="*/ 319648 w 600950"/>
              <a:gd name="connsiteY63" fmla="*/ 1493 h 110081"/>
              <a:gd name="connsiteX64" fmla="*/ 358056 w 600950"/>
              <a:gd name="connsiteY64" fmla="*/ 108588 h 110081"/>
              <a:gd name="connsiteX65" fmla="*/ 289333 w 600950"/>
              <a:gd name="connsiteY65" fmla="*/ 65278 h 110081"/>
              <a:gd name="connsiteX66" fmla="*/ 327554 w 600950"/>
              <a:gd name="connsiteY66" fmla="*/ 65278 h 110081"/>
              <a:gd name="connsiteX67" fmla="*/ 308443 w 600950"/>
              <a:gd name="connsiteY67" fmla="*/ 11947 h 110081"/>
              <a:gd name="connsiteX68" fmla="*/ 289333 w 600950"/>
              <a:gd name="connsiteY68" fmla="*/ 65278 h 110081"/>
              <a:gd name="connsiteX69" fmla="*/ 402501 w 600950"/>
              <a:gd name="connsiteY69" fmla="*/ 110082 h 110081"/>
              <a:gd name="connsiteX70" fmla="*/ 384263 w 600950"/>
              <a:gd name="connsiteY70" fmla="*/ 104233 h 110081"/>
              <a:gd name="connsiteX71" fmla="*/ 371564 w 600950"/>
              <a:gd name="connsiteY71" fmla="*/ 86311 h 110081"/>
              <a:gd name="connsiteX72" fmla="*/ 367082 w 600950"/>
              <a:gd name="connsiteY72" fmla="*/ 54947 h 110081"/>
              <a:gd name="connsiteX73" fmla="*/ 371564 w 600950"/>
              <a:gd name="connsiteY73" fmla="*/ 23584 h 110081"/>
              <a:gd name="connsiteX74" fmla="*/ 384263 w 600950"/>
              <a:gd name="connsiteY74" fmla="*/ 5849 h 110081"/>
              <a:gd name="connsiteX75" fmla="*/ 402501 w 600950"/>
              <a:gd name="connsiteY75" fmla="*/ 186 h 110081"/>
              <a:gd name="connsiteX76" fmla="*/ 420554 w 600950"/>
              <a:gd name="connsiteY76" fmla="*/ 5849 h 110081"/>
              <a:gd name="connsiteX77" fmla="*/ 432941 w 600950"/>
              <a:gd name="connsiteY77" fmla="*/ 23584 h 110081"/>
              <a:gd name="connsiteX78" fmla="*/ 437423 w 600950"/>
              <a:gd name="connsiteY78" fmla="*/ 54698 h 110081"/>
              <a:gd name="connsiteX79" fmla="*/ 432941 w 600950"/>
              <a:gd name="connsiteY79" fmla="*/ 86062 h 110081"/>
              <a:gd name="connsiteX80" fmla="*/ 420554 w 600950"/>
              <a:gd name="connsiteY80" fmla="*/ 104233 h 110081"/>
              <a:gd name="connsiteX81" fmla="*/ 402501 w 600950"/>
              <a:gd name="connsiteY81" fmla="*/ 110082 h 110081"/>
              <a:gd name="connsiteX82" fmla="*/ 402315 w 600950"/>
              <a:gd name="connsiteY82" fmla="*/ 98258 h 110081"/>
              <a:gd name="connsiteX83" fmla="*/ 413706 w 600950"/>
              <a:gd name="connsiteY83" fmla="*/ 94275 h 110081"/>
              <a:gd name="connsiteX84" fmla="*/ 420865 w 600950"/>
              <a:gd name="connsiteY84" fmla="*/ 80648 h 110081"/>
              <a:gd name="connsiteX85" fmla="*/ 423417 w 600950"/>
              <a:gd name="connsiteY85" fmla="*/ 55134 h 110081"/>
              <a:gd name="connsiteX86" fmla="*/ 420990 w 600950"/>
              <a:gd name="connsiteY86" fmla="*/ 29745 h 110081"/>
              <a:gd name="connsiteX87" fmla="*/ 413831 w 600950"/>
              <a:gd name="connsiteY87" fmla="*/ 16117 h 110081"/>
              <a:gd name="connsiteX88" fmla="*/ 402501 w 600950"/>
              <a:gd name="connsiteY88" fmla="*/ 11947 h 110081"/>
              <a:gd name="connsiteX89" fmla="*/ 390985 w 600950"/>
              <a:gd name="connsiteY89" fmla="*/ 16117 h 110081"/>
              <a:gd name="connsiteX90" fmla="*/ 383640 w 600950"/>
              <a:gd name="connsiteY90" fmla="*/ 29745 h 110081"/>
              <a:gd name="connsiteX91" fmla="*/ 381150 w 600950"/>
              <a:gd name="connsiteY91" fmla="*/ 55134 h 110081"/>
              <a:gd name="connsiteX92" fmla="*/ 383516 w 600950"/>
              <a:gd name="connsiteY92" fmla="*/ 80648 h 110081"/>
              <a:gd name="connsiteX93" fmla="*/ 390861 w 600950"/>
              <a:gd name="connsiteY93" fmla="*/ 94275 h 110081"/>
              <a:gd name="connsiteX94" fmla="*/ 402315 w 600950"/>
              <a:gd name="connsiteY94" fmla="*/ 98258 h 110081"/>
              <a:gd name="connsiteX95" fmla="*/ 484795 w 600950"/>
              <a:gd name="connsiteY95" fmla="*/ 110082 h 110081"/>
              <a:gd name="connsiteX96" fmla="*/ 466120 w 600950"/>
              <a:gd name="connsiteY96" fmla="*/ 106473 h 110081"/>
              <a:gd name="connsiteX97" fmla="*/ 453421 w 600950"/>
              <a:gd name="connsiteY97" fmla="*/ 96205 h 110081"/>
              <a:gd name="connsiteX98" fmla="*/ 448752 w 600950"/>
              <a:gd name="connsiteY98" fmla="*/ 79777 h 110081"/>
              <a:gd name="connsiteX99" fmla="*/ 454168 w 600950"/>
              <a:gd name="connsiteY99" fmla="*/ 62291 h 110081"/>
              <a:gd name="connsiteX100" fmla="*/ 468921 w 600950"/>
              <a:gd name="connsiteY100" fmla="*/ 51711 h 110081"/>
              <a:gd name="connsiteX101" fmla="*/ 456969 w 600950"/>
              <a:gd name="connsiteY101" fmla="*/ 42564 h 110081"/>
              <a:gd name="connsiteX102" fmla="*/ 452674 w 600950"/>
              <a:gd name="connsiteY102" fmla="*/ 27504 h 110081"/>
              <a:gd name="connsiteX103" fmla="*/ 456845 w 600950"/>
              <a:gd name="connsiteY103" fmla="*/ 12570 h 110081"/>
              <a:gd name="connsiteX104" fmla="*/ 468361 w 600950"/>
              <a:gd name="connsiteY104" fmla="*/ 3298 h 110081"/>
              <a:gd name="connsiteX105" fmla="*/ 484795 w 600950"/>
              <a:gd name="connsiteY105" fmla="*/ 186 h 110081"/>
              <a:gd name="connsiteX106" fmla="*/ 500917 w 600950"/>
              <a:gd name="connsiteY106" fmla="*/ 3298 h 110081"/>
              <a:gd name="connsiteX107" fmla="*/ 512246 w 600950"/>
              <a:gd name="connsiteY107" fmla="*/ 12259 h 110081"/>
              <a:gd name="connsiteX108" fmla="*/ 516604 w 600950"/>
              <a:gd name="connsiteY108" fmla="*/ 27194 h 110081"/>
              <a:gd name="connsiteX109" fmla="*/ 512122 w 600950"/>
              <a:gd name="connsiteY109" fmla="*/ 42439 h 110081"/>
              <a:gd name="connsiteX110" fmla="*/ 500295 w 600950"/>
              <a:gd name="connsiteY110" fmla="*/ 51711 h 110081"/>
              <a:gd name="connsiteX111" fmla="*/ 514674 w 600950"/>
              <a:gd name="connsiteY111" fmla="*/ 61855 h 110081"/>
              <a:gd name="connsiteX112" fmla="*/ 520152 w 600950"/>
              <a:gd name="connsiteY112" fmla="*/ 79341 h 110081"/>
              <a:gd name="connsiteX113" fmla="*/ 515545 w 600950"/>
              <a:gd name="connsiteY113" fmla="*/ 95893 h 110081"/>
              <a:gd name="connsiteX114" fmla="*/ 502847 w 600950"/>
              <a:gd name="connsiteY114" fmla="*/ 106473 h 110081"/>
              <a:gd name="connsiteX115" fmla="*/ 484795 w 600950"/>
              <a:gd name="connsiteY115" fmla="*/ 110082 h 110081"/>
              <a:gd name="connsiteX116" fmla="*/ 484795 w 600950"/>
              <a:gd name="connsiteY116" fmla="*/ 46298 h 110081"/>
              <a:gd name="connsiteX117" fmla="*/ 497742 w 600950"/>
              <a:gd name="connsiteY117" fmla="*/ 41817 h 110081"/>
              <a:gd name="connsiteX118" fmla="*/ 502971 w 600950"/>
              <a:gd name="connsiteY118" fmla="*/ 29122 h 110081"/>
              <a:gd name="connsiteX119" fmla="*/ 497742 w 600950"/>
              <a:gd name="connsiteY119" fmla="*/ 16615 h 110081"/>
              <a:gd name="connsiteX120" fmla="*/ 484795 w 600950"/>
              <a:gd name="connsiteY120" fmla="*/ 11947 h 110081"/>
              <a:gd name="connsiteX121" fmla="*/ 471473 w 600950"/>
              <a:gd name="connsiteY121" fmla="*/ 16615 h 110081"/>
              <a:gd name="connsiteX122" fmla="*/ 466245 w 600950"/>
              <a:gd name="connsiteY122" fmla="*/ 29122 h 110081"/>
              <a:gd name="connsiteX123" fmla="*/ 471473 w 600950"/>
              <a:gd name="connsiteY123" fmla="*/ 41817 h 110081"/>
              <a:gd name="connsiteX124" fmla="*/ 484795 w 600950"/>
              <a:gd name="connsiteY124" fmla="*/ 46298 h 110081"/>
              <a:gd name="connsiteX125" fmla="*/ 484795 w 600950"/>
              <a:gd name="connsiteY125" fmla="*/ 98258 h 110081"/>
              <a:gd name="connsiteX126" fmla="*/ 500170 w 600950"/>
              <a:gd name="connsiteY126" fmla="*/ 92907 h 110081"/>
              <a:gd name="connsiteX127" fmla="*/ 506457 w 600950"/>
              <a:gd name="connsiteY127" fmla="*/ 77536 h 110081"/>
              <a:gd name="connsiteX128" fmla="*/ 500170 w 600950"/>
              <a:gd name="connsiteY128" fmla="*/ 62291 h 110081"/>
              <a:gd name="connsiteX129" fmla="*/ 484795 w 600950"/>
              <a:gd name="connsiteY129" fmla="*/ 56752 h 110081"/>
              <a:gd name="connsiteX130" fmla="*/ 468796 w 600950"/>
              <a:gd name="connsiteY130" fmla="*/ 62291 h 110081"/>
              <a:gd name="connsiteX131" fmla="*/ 462509 w 600950"/>
              <a:gd name="connsiteY131" fmla="*/ 77536 h 110081"/>
              <a:gd name="connsiteX132" fmla="*/ 468796 w 600950"/>
              <a:gd name="connsiteY132" fmla="*/ 92907 h 110081"/>
              <a:gd name="connsiteX133" fmla="*/ 484795 w 600950"/>
              <a:gd name="connsiteY133" fmla="*/ 98258 h 110081"/>
              <a:gd name="connsiteX134" fmla="*/ 600951 w 600950"/>
              <a:gd name="connsiteY134" fmla="*/ 108588 h 110081"/>
              <a:gd name="connsiteX135" fmla="*/ 532726 w 600950"/>
              <a:gd name="connsiteY135" fmla="*/ 108588 h 110081"/>
              <a:gd name="connsiteX136" fmla="*/ 532726 w 600950"/>
              <a:gd name="connsiteY136" fmla="*/ 94400 h 110081"/>
              <a:gd name="connsiteX137" fmla="*/ 558871 w 600950"/>
              <a:gd name="connsiteY137" fmla="*/ 72433 h 110081"/>
              <a:gd name="connsiteX138" fmla="*/ 574807 w 600950"/>
              <a:gd name="connsiteY138" fmla="*/ 56628 h 110081"/>
              <a:gd name="connsiteX139" fmla="*/ 582899 w 600950"/>
              <a:gd name="connsiteY139" fmla="*/ 43933 h 110081"/>
              <a:gd name="connsiteX140" fmla="*/ 585265 w 600950"/>
              <a:gd name="connsiteY140" fmla="*/ 32109 h 110081"/>
              <a:gd name="connsiteX141" fmla="*/ 579787 w 600950"/>
              <a:gd name="connsiteY141" fmla="*/ 17610 h 110081"/>
              <a:gd name="connsiteX142" fmla="*/ 564535 w 600950"/>
              <a:gd name="connsiteY142" fmla="*/ 12383 h 110081"/>
              <a:gd name="connsiteX143" fmla="*/ 535528 w 600950"/>
              <a:gd name="connsiteY143" fmla="*/ 27194 h 110081"/>
              <a:gd name="connsiteX144" fmla="*/ 535528 w 600950"/>
              <a:gd name="connsiteY144" fmla="*/ 12134 h 110081"/>
              <a:gd name="connsiteX145" fmla="*/ 564972 w 600950"/>
              <a:gd name="connsiteY145" fmla="*/ 0 h 110081"/>
              <a:gd name="connsiteX146" fmla="*/ 590369 w 600950"/>
              <a:gd name="connsiteY146" fmla="*/ 8401 h 110081"/>
              <a:gd name="connsiteX147" fmla="*/ 599768 w 600950"/>
              <a:gd name="connsiteY147" fmla="*/ 30803 h 110081"/>
              <a:gd name="connsiteX148" fmla="*/ 597403 w 600950"/>
              <a:gd name="connsiteY148" fmla="*/ 44804 h 110081"/>
              <a:gd name="connsiteX149" fmla="*/ 589310 w 600950"/>
              <a:gd name="connsiteY149" fmla="*/ 58681 h 110081"/>
              <a:gd name="connsiteX150" fmla="*/ 573624 w 600950"/>
              <a:gd name="connsiteY150" fmla="*/ 74860 h 110081"/>
              <a:gd name="connsiteX151" fmla="*/ 548226 w 600950"/>
              <a:gd name="connsiteY151" fmla="*/ 95769 h 110081"/>
              <a:gd name="connsiteX152" fmla="*/ 600951 w 600950"/>
              <a:gd name="connsiteY152" fmla="*/ 95769 h 110081"/>
              <a:gd name="connsiteX153" fmla="*/ 600951 w 600950"/>
              <a:gd name="connsiteY153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00950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58056" y="108588"/>
                </a:moveTo>
                <a:lnTo>
                  <a:pt x="343116" y="108588"/>
                </a:lnTo>
                <a:lnTo>
                  <a:pt x="332036" y="77972"/>
                </a:lnTo>
                <a:lnTo>
                  <a:pt x="284727" y="77972"/>
                </a:lnTo>
                <a:lnTo>
                  <a:pt x="273771" y="108588"/>
                </a:lnTo>
                <a:lnTo>
                  <a:pt x="260636" y="108588"/>
                </a:lnTo>
                <a:lnTo>
                  <a:pt x="298733" y="1493"/>
                </a:lnTo>
                <a:lnTo>
                  <a:pt x="319648" y="1493"/>
                </a:lnTo>
                <a:lnTo>
                  <a:pt x="358056" y="108588"/>
                </a:lnTo>
                <a:close/>
                <a:moveTo>
                  <a:pt x="289333" y="65278"/>
                </a:moveTo>
                <a:lnTo>
                  <a:pt x="327554" y="65278"/>
                </a:lnTo>
                <a:lnTo>
                  <a:pt x="308443" y="11947"/>
                </a:lnTo>
                <a:lnTo>
                  <a:pt x="289333" y="65278"/>
                </a:lnTo>
                <a:close/>
                <a:moveTo>
                  <a:pt x="402501" y="110082"/>
                </a:moveTo>
                <a:cubicBezTo>
                  <a:pt x="395716" y="110082"/>
                  <a:pt x="389616" y="108153"/>
                  <a:pt x="384263" y="104233"/>
                </a:cubicBezTo>
                <a:cubicBezTo>
                  <a:pt x="378909" y="100374"/>
                  <a:pt x="374676" y="94400"/>
                  <a:pt x="371564" y="86311"/>
                </a:cubicBezTo>
                <a:cubicBezTo>
                  <a:pt x="368576" y="78159"/>
                  <a:pt x="367082" y="67705"/>
                  <a:pt x="367082" y="54947"/>
                </a:cubicBezTo>
                <a:cubicBezTo>
                  <a:pt x="367082" y="42128"/>
                  <a:pt x="368576" y="31674"/>
                  <a:pt x="371564" y="23584"/>
                </a:cubicBezTo>
                <a:cubicBezTo>
                  <a:pt x="374676" y="15557"/>
                  <a:pt x="378909" y="9645"/>
                  <a:pt x="384263" y="5849"/>
                </a:cubicBezTo>
                <a:cubicBezTo>
                  <a:pt x="389616" y="2053"/>
                  <a:pt x="395716" y="186"/>
                  <a:pt x="402501" y="186"/>
                </a:cubicBezTo>
                <a:cubicBezTo>
                  <a:pt x="409287" y="186"/>
                  <a:pt x="415263" y="2053"/>
                  <a:pt x="420554" y="5849"/>
                </a:cubicBezTo>
                <a:cubicBezTo>
                  <a:pt x="425845" y="9645"/>
                  <a:pt x="429953" y="15557"/>
                  <a:pt x="432941" y="23584"/>
                </a:cubicBezTo>
                <a:cubicBezTo>
                  <a:pt x="435930" y="31549"/>
                  <a:pt x="437423" y="41942"/>
                  <a:pt x="437423" y="54698"/>
                </a:cubicBezTo>
                <a:cubicBezTo>
                  <a:pt x="437423" y="67331"/>
                  <a:pt x="435930" y="77786"/>
                  <a:pt x="432941" y="86062"/>
                </a:cubicBezTo>
                <a:cubicBezTo>
                  <a:pt x="429953" y="94213"/>
                  <a:pt x="425845" y="100250"/>
                  <a:pt x="420554" y="104233"/>
                </a:cubicBezTo>
                <a:cubicBezTo>
                  <a:pt x="415263" y="108153"/>
                  <a:pt x="409287" y="110082"/>
                  <a:pt x="402501" y="110082"/>
                </a:cubicBezTo>
                <a:close/>
                <a:moveTo>
                  <a:pt x="402315" y="98258"/>
                </a:moveTo>
                <a:cubicBezTo>
                  <a:pt x="406797" y="98258"/>
                  <a:pt x="410594" y="96952"/>
                  <a:pt x="413706" y="94275"/>
                </a:cubicBezTo>
                <a:cubicBezTo>
                  <a:pt x="416881" y="91475"/>
                  <a:pt x="419247" y="86933"/>
                  <a:pt x="420865" y="80648"/>
                </a:cubicBezTo>
                <a:cubicBezTo>
                  <a:pt x="422546" y="74300"/>
                  <a:pt x="423417" y="65775"/>
                  <a:pt x="423417" y="55134"/>
                </a:cubicBezTo>
                <a:cubicBezTo>
                  <a:pt x="423417" y="44493"/>
                  <a:pt x="422608" y="36030"/>
                  <a:pt x="420990" y="29745"/>
                </a:cubicBezTo>
                <a:cubicBezTo>
                  <a:pt x="419433" y="23336"/>
                  <a:pt x="417006" y="18855"/>
                  <a:pt x="413831" y="16117"/>
                </a:cubicBezTo>
                <a:cubicBezTo>
                  <a:pt x="410781" y="13379"/>
                  <a:pt x="406984" y="11947"/>
                  <a:pt x="402501" y="11947"/>
                </a:cubicBezTo>
                <a:cubicBezTo>
                  <a:pt x="398019" y="11947"/>
                  <a:pt x="394160" y="13379"/>
                  <a:pt x="390985" y="16117"/>
                </a:cubicBezTo>
                <a:cubicBezTo>
                  <a:pt x="387811" y="18855"/>
                  <a:pt x="385383" y="23336"/>
                  <a:pt x="383640" y="29745"/>
                </a:cubicBezTo>
                <a:cubicBezTo>
                  <a:pt x="381959" y="36030"/>
                  <a:pt x="381150" y="44493"/>
                  <a:pt x="381150" y="55134"/>
                </a:cubicBezTo>
                <a:cubicBezTo>
                  <a:pt x="381150" y="65775"/>
                  <a:pt x="381897" y="74300"/>
                  <a:pt x="383516" y="80648"/>
                </a:cubicBezTo>
                <a:cubicBezTo>
                  <a:pt x="385197" y="86933"/>
                  <a:pt x="387624" y="91475"/>
                  <a:pt x="390861" y="94275"/>
                </a:cubicBezTo>
                <a:cubicBezTo>
                  <a:pt x="394035" y="96952"/>
                  <a:pt x="397832" y="98258"/>
                  <a:pt x="402315" y="98258"/>
                </a:cubicBezTo>
                <a:close/>
                <a:moveTo>
                  <a:pt x="484795" y="110082"/>
                </a:moveTo>
                <a:cubicBezTo>
                  <a:pt x="477823" y="110082"/>
                  <a:pt x="471598" y="108900"/>
                  <a:pt x="466120" y="106473"/>
                </a:cubicBezTo>
                <a:cubicBezTo>
                  <a:pt x="460705" y="104108"/>
                  <a:pt x="456471" y="100685"/>
                  <a:pt x="453421" y="96205"/>
                </a:cubicBezTo>
                <a:cubicBezTo>
                  <a:pt x="450309" y="91600"/>
                  <a:pt x="448752" y="86124"/>
                  <a:pt x="448752" y="79777"/>
                </a:cubicBezTo>
                <a:cubicBezTo>
                  <a:pt x="448752" y="72869"/>
                  <a:pt x="450558" y="67082"/>
                  <a:pt x="454168" y="62291"/>
                </a:cubicBezTo>
                <a:cubicBezTo>
                  <a:pt x="457841" y="57437"/>
                  <a:pt x="462758" y="53889"/>
                  <a:pt x="468921" y="51711"/>
                </a:cubicBezTo>
                <a:cubicBezTo>
                  <a:pt x="463942" y="49720"/>
                  <a:pt x="459958" y="46671"/>
                  <a:pt x="456969" y="42564"/>
                </a:cubicBezTo>
                <a:cubicBezTo>
                  <a:pt x="454106" y="38519"/>
                  <a:pt x="452674" y="33479"/>
                  <a:pt x="452674" y="27504"/>
                </a:cubicBezTo>
                <a:cubicBezTo>
                  <a:pt x="452674" y="21593"/>
                  <a:pt x="454043" y="16615"/>
                  <a:pt x="456845" y="12570"/>
                </a:cubicBezTo>
                <a:cubicBezTo>
                  <a:pt x="459646" y="8463"/>
                  <a:pt x="463443" y="5414"/>
                  <a:pt x="468361" y="3298"/>
                </a:cubicBezTo>
                <a:cubicBezTo>
                  <a:pt x="473217" y="1182"/>
                  <a:pt x="478695" y="186"/>
                  <a:pt x="484795" y="186"/>
                </a:cubicBezTo>
                <a:cubicBezTo>
                  <a:pt x="490771" y="186"/>
                  <a:pt x="496124" y="1182"/>
                  <a:pt x="500917" y="3298"/>
                </a:cubicBezTo>
                <a:cubicBezTo>
                  <a:pt x="505710" y="5289"/>
                  <a:pt x="509445" y="8276"/>
                  <a:pt x="512246" y="12259"/>
                </a:cubicBezTo>
                <a:cubicBezTo>
                  <a:pt x="515172" y="16242"/>
                  <a:pt x="516604" y="21219"/>
                  <a:pt x="516604" y="27194"/>
                </a:cubicBezTo>
                <a:cubicBezTo>
                  <a:pt x="516604" y="33292"/>
                  <a:pt x="515110" y="38332"/>
                  <a:pt x="512122" y="42439"/>
                </a:cubicBezTo>
                <a:cubicBezTo>
                  <a:pt x="509134" y="46484"/>
                  <a:pt x="505212" y="49596"/>
                  <a:pt x="500295" y="51711"/>
                </a:cubicBezTo>
                <a:cubicBezTo>
                  <a:pt x="506270" y="53765"/>
                  <a:pt x="511064" y="57188"/>
                  <a:pt x="514674" y="61855"/>
                </a:cubicBezTo>
                <a:cubicBezTo>
                  <a:pt x="518347" y="66522"/>
                  <a:pt x="520152" y="72372"/>
                  <a:pt x="520152" y="79341"/>
                </a:cubicBezTo>
                <a:cubicBezTo>
                  <a:pt x="520152" y="85688"/>
                  <a:pt x="518658" y="91226"/>
                  <a:pt x="515545" y="95893"/>
                </a:cubicBezTo>
                <a:cubicBezTo>
                  <a:pt x="512433" y="100498"/>
                  <a:pt x="508201" y="103983"/>
                  <a:pt x="502847" y="106473"/>
                </a:cubicBezTo>
                <a:cubicBezTo>
                  <a:pt x="497555" y="108900"/>
                  <a:pt x="491517" y="110082"/>
                  <a:pt x="484795" y="110082"/>
                </a:cubicBezTo>
                <a:close/>
                <a:moveTo>
                  <a:pt x="484795" y="46298"/>
                </a:moveTo>
                <a:cubicBezTo>
                  <a:pt x="490024" y="46298"/>
                  <a:pt x="494381" y="44804"/>
                  <a:pt x="497742" y="41817"/>
                </a:cubicBezTo>
                <a:cubicBezTo>
                  <a:pt x="501229" y="38768"/>
                  <a:pt x="502971" y="34536"/>
                  <a:pt x="502971" y="29122"/>
                </a:cubicBezTo>
                <a:cubicBezTo>
                  <a:pt x="502971" y="23771"/>
                  <a:pt x="501229" y="19601"/>
                  <a:pt x="497742" y="16615"/>
                </a:cubicBezTo>
                <a:cubicBezTo>
                  <a:pt x="494381" y="13503"/>
                  <a:pt x="490024" y="11947"/>
                  <a:pt x="484795" y="11947"/>
                </a:cubicBezTo>
                <a:cubicBezTo>
                  <a:pt x="479504" y="11947"/>
                  <a:pt x="475084" y="13503"/>
                  <a:pt x="471473" y="16615"/>
                </a:cubicBezTo>
                <a:cubicBezTo>
                  <a:pt x="467987" y="19601"/>
                  <a:pt x="466245" y="23771"/>
                  <a:pt x="466245" y="29122"/>
                </a:cubicBezTo>
                <a:cubicBezTo>
                  <a:pt x="466245" y="34536"/>
                  <a:pt x="467987" y="38768"/>
                  <a:pt x="471473" y="41817"/>
                </a:cubicBezTo>
                <a:cubicBezTo>
                  <a:pt x="475084" y="44804"/>
                  <a:pt x="479504" y="46298"/>
                  <a:pt x="484795" y="46298"/>
                </a:cubicBezTo>
                <a:close/>
                <a:moveTo>
                  <a:pt x="484795" y="98258"/>
                </a:moveTo>
                <a:cubicBezTo>
                  <a:pt x="490957" y="98258"/>
                  <a:pt x="496062" y="96516"/>
                  <a:pt x="500170" y="92907"/>
                </a:cubicBezTo>
                <a:cubicBezTo>
                  <a:pt x="504341" y="89235"/>
                  <a:pt x="506457" y="84071"/>
                  <a:pt x="506457" y="77536"/>
                </a:cubicBezTo>
                <a:cubicBezTo>
                  <a:pt x="506457" y="70940"/>
                  <a:pt x="504341" y="65900"/>
                  <a:pt x="500170" y="62291"/>
                </a:cubicBezTo>
                <a:cubicBezTo>
                  <a:pt x="496062" y="58619"/>
                  <a:pt x="490957" y="56752"/>
                  <a:pt x="484795" y="56752"/>
                </a:cubicBezTo>
                <a:cubicBezTo>
                  <a:pt x="478383" y="56752"/>
                  <a:pt x="473092" y="58619"/>
                  <a:pt x="468796" y="62291"/>
                </a:cubicBezTo>
                <a:cubicBezTo>
                  <a:pt x="464626" y="65900"/>
                  <a:pt x="462509" y="70940"/>
                  <a:pt x="462509" y="77536"/>
                </a:cubicBezTo>
                <a:cubicBezTo>
                  <a:pt x="462509" y="84071"/>
                  <a:pt x="464626" y="89235"/>
                  <a:pt x="468796" y="92907"/>
                </a:cubicBezTo>
                <a:cubicBezTo>
                  <a:pt x="473092" y="96516"/>
                  <a:pt x="478383" y="98258"/>
                  <a:pt x="484795" y="98258"/>
                </a:cubicBezTo>
                <a:close/>
                <a:moveTo>
                  <a:pt x="600951" y="108588"/>
                </a:moveTo>
                <a:lnTo>
                  <a:pt x="532726" y="108588"/>
                </a:lnTo>
                <a:lnTo>
                  <a:pt x="532726" y="94400"/>
                </a:lnTo>
                <a:cubicBezTo>
                  <a:pt x="543371" y="85812"/>
                  <a:pt x="552086" y="78532"/>
                  <a:pt x="558871" y="72433"/>
                </a:cubicBezTo>
                <a:cubicBezTo>
                  <a:pt x="565719" y="66397"/>
                  <a:pt x="571072" y="61108"/>
                  <a:pt x="574807" y="56628"/>
                </a:cubicBezTo>
                <a:cubicBezTo>
                  <a:pt x="578728" y="52023"/>
                  <a:pt x="581405" y="47791"/>
                  <a:pt x="582899" y="43933"/>
                </a:cubicBezTo>
                <a:cubicBezTo>
                  <a:pt x="584518" y="40012"/>
                  <a:pt x="585265" y="36092"/>
                  <a:pt x="585265" y="32109"/>
                </a:cubicBezTo>
                <a:cubicBezTo>
                  <a:pt x="585265" y="25949"/>
                  <a:pt x="583459" y="21095"/>
                  <a:pt x="579787" y="17610"/>
                </a:cubicBezTo>
                <a:cubicBezTo>
                  <a:pt x="576051" y="14125"/>
                  <a:pt x="571010" y="12383"/>
                  <a:pt x="564535" y="12383"/>
                </a:cubicBezTo>
                <a:cubicBezTo>
                  <a:pt x="554140" y="12383"/>
                  <a:pt x="544491" y="17361"/>
                  <a:pt x="535528" y="27194"/>
                </a:cubicBezTo>
                <a:lnTo>
                  <a:pt x="535528" y="12134"/>
                </a:lnTo>
                <a:cubicBezTo>
                  <a:pt x="543807" y="4044"/>
                  <a:pt x="553642" y="0"/>
                  <a:pt x="564972" y="0"/>
                </a:cubicBezTo>
                <a:cubicBezTo>
                  <a:pt x="575740" y="0"/>
                  <a:pt x="584206" y="2800"/>
                  <a:pt x="590369" y="8401"/>
                </a:cubicBezTo>
                <a:cubicBezTo>
                  <a:pt x="596656" y="13877"/>
                  <a:pt x="599768" y="21344"/>
                  <a:pt x="599768" y="30803"/>
                </a:cubicBezTo>
                <a:cubicBezTo>
                  <a:pt x="599768" y="35657"/>
                  <a:pt x="598959" y="40324"/>
                  <a:pt x="597403" y="44804"/>
                </a:cubicBezTo>
                <a:cubicBezTo>
                  <a:pt x="595909" y="49222"/>
                  <a:pt x="593232" y="53827"/>
                  <a:pt x="589310" y="58681"/>
                </a:cubicBezTo>
                <a:cubicBezTo>
                  <a:pt x="585513" y="63473"/>
                  <a:pt x="580285" y="68887"/>
                  <a:pt x="573624" y="74860"/>
                </a:cubicBezTo>
                <a:cubicBezTo>
                  <a:pt x="566963" y="80835"/>
                  <a:pt x="558497" y="87804"/>
                  <a:pt x="548226" y="95769"/>
                </a:cubicBezTo>
                <a:lnTo>
                  <a:pt x="600951" y="95769"/>
                </a:lnTo>
                <a:lnTo>
                  <a:pt x="600951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5" name="Полилиния 1054">
            <a:extLst>
              <a:ext uri="{FF2B5EF4-FFF2-40B4-BE49-F238E27FC236}">
                <a16:creationId xmlns:a16="http://schemas.microsoft.com/office/drawing/2014/main" id="{4C99AE17-9B02-91FA-7B9D-410D05E5DC7E}"/>
              </a:ext>
            </a:extLst>
          </p:cNvPr>
          <p:cNvSpPr/>
          <p:nvPr userDrawn="1"/>
        </p:nvSpPr>
        <p:spPr>
          <a:xfrm>
            <a:off x="19989822" y="8871205"/>
            <a:ext cx="1398954" cy="726227"/>
          </a:xfrm>
          <a:custGeom>
            <a:avLst/>
            <a:gdLst>
              <a:gd name="connsiteX0" fmla="*/ 1063 w 1198727"/>
              <a:gd name="connsiteY0" fmla="*/ 1722 h 622284"/>
              <a:gd name="connsiteX1" fmla="*/ 1199791 w 1198727"/>
              <a:gd name="connsiteY1" fmla="*/ 1722 h 622284"/>
              <a:gd name="connsiteX2" fmla="*/ 1199791 w 1198727"/>
              <a:gd name="connsiteY2" fmla="*/ 624006 h 622284"/>
              <a:gd name="connsiteX3" fmla="*/ 1063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722"/>
                </a:moveTo>
                <a:lnTo>
                  <a:pt x="1199791" y="1722"/>
                </a:lnTo>
                <a:lnTo>
                  <a:pt x="1199791" y="624006"/>
                </a:lnTo>
                <a:lnTo>
                  <a:pt x="1063" y="624006"/>
                </a:lnTo>
                <a:close/>
              </a:path>
            </a:pathLst>
          </a:custGeom>
          <a:solidFill>
            <a:srgbClr val="FFB9A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6" name="Полилиния 1055">
            <a:extLst>
              <a:ext uri="{FF2B5EF4-FFF2-40B4-BE49-F238E27FC236}">
                <a16:creationId xmlns:a16="http://schemas.microsoft.com/office/drawing/2014/main" id="{D3410FB0-E755-6C25-AF83-375E218B989B}"/>
              </a:ext>
            </a:extLst>
          </p:cNvPr>
          <p:cNvSpPr/>
          <p:nvPr userDrawn="1"/>
        </p:nvSpPr>
        <p:spPr>
          <a:xfrm>
            <a:off x="20113031" y="9172951"/>
            <a:ext cx="724430" cy="128468"/>
          </a:xfrm>
          <a:custGeom>
            <a:avLst/>
            <a:gdLst>
              <a:gd name="connsiteX0" fmla="*/ 22098 w 620746"/>
              <a:gd name="connsiteY0" fmla="*/ 108588 h 110081"/>
              <a:gd name="connsiteX1" fmla="*/ 10147 w 620746"/>
              <a:gd name="connsiteY1" fmla="*/ 108588 h 110081"/>
              <a:gd name="connsiteX2" fmla="*/ 16434 w 620746"/>
              <a:gd name="connsiteY2" fmla="*/ 77661 h 110081"/>
              <a:gd name="connsiteX3" fmla="*/ 0 w 620746"/>
              <a:gd name="connsiteY3" fmla="*/ 77661 h 110081"/>
              <a:gd name="connsiteX4" fmla="*/ 0 w 620746"/>
              <a:gd name="connsiteY4" fmla="*/ 67206 h 110081"/>
              <a:gd name="connsiteX5" fmla="*/ 18675 w 620746"/>
              <a:gd name="connsiteY5" fmla="*/ 67206 h 110081"/>
              <a:gd name="connsiteX6" fmla="*/ 24215 w 620746"/>
              <a:gd name="connsiteY6" fmla="*/ 40012 h 110081"/>
              <a:gd name="connsiteX7" fmla="*/ 4046 w 620746"/>
              <a:gd name="connsiteY7" fmla="*/ 40012 h 110081"/>
              <a:gd name="connsiteX8" fmla="*/ 4046 w 620746"/>
              <a:gd name="connsiteY8" fmla="*/ 29559 h 110081"/>
              <a:gd name="connsiteX9" fmla="*/ 26269 w 620746"/>
              <a:gd name="connsiteY9" fmla="*/ 29559 h 110081"/>
              <a:gd name="connsiteX10" fmla="*/ 32120 w 620746"/>
              <a:gd name="connsiteY10" fmla="*/ 1493 h 110081"/>
              <a:gd name="connsiteX11" fmla="*/ 44072 w 620746"/>
              <a:gd name="connsiteY11" fmla="*/ 1493 h 110081"/>
              <a:gd name="connsiteX12" fmla="*/ 38221 w 620746"/>
              <a:gd name="connsiteY12" fmla="*/ 29559 h 110081"/>
              <a:gd name="connsiteX13" fmla="*/ 60630 w 620746"/>
              <a:gd name="connsiteY13" fmla="*/ 29559 h 110081"/>
              <a:gd name="connsiteX14" fmla="*/ 66481 w 620746"/>
              <a:gd name="connsiteY14" fmla="*/ 1493 h 110081"/>
              <a:gd name="connsiteX15" fmla="*/ 78434 w 620746"/>
              <a:gd name="connsiteY15" fmla="*/ 1493 h 110081"/>
              <a:gd name="connsiteX16" fmla="*/ 72582 w 620746"/>
              <a:gd name="connsiteY16" fmla="*/ 29559 h 110081"/>
              <a:gd name="connsiteX17" fmla="*/ 89327 w 620746"/>
              <a:gd name="connsiteY17" fmla="*/ 29559 h 110081"/>
              <a:gd name="connsiteX18" fmla="*/ 89327 w 620746"/>
              <a:gd name="connsiteY18" fmla="*/ 40012 h 110081"/>
              <a:gd name="connsiteX19" fmla="*/ 70528 w 620746"/>
              <a:gd name="connsiteY19" fmla="*/ 40012 h 110081"/>
              <a:gd name="connsiteX20" fmla="*/ 64988 w 620746"/>
              <a:gd name="connsiteY20" fmla="*/ 67206 h 110081"/>
              <a:gd name="connsiteX21" fmla="*/ 85281 w 620746"/>
              <a:gd name="connsiteY21" fmla="*/ 67206 h 110081"/>
              <a:gd name="connsiteX22" fmla="*/ 85281 w 620746"/>
              <a:gd name="connsiteY22" fmla="*/ 77661 h 110081"/>
              <a:gd name="connsiteX23" fmla="*/ 62747 w 620746"/>
              <a:gd name="connsiteY23" fmla="*/ 77661 h 110081"/>
              <a:gd name="connsiteX24" fmla="*/ 56459 w 620746"/>
              <a:gd name="connsiteY24" fmla="*/ 108588 h 110081"/>
              <a:gd name="connsiteX25" fmla="*/ 44508 w 620746"/>
              <a:gd name="connsiteY25" fmla="*/ 108588 h 110081"/>
              <a:gd name="connsiteX26" fmla="*/ 50795 w 620746"/>
              <a:gd name="connsiteY26" fmla="*/ 77661 h 110081"/>
              <a:gd name="connsiteX27" fmla="*/ 28385 w 620746"/>
              <a:gd name="connsiteY27" fmla="*/ 77661 h 110081"/>
              <a:gd name="connsiteX28" fmla="*/ 22098 w 620746"/>
              <a:gd name="connsiteY28" fmla="*/ 108588 h 110081"/>
              <a:gd name="connsiteX29" fmla="*/ 30626 w 620746"/>
              <a:gd name="connsiteY29" fmla="*/ 67206 h 110081"/>
              <a:gd name="connsiteX30" fmla="*/ 53036 w 620746"/>
              <a:gd name="connsiteY30" fmla="*/ 67206 h 110081"/>
              <a:gd name="connsiteX31" fmla="*/ 58576 w 620746"/>
              <a:gd name="connsiteY31" fmla="*/ 40012 h 110081"/>
              <a:gd name="connsiteX32" fmla="*/ 36166 w 620746"/>
              <a:gd name="connsiteY32" fmla="*/ 40012 h 110081"/>
              <a:gd name="connsiteX33" fmla="*/ 30626 w 620746"/>
              <a:gd name="connsiteY33" fmla="*/ 67206 h 110081"/>
              <a:gd name="connsiteX34" fmla="*/ 107815 w 620746"/>
              <a:gd name="connsiteY34" fmla="*/ 1493 h 110081"/>
              <a:gd name="connsiteX35" fmla="*/ 173239 w 620746"/>
              <a:gd name="connsiteY35" fmla="*/ 1493 h 110081"/>
              <a:gd name="connsiteX36" fmla="*/ 173239 w 620746"/>
              <a:gd name="connsiteY36" fmla="*/ 14374 h 110081"/>
              <a:gd name="connsiteX37" fmla="*/ 121883 w 620746"/>
              <a:gd name="connsiteY37" fmla="*/ 14374 h 110081"/>
              <a:gd name="connsiteX38" fmla="*/ 121883 w 620746"/>
              <a:gd name="connsiteY38" fmla="*/ 49907 h 110081"/>
              <a:gd name="connsiteX39" fmla="*/ 165520 w 620746"/>
              <a:gd name="connsiteY39" fmla="*/ 49907 h 110081"/>
              <a:gd name="connsiteX40" fmla="*/ 165520 w 620746"/>
              <a:gd name="connsiteY40" fmla="*/ 62601 h 110081"/>
              <a:gd name="connsiteX41" fmla="*/ 121883 w 620746"/>
              <a:gd name="connsiteY41" fmla="*/ 62601 h 110081"/>
              <a:gd name="connsiteX42" fmla="*/ 121883 w 620746"/>
              <a:gd name="connsiteY42" fmla="*/ 108588 h 110081"/>
              <a:gd name="connsiteX43" fmla="*/ 107815 w 620746"/>
              <a:gd name="connsiteY43" fmla="*/ 108588 h 110081"/>
              <a:gd name="connsiteX44" fmla="*/ 107815 w 620746"/>
              <a:gd name="connsiteY44" fmla="*/ 1493 h 110081"/>
              <a:gd name="connsiteX45" fmla="*/ 192723 w 620746"/>
              <a:gd name="connsiteY45" fmla="*/ 1493 h 110081"/>
              <a:gd name="connsiteX46" fmla="*/ 258146 w 620746"/>
              <a:gd name="connsiteY46" fmla="*/ 1493 h 110081"/>
              <a:gd name="connsiteX47" fmla="*/ 258146 w 620746"/>
              <a:gd name="connsiteY47" fmla="*/ 14374 h 110081"/>
              <a:gd name="connsiteX48" fmla="*/ 206791 w 620746"/>
              <a:gd name="connsiteY48" fmla="*/ 14374 h 110081"/>
              <a:gd name="connsiteX49" fmla="*/ 206791 w 620746"/>
              <a:gd name="connsiteY49" fmla="*/ 49907 h 110081"/>
              <a:gd name="connsiteX50" fmla="*/ 250427 w 620746"/>
              <a:gd name="connsiteY50" fmla="*/ 49907 h 110081"/>
              <a:gd name="connsiteX51" fmla="*/ 250427 w 620746"/>
              <a:gd name="connsiteY51" fmla="*/ 62601 h 110081"/>
              <a:gd name="connsiteX52" fmla="*/ 206791 w 620746"/>
              <a:gd name="connsiteY52" fmla="*/ 62601 h 110081"/>
              <a:gd name="connsiteX53" fmla="*/ 206791 w 620746"/>
              <a:gd name="connsiteY53" fmla="*/ 108588 h 110081"/>
              <a:gd name="connsiteX54" fmla="*/ 192723 w 620746"/>
              <a:gd name="connsiteY54" fmla="*/ 108588 h 110081"/>
              <a:gd name="connsiteX55" fmla="*/ 192723 w 620746"/>
              <a:gd name="connsiteY55" fmla="*/ 1493 h 110081"/>
              <a:gd name="connsiteX56" fmla="*/ 277630 w 620746"/>
              <a:gd name="connsiteY56" fmla="*/ 1493 h 110081"/>
              <a:gd name="connsiteX57" fmla="*/ 313983 w 620746"/>
              <a:gd name="connsiteY57" fmla="*/ 1493 h 110081"/>
              <a:gd name="connsiteX58" fmla="*/ 340688 w 620746"/>
              <a:gd name="connsiteY58" fmla="*/ 7467 h 110081"/>
              <a:gd name="connsiteX59" fmla="*/ 349963 w 620746"/>
              <a:gd name="connsiteY59" fmla="*/ 27629 h 110081"/>
              <a:gd name="connsiteX60" fmla="*/ 344112 w 620746"/>
              <a:gd name="connsiteY60" fmla="*/ 45116 h 110081"/>
              <a:gd name="connsiteX61" fmla="*/ 328612 w 620746"/>
              <a:gd name="connsiteY61" fmla="*/ 53018 h 110081"/>
              <a:gd name="connsiteX62" fmla="*/ 347411 w 620746"/>
              <a:gd name="connsiteY62" fmla="*/ 60361 h 110081"/>
              <a:gd name="connsiteX63" fmla="*/ 353823 w 620746"/>
              <a:gd name="connsiteY63" fmla="*/ 77661 h 110081"/>
              <a:gd name="connsiteX64" fmla="*/ 348594 w 620746"/>
              <a:gd name="connsiteY64" fmla="*/ 95583 h 110081"/>
              <a:gd name="connsiteX65" fmla="*/ 334277 w 620746"/>
              <a:gd name="connsiteY65" fmla="*/ 105601 h 110081"/>
              <a:gd name="connsiteX66" fmla="*/ 313673 w 620746"/>
              <a:gd name="connsiteY66" fmla="*/ 108588 h 110081"/>
              <a:gd name="connsiteX67" fmla="*/ 277630 w 620746"/>
              <a:gd name="connsiteY67" fmla="*/ 108588 h 110081"/>
              <a:gd name="connsiteX68" fmla="*/ 277630 w 620746"/>
              <a:gd name="connsiteY68" fmla="*/ 1493 h 110081"/>
              <a:gd name="connsiteX69" fmla="*/ 312926 w 620746"/>
              <a:gd name="connsiteY69" fmla="*/ 47231 h 110081"/>
              <a:gd name="connsiteX70" fmla="*/ 329359 w 620746"/>
              <a:gd name="connsiteY70" fmla="*/ 42751 h 110081"/>
              <a:gd name="connsiteX71" fmla="*/ 335770 w 620746"/>
              <a:gd name="connsiteY71" fmla="*/ 28376 h 110081"/>
              <a:gd name="connsiteX72" fmla="*/ 330106 w 620746"/>
              <a:gd name="connsiteY72" fmla="*/ 17361 h 110081"/>
              <a:gd name="connsiteX73" fmla="*/ 313983 w 620746"/>
              <a:gd name="connsiteY73" fmla="*/ 14374 h 110081"/>
              <a:gd name="connsiteX74" fmla="*/ 291698 w 620746"/>
              <a:gd name="connsiteY74" fmla="*/ 14374 h 110081"/>
              <a:gd name="connsiteX75" fmla="*/ 291698 w 620746"/>
              <a:gd name="connsiteY75" fmla="*/ 47231 h 110081"/>
              <a:gd name="connsiteX76" fmla="*/ 312926 w 620746"/>
              <a:gd name="connsiteY76" fmla="*/ 47231 h 110081"/>
              <a:gd name="connsiteX77" fmla="*/ 313673 w 620746"/>
              <a:gd name="connsiteY77" fmla="*/ 95893 h 110081"/>
              <a:gd name="connsiteX78" fmla="*/ 332036 w 620746"/>
              <a:gd name="connsiteY78" fmla="*/ 92035 h 110081"/>
              <a:gd name="connsiteX79" fmla="*/ 339070 w 620746"/>
              <a:gd name="connsiteY79" fmla="*/ 77972 h 110081"/>
              <a:gd name="connsiteX80" fmla="*/ 332471 w 620746"/>
              <a:gd name="connsiteY80" fmla="*/ 63908 h 110081"/>
              <a:gd name="connsiteX81" fmla="*/ 311992 w 620746"/>
              <a:gd name="connsiteY81" fmla="*/ 59926 h 110081"/>
              <a:gd name="connsiteX82" fmla="*/ 291698 w 620746"/>
              <a:gd name="connsiteY82" fmla="*/ 59926 h 110081"/>
              <a:gd name="connsiteX83" fmla="*/ 291698 w 620746"/>
              <a:gd name="connsiteY83" fmla="*/ 95893 h 110081"/>
              <a:gd name="connsiteX84" fmla="*/ 313673 w 620746"/>
              <a:gd name="connsiteY84" fmla="*/ 95893 h 110081"/>
              <a:gd name="connsiteX85" fmla="*/ 366335 w 620746"/>
              <a:gd name="connsiteY85" fmla="*/ 35844 h 110081"/>
              <a:gd name="connsiteX86" fmla="*/ 370941 w 620746"/>
              <a:gd name="connsiteY86" fmla="*/ 17051 h 110081"/>
              <a:gd name="connsiteX87" fmla="*/ 383826 w 620746"/>
              <a:gd name="connsiteY87" fmla="*/ 4480 h 110081"/>
              <a:gd name="connsiteX88" fmla="*/ 401879 w 620746"/>
              <a:gd name="connsiteY88" fmla="*/ 0 h 110081"/>
              <a:gd name="connsiteX89" fmla="*/ 423541 w 620746"/>
              <a:gd name="connsiteY89" fmla="*/ 5849 h 110081"/>
              <a:gd name="connsiteX90" fmla="*/ 435618 w 620746"/>
              <a:gd name="connsiteY90" fmla="*/ 21842 h 110081"/>
              <a:gd name="connsiteX91" fmla="*/ 439353 w 620746"/>
              <a:gd name="connsiteY91" fmla="*/ 45426 h 110081"/>
              <a:gd name="connsiteX92" fmla="*/ 434746 w 620746"/>
              <a:gd name="connsiteY92" fmla="*/ 80088 h 110081"/>
              <a:gd name="connsiteX93" fmla="*/ 420429 w 620746"/>
              <a:gd name="connsiteY93" fmla="*/ 102303 h 110081"/>
              <a:gd name="connsiteX94" fmla="*/ 395903 w 620746"/>
              <a:gd name="connsiteY94" fmla="*/ 110082 h 110081"/>
              <a:gd name="connsiteX95" fmla="*/ 372871 w 620746"/>
              <a:gd name="connsiteY95" fmla="*/ 104543 h 110081"/>
              <a:gd name="connsiteX96" fmla="*/ 372871 w 620746"/>
              <a:gd name="connsiteY96" fmla="*/ 91413 h 110081"/>
              <a:gd name="connsiteX97" fmla="*/ 395903 w 620746"/>
              <a:gd name="connsiteY97" fmla="*/ 98010 h 110081"/>
              <a:gd name="connsiteX98" fmla="*/ 411465 w 620746"/>
              <a:gd name="connsiteY98" fmla="*/ 92907 h 110081"/>
              <a:gd name="connsiteX99" fmla="*/ 421176 w 620746"/>
              <a:gd name="connsiteY99" fmla="*/ 79154 h 110081"/>
              <a:gd name="connsiteX100" fmla="*/ 425471 w 620746"/>
              <a:gd name="connsiteY100" fmla="*/ 59739 h 110081"/>
              <a:gd name="connsiteX101" fmla="*/ 414453 w 620746"/>
              <a:gd name="connsiteY101" fmla="*/ 68389 h 110081"/>
              <a:gd name="connsiteX102" fmla="*/ 400510 w 620746"/>
              <a:gd name="connsiteY102" fmla="*/ 71127 h 110081"/>
              <a:gd name="connsiteX103" fmla="*/ 383204 w 620746"/>
              <a:gd name="connsiteY103" fmla="*/ 67082 h 110081"/>
              <a:gd name="connsiteX104" fmla="*/ 370817 w 620746"/>
              <a:gd name="connsiteY104" fmla="*/ 55134 h 110081"/>
              <a:gd name="connsiteX105" fmla="*/ 366335 w 620746"/>
              <a:gd name="connsiteY105" fmla="*/ 35844 h 110081"/>
              <a:gd name="connsiteX106" fmla="*/ 402315 w 620746"/>
              <a:gd name="connsiteY106" fmla="*/ 12134 h 110081"/>
              <a:gd name="connsiteX107" fmla="*/ 391546 w 620746"/>
              <a:gd name="connsiteY107" fmla="*/ 14810 h 110081"/>
              <a:gd name="connsiteX108" fmla="*/ 383516 w 620746"/>
              <a:gd name="connsiteY108" fmla="*/ 22589 h 110081"/>
              <a:gd name="connsiteX109" fmla="*/ 380528 w 620746"/>
              <a:gd name="connsiteY109" fmla="*/ 35532 h 110081"/>
              <a:gd name="connsiteX110" fmla="*/ 383516 w 620746"/>
              <a:gd name="connsiteY110" fmla="*/ 48725 h 110081"/>
              <a:gd name="connsiteX111" fmla="*/ 391110 w 620746"/>
              <a:gd name="connsiteY111" fmla="*/ 56752 h 110081"/>
              <a:gd name="connsiteX112" fmla="*/ 400821 w 620746"/>
              <a:gd name="connsiteY112" fmla="*/ 59428 h 110081"/>
              <a:gd name="connsiteX113" fmla="*/ 417255 w 620746"/>
              <a:gd name="connsiteY113" fmla="*/ 53329 h 110081"/>
              <a:gd name="connsiteX114" fmla="*/ 423978 w 620746"/>
              <a:gd name="connsiteY114" fmla="*/ 35283 h 110081"/>
              <a:gd name="connsiteX115" fmla="*/ 418188 w 620746"/>
              <a:gd name="connsiteY115" fmla="*/ 18544 h 110081"/>
              <a:gd name="connsiteX116" fmla="*/ 402315 w 620746"/>
              <a:gd name="connsiteY116" fmla="*/ 12134 h 110081"/>
              <a:gd name="connsiteX117" fmla="*/ 543931 w 620746"/>
              <a:gd name="connsiteY117" fmla="*/ 108588 h 110081"/>
              <a:gd name="connsiteX118" fmla="*/ 528991 w 620746"/>
              <a:gd name="connsiteY118" fmla="*/ 108588 h 110081"/>
              <a:gd name="connsiteX119" fmla="*/ 517911 w 620746"/>
              <a:gd name="connsiteY119" fmla="*/ 77972 h 110081"/>
              <a:gd name="connsiteX120" fmla="*/ 470602 w 620746"/>
              <a:gd name="connsiteY120" fmla="*/ 77972 h 110081"/>
              <a:gd name="connsiteX121" fmla="*/ 459646 w 620746"/>
              <a:gd name="connsiteY121" fmla="*/ 108588 h 110081"/>
              <a:gd name="connsiteX122" fmla="*/ 446512 w 620746"/>
              <a:gd name="connsiteY122" fmla="*/ 108588 h 110081"/>
              <a:gd name="connsiteX123" fmla="*/ 484608 w 620746"/>
              <a:gd name="connsiteY123" fmla="*/ 1493 h 110081"/>
              <a:gd name="connsiteX124" fmla="*/ 505523 w 620746"/>
              <a:gd name="connsiteY124" fmla="*/ 1493 h 110081"/>
              <a:gd name="connsiteX125" fmla="*/ 543931 w 620746"/>
              <a:gd name="connsiteY125" fmla="*/ 108588 h 110081"/>
              <a:gd name="connsiteX126" fmla="*/ 475208 w 620746"/>
              <a:gd name="connsiteY126" fmla="*/ 65278 h 110081"/>
              <a:gd name="connsiteX127" fmla="*/ 513429 w 620746"/>
              <a:gd name="connsiteY127" fmla="*/ 65278 h 110081"/>
              <a:gd name="connsiteX128" fmla="*/ 494318 w 620746"/>
              <a:gd name="connsiteY128" fmla="*/ 11947 h 110081"/>
              <a:gd name="connsiteX129" fmla="*/ 475208 w 620746"/>
              <a:gd name="connsiteY129" fmla="*/ 65278 h 110081"/>
              <a:gd name="connsiteX130" fmla="*/ 583397 w 620746"/>
              <a:gd name="connsiteY130" fmla="*/ 110082 h 110081"/>
              <a:gd name="connsiteX131" fmla="*/ 554887 w 620746"/>
              <a:gd name="connsiteY131" fmla="*/ 102490 h 110081"/>
              <a:gd name="connsiteX132" fmla="*/ 554887 w 620746"/>
              <a:gd name="connsiteY132" fmla="*/ 87804 h 110081"/>
              <a:gd name="connsiteX133" fmla="*/ 568022 w 620746"/>
              <a:gd name="connsiteY133" fmla="*/ 95458 h 110081"/>
              <a:gd name="connsiteX134" fmla="*/ 583397 w 620746"/>
              <a:gd name="connsiteY134" fmla="*/ 97823 h 110081"/>
              <a:gd name="connsiteX135" fmla="*/ 600453 w 620746"/>
              <a:gd name="connsiteY135" fmla="*/ 91102 h 110081"/>
              <a:gd name="connsiteX136" fmla="*/ 606553 w 620746"/>
              <a:gd name="connsiteY136" fmla="*/ 73491 h 110081"/>
              <a:gd name="connsiteX137" fmla="*/ 600578 w 620746"/>
              <a:gd name="connsiteY137" fmla="*/ 56441 h 110081"/>
              <a:gd name="connsiteX138" fmla="*/ 585513 w 620746"/>
              <a:gd name="connsiteY138" fmla="*/ 51089 h 110081"/>
              <a:gd name="connsiteX139" fmla="*/ 574931 w 620746"/>
              <a:gd name="connsiteY139" fmla="*/ 53329 h 110081"/>
              <a:gd name="connsiteX140" fmla="*/ 568769 w 620746"/>
              <a:gd name="connsiteY140" fmla="*/ 57810 h 110081"/>
              <a:gd name="connsiteX141" fmla="*/ 557875 w 620746"/>
              <a:gd name="connsiteY141" fmla="*/ 57810 h 110081"/>
              <a:gd name="connsiteX142" fmla="*/ 557875 w 620746"/>
              <a:gd name="connsiteY142" fmla="*/ 1493 h 110081"/>
              <a:gd name="connsiteX143" fmla="*/ 615828 w 620746"/>
              <a:gd name="connsiteY143" fmla="*/ 1493 h 110081"/>
              <a:gd name="connsiteX144" fmla="*/ 615828 w 620746"/>
              <a:gd name="connsiteY144" fmla="*/ 14374 h 110081"/>
              <a:gd name="connsiteX145" fmla="*/ 570138 w 620746"/>
              <a:gd name="connsiteY145" fmla="*/ 14374 h 110081"/>
              <a:gd name="connsiteX146" fmla="*/ 570138 w 620746"/>
              <a:gd name="connsiteY146" fmla="*/ 44991 h 110081"/>
              <a:gd name="connsiteX147" fmla="*/ 577421 w 620746"/>
              <a:gd name="connsiteY147" fmla="*/ 41071 h 110081"/>
              <a:gd name="connsiteX148" fmla="*/ 587754 w 620746"/>
              <a:gd name="connsiteY148" fmla="*/ 39266 h 110081"/>
              <a:gd name="connsiteX149" fmla="*/ 604499 w 620746"/>
              <a:gd name="connsiteY149" fmla="*/ 43186 h 110081"/>
              <a:gd name="connsiteX150" fmla="*/ 616265 w 620746"/>
              <a:gd name="connsiteY150" fmla="*/ 54512 h 110081"/>
              <a:gd name="connsiteX151" fmla="*/ 620746 w 620746"/>
              <a:gd name="connsiteY151" fmla="*/ 73181 h 110081"/>
              <a:gd name="connsiteX152" fmla="*/ 616140 w 620746"/>
              <a:gd name="connsiteY152" fmla="*/ 92596 h 110081"/>
              <a:gd name="connsiteX153" fmla="*/ 603316 w 620746"/>
              <a:gd name="connsiteY153" fmla="*/ 105601 h 110081"/>
              <a:gd name="connsiteX154" fmla="*/ 583397 w 620746"/>
              <a:gd name="connsiteY154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620746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13983" y="1493"/>
                </a:lnTo>
                <a:cubicBezTo>
                  <a:pt x="325686" y="1493"/>
                  <a:pt x="334650" y="3484"/>
                  <a:pt x="340688" y="7467"/>
                </a:cubicBezTo>
                <a:cubicBezTo>
                  <a:pt x="346851" y="11450"/>
                  <a:pt x="349963" y="18170"/>
                  <a:pt x="349963" y="27629"/>
                </a:cubicBezTo>
                <a:cubicBezTo>
                  <a:pt x="349963" y="35283"/>
                  <a:pt x="348033" y="41133"/>
                  <a:pt x="344112" y="45116"/>
                </a:cubicBezTo>
                <a:cubicBezTo>
                  <a:pt x="340252" y="48974"/>
                  <a:pt x="335086" y="51649"/>
                  <a:pt x="328612" y="53018"/>
                </a:cubicBezTo>
                <a:cubicBezTo>
                  <a:pt x="336891" y="54014"/>
                  <a:pt x="343116" y="56441"/>
                  <a:pt x="347411" y="60361"/>
                </a:cubicBezTo>
                <a:cubicBezTo>
                  <a:pt x="351707" y="64157"/>
                  <a:pt x="353823" y="69882"/>
                  <a:pt x="353823" y="77661"/>
                </a:cubicBezTo>
                <a:cubicBezTo>
                  <a:pt x="353823" y="85066"/>
                  <a:pt x="352080" y="91040"/>
                  <a:pt x="348594" y="95583"/>
                </a:cubicBezTo>
                <a:cubicBezTo>
                  <a:pt x="345108" y="100188"/>
                  <a:pt x="340377" y="103486"/>
                  <a:pt x="334277" y="105601"/>
                </a:cubicBezTo>
                <a:cubicBezTo>
                  <a:pt x="328176" y="107592"/>
                  <a:pt x="321329" y="108588"/>
                  <a:pt x="313673" y="108588"/>
                </a:cubicBez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12926" y="47231"/>
                </a:moveTo>
                <a:cubicBezTo>
                  <a:pt x="319711" y="47231"/>
                  <a:pt x="325188" y="45738"/>
                  <a:pt x="329359" y="42751"/>
                </a:cubicBezTo>
                <a:cubicBezTo>
                  <a:pt x="333654" y="39639"/>
                  <a:pt x="335770" y="34848"/>
                  <a:pt x="335770" y="28376"/>
                </a:cubicBezTo>
                <a:cubicBezTo>
                  <a:pt x="335770" y="22900"/>
                  <a:pt x="333903" y="19228"/>
                  <a:pt x="330106" y="17361"/>
                </a:cubicBezTo>
                <a:cubicBezTo>
                  <a:pt x="326309" y="15370"/>
                  <a:pt x="320955" y="14374"/>
                  <a:pt x="313983" y="14374"/>
                </a:cubicBezTo>
                <a:lnTo>
                  <a:pt x="291698" y="14374"/>
                </a:lnTo>
                <a:lnTo>
                  <a:pt x="291698" y="47231"/>
                </a:lnTo>
                <a:lnTo>
                  <a:pt x="312926" y="47231"/>
                </a:lnTo>
                <a:close/>
                <a:moveTo>
                  <a:pt x="313673" y="95893"/>
                </a:moveTo>
                <a:cubicBezTo>
                  <a:pt x="321204" y="95893"/>
                  <a:pt x="327367" y="94587"/>
                  <a:pt x="332036" y="92035"/>
                </a:cubicBezTo>
                <a:cubicBezTo>
                  <a:pt x="336704" y="89422"/>
                  <a:pt x="339070" y="84755"/>
                  <a:pt x="339070" y="77972"/>
                </a:cubicBezTo>
                <a:cubicBezTo>
                  <a:pt x="339070" y="71189"/>
                  <a:pt x="336891" y="66522"/>
                  <a:pt x="332471" y="63908"/>
                </a:cubicBezTo>
                <a:cubicBezTo>
                  <a:pt x="328176" y="61233"/>
                  <a:pt x="321391" y="59926"/>
                  <a:pt x="311992" y="59926"/>
                </a:cubicBezTo>
                <a:lnTo>
                  <a:pt x="291698" y="59926"/>
                </a:lnTo>
                <a:lnTo>
                  <a:pt x="291698" y="95893"/>
                </a:lnTo>
                <a:lnTo>
                  <a:pt x="313673" y="95893"/>
                </a:lnTo>
                <a:close/>
                <a:moveTo>
                  <a:pt x="366335" y="35844"/>
                </a:moveTo>
                <a:cubicBezTo>
                  <a:pt x="366335" y="28687"/>
                  <a:pt x="367891" y="22402"/>
                  <a:pt x="370941" y="17051"/>
                </a:cubicBezTo>
                <a:cubicBezTo>
                  <a:pt x="374116" y="11637"/>
                  <a:pt x="378411" y="7467"/>
                  <a:pt x="383826" y="4480"/>
                </a:cubicBezTo>
                <a:cubicBezTo>
                  <a:pt x="389181" y="1493"/>
                  <a:pt x="395219" y="0"/>
                  <a:pt x="401879" y="0"/>
                </a:cubicBezTo>
                <a:cubicBezTo>
                  <a:pt x="410843" y="0"/>
                  <a:pt x="418063" y="1929"/>
                  <a:pt x="423541" y="5849"/>
                </a:cubicBezTo>
                <a:cubicBezTo>
                  <a:pt x="429144" y="9645"/>
                  <a:pt x="433128" y="14934"/>
                  <a:pt x="435618" y="21842"/>
                </a:cubicBezTo>
                <a:cubicBezTo>
                  <a:pt x="438108" y="28563"/>
                  <a:pt x="439353" y="36466"/>
                  <a:pt x="439353" y="45426"/>
                </a:cubicBezTo>
                <a:cubicBezTo>
                  <a:pt x="439353" y="58868"/>
                  <a:pt x="437859" y="70380"/>
                  <a:pt x="434746" y="80088"/>
                </a:cubicBezTo>
                <a:cubicBezTo>
                  <a:pt x="431634" y="89733"/>
                  <a:pt x="426903" y="97138"/>
                  <a:pt x="420429" y="102303"/>
                </a:cubicBezTo>
                <a:cubicBezTo>
                  <a:pt x="414018" y="107468"/>
                  <a:pt x="405863" y="110082"/>
                  <a:pt x="395903" y="110082"/>
                </a:cubicBezTo>
                <a:cubicBezTo>
                  <a:pt x="386939" y="110082"/>
                  <a:pt x="379282" y="108215"/>
                  <a:pt x="372871" y="104543"/>
                </a:cubicBezTo>
                <a:lnTo>
                  <a:pt x="372871" y="91413"/>
                </a:lnTo>
                <a:cubicBezTo>
                  <a:pt x="379656" y="95769"/>
                  <a:pt x="387313" y="98010"/>
                  <a:pt x="395903" y="98010"/>
                </a:cubicBezTo>
                <a:cubicBezTo>
                  <a:pt x="402066" y="98010"/>
                  <a:pt x="407232" y="96267"/>
                  <a:pt x="411465" y="92907"/>
                </a:cubicBezTo>
                <a:cubicBezTo>
                  <a:pt x="415636" y="89546"/>
                  <a:pt x="418873" y="84941"/>
                  <a:pt x="421176" y="79154"/>
                </a:cubicBezTo>
                <a:cubicBezTo>
                  <a:pt x="423541" y="73367"/>
                  <a:pt x="424974" y="66896"/>
                  <a:pt x="425471" y="59739"/>
                </a:cubicBezTo>
                <a:cubicBezTo>
                  <a:pt x="422421" y="63660"/>
                  <a:pt x="418687" y="66522"/>
                  <a:pt x="414453" y="68389"/>
                </a:cubicBezTo>
                <a:cubicBezTo>
                  <a:pt x="410158" y="70193"/>
                  <a:pt x="405490" y="71127"/>
                  <a:pt x="400510" y="71127"/>
                </a:cubicBezTo>
                <a:cubicBezTo>
                  <a:pt x="394160" y="71127"/>
                  <a:pt x="388371" y="69758"/>
                  <a:pt x="383204" y="67082"/>
                </a:cubicBezTo>
                <a:cubicBezTo>
                  <a:pt x="378038" y="64406"/>
                  <a:pt x="373867" y="60424"/>
                  <a:pt x="370817" y="55134"/>
                </a:cubicBezTo>
                <a:cubicBezTo>
                  <a:pt x="367829" y="49845"/>
                  <a:pt x="366335" y="43435"/>
                  <a:pt x="366335" y="35844"/>
                </a:cubicBezTo>
                <a:close/>
                <a:moveTo>
                  <a:pt x="402315" y="12134"/>
                </a:moveTo>
                <a:cubicBezTo>
                  <a:pt x="398518" y="12134"/>
                  <a:pt x="394969" y="13006"/>
                  <a:pt x="391546" y="14810"/>
                </a:cubicBezTo>
                <a:cubicBezTo>
                  <a:pt x="388309" y="16490"/>
                  <a:pt x="385570" y="19104"/>
                  <a:pt x="383516" y="22589"/>
                </a:cubicBezTo>
                <a:cubicBezTo>
                  <a:pt x="381523" y="25949"/>
                  <a:pt x="380528" y="30305"/>
                  <a:pt x="380528" y="35532"/>
                </a:cubicBezTo>
                <a:cubicBezTo>
                  <a:pt x="380528" y="40759"/>
                  <a:pt x="381523" y="45116"/>
                  <a:pt x="383516" y="48725"/>
                </a:cubicBezTo>
                <a:cubicBezTo>
                  <a:pt x="385507" y="52271"/>
                  <a:pt x="388060" y="54947"/>
                  <a:pt x="391110" y="56752"/>
                </a:cubicBezTo>
                <a:cubicBezTo>
                  <a:pt x="394222" y="58556"/>
                  <a:pt x="397459" y="59428"/>
                  <a:pt x="400821" y="59428"/>
                </a:cubicBezTo>
                <a:cubicBezTo>
                  <a:pt x="407419" y="59428"/>
                  <a:pt x="412897" y="57437"/>
                  <a:pt x="417255" y="53329"/>
                </a:cubicBezTo>
                <a:cubicBezTo>
                  <a:pt x="421737" y="49160"/>
                  <a:pt x="423978" y="43124"/>
                  <a:pt x="423978" y="35283"/>
                </a:cubicBezTo>
                <a:cubicBezTo>
                  <a:pt x="423978" y="28313"/>
                  <a:pt x="422047" y="22713"/>
                  <a:pt x="418188" y="18544"/>
                </a:cubicBezTo>
                <a:cubicBezTo>
                  <a:pt x="414266" y="14250"/>
                  <a:pt x="408975" y="12134"/>
                  <a:pt x="402315" y="12134"/>
                </a:cubicBezTo>
                <a:close/>
                <a:moveTo>
                  <a:pt x="543931" y="108588"/>
                </a:moveTo>
                <a:lnTo>
                  <a:pt x="528991" y="108588"/>
                </a:lnTo>
                <a:lnTo>
                  <a:pt x="517911" y="77972"/>
                </a:lnTo>
                <a:lnTo>
                  <a:pt x="470602" y="77972"/>
                </a:lnTo>
                <a:lnTo>
                  <a:pt x="459646" y="108588"/>
                </a:lnTo>
                <a:lnTo>
                  <a:pt x="446512" y="108588"/>
                </a:lnTo>
                <a:lnTo>
                  <a:pt x="484608" y="1493"/>
                </a:lnTo>
                <a:lnTo>
                  <a:pt x="505523" y="1493"/>
                </a:lnTo>
                <a:lnTo>
                  <a:pt x="543931" y="108588"/>
                </a:lnTo>
                <a:close/>
                <a:moveTo>
                  <a:pt x="475208" y="65278"/>
                </a:moveTo>
                <a:lnTo>
                  <a:pt x="513429" y="65278"/>
                </a:lnTo>
                <a:lnTo>
                  <a:pt x="494318" y="11947"/>
                </a:lnTo>
                <a:lnTo>
                  <a:pt x="475208" y="65278"/>
                </a:lnTo>
                <a:close/>
                <a:moveTo>
                  <a:pt x="583397" y="110082"/>
                </a:moveTo>
                <a:cubicBezTo>
                  <a:pt x="571445" y="110082"/>
                  <a:pt x="561984" y="107530"/>
                  <a:pt x="554887" y="102490"/>
                </a:cubicBezTo>
                <a:lnTo>
                  <a:pt x="554887" y="87804"/>
                </a:lnTo>
                <a:cubicBezTo>
                  <a:pt x="559057" y="91226"/>
                  <a:pt x="563478" y="93778"/>
                  <a:pt x="568022" y="95458"/>
                </a:cubicBezTo>
                <a:cubicBezTo>
                  <a:pt x="572628" y="97014"/>
                  <a:pt x="577732" y="97823"/>
                  <a:pt x="583397" y="97823"/>
                </a:cubicBezTo>
                <a:cubicBezTo>
                  <a:pt x="590804" y="97823"/>
                  <a:pt x="596469" y="95583"/>
                  <a:pt x="600453" y="91102"/>
                </a:cubicBezTo>
                <a:cubicBezTo>
                  <a:pt x="604562" y="86621"/>
                  <a:pt x="606553" y="80772"/>
                  <a:pt x="606553" y="73491"/>
                </a:cubicBezTo>
                <a:cubicBezTo>
                  <a:pt x="606553" y="65713"/>
                  <a:pt x="604562" y="60050"/>
                  <a:pt x="600578" y="56441"/>
                </a:cubicBezTo>
                <a:cubicBezTo>
                  <a:pt x="596594" y="52894"/>
                  <a:pt x="591614" y="51089"/>
                  <a:pt x="585513" y="51089"/>
                </a:cubicBezTo>
                <a:cubicBezTo>
                  <a:pt x="581156" y="51089"/>
                  <a:pt x="577608" y="51836"/>
                  <a:pt x="574931" y="53329"/>
                </a:cubicBezTo>
                <a:cubicBezTo>
                  <a:pt x="572192" y="54698"/>
                  <a:pt x="570200" y="56192"/>
                  <a:pt x="568769" y="57810"/>
                </a:cubicBezTo>
                <a:lnTo>
                  <a:pt x="557875" y="57810"/>
                </a:lnTo>
                <a:lnTo>
                  <a:pt x="557875" y="1493"/>
                </a:lnTo>
                <a:lnTo>
                  <a:pt x="615828" y="1493"/>
                </a:lnTo>
                <a:lnTo>
                  <a:pt x="615828" y="14374"/>
                </a:lnTo>
                <a:lnTo>
                  <a:pt x="570138" y="14374"/>
                </a:lnTo>
                <a:lnTo>
                  <a:pt x="570138" y="44991"/>
                </a:lnTo>
                <a:cubicBezTo>
                  <a:pt x="572130" y="43498"/>
                  <a:pt x="574557" y="42190"/>
                  <a:pt x="577421" y="41071"/>
                </a:cubicBezTo>
                <a:cubicBezTo>
                  <a:pt x="580347" y="39888"/>
                  <a:pt x="583771" y="39266"/>
                  <a:pt x="587754" y="39266"/>
                </a:cubicBezTo>
                <a:cubicBezTo>
                  <a:pt x="593917" y="39266"/>
                  <a:pt x="599519" y="40572"/>
                  <a:pt x="604499" y="43186"/>
                </a:cubicBezTo>
                <a:cubicBezTo>
                  <a:pt x="609479" y="45675"/>
                  <a:pt x="613401" y="49471"/>
                  <a:pt x="616265" y="54512"/>
                </a:cubicBezTo>
                <a:cubicBezTo>
                  <a:pt x="619252" y="59490"/>
                  <a:pt x="620746" y="65713"/>
                  <a:pt x="620746" y="73181"/>
                </a:cubicBezTo>
                <a:cubicBezTo>
                  <a:pt x="620746" y="80586"/>
                  <a:pt x="619252" y="87058"/>
                  <a:pt x="616140" y="92596"/>
                </a:cubicBezTo>
                <a:cubicBezTo>
                  <a:pt x="613152" y="98196"/>
                  <a:pt x="608857" y="102490"/>
                  <a:pt x="603316" y="105601"/>
                </a:cubicBezTo>
                <a:cubicBezTo>
                  <a:pt x="597715" y="108588"/>
                  <a:pt x="591116" y="110082"/>
                  <a:pt x="583397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7" name="Полилиния 1056">
            <a:extLst>
              <a:ext uri="{FF2B5EF4-FFF2-40B4-BE49-F238E27FC236}">
                <a16:creationId xmlns:a16="http://schemas.microsoft.com/office/drawing/2014/main" id="{69428207-B665-F3AA-882A-7A42FDDC1AF6}"/>
              </a:ext>
            </a:extLst>
          </p:cNvPr>
          <p:cNvSpPr/>
          <p:nvPr userDrawn="1"/>
        </p:nvSpPr>
        <p:spPr>
          <a:xfrm>
            <a:off x="19989822" y="9597431"/>
            <a:ext cx="1398954" cy="726227"/>
          </a:xfrm>
          <a:custGeom>
            <a:avLst/>
            <a:gdLst>
              <a:gd name="connsiteX0" fmla="*/ 1063 w 1198727"/>
              <a:gd name="connsiteY0" fmla="*/ 1822 h 622284"/>
              <a:gd name="connsiteX1" fmla="*/ 1199791 w 1198727"/>
              <a:gd name="connsiteY1" fmla="*/ 1822 h 622284"/>
              <a:gd name="connsiteX2" fmla="*/ 1199791 w 1198727"/>
              <a:gd name="connsiteY2" fmla="*/ 624106 h 622284"/>
              <a:gd name="connsiteX3" fmla="*/ 1063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822"/>
                </a:moveTo>
                <a:lnTo>
                  <a:pt x="1199791" y="1822"/>
                </a:lnTo>
                <a:lnTo>
                  <a:pt x="1199791" y="624106"/>
                </a:lnTo>
                <a:lnTo>
                  <a:pt x="1063" y="624106"/>
                </a:lnTo>
                <a:close/>
              </a:path>
            </a:pathLst>
          </a:custGeom>
          <a:solidFill>
            <a:srgbClr val="FFD7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8" name="Полилиния 1057">
            <a:extLst>
              <a:ext uri="{FF2B5EF4-FFF2-40B4-BE49-F238E27FC236}">
                <a16:creationId xmlns:a16="http://schemas.microsoft.com/office/drawing/2014/main" id="{EAF970C7-2E2A-774E-CD00-B8E226D69321}"/>
              </a:ext>
            </a:extLst>
          </p:cNvPr>
          <p:cNvSpPr/>
          <p:nvPr userDrawn="1"/>
        </p:nvSpPr>
        <p:spPr>
          <a:xfrm>
            <a:off x="20113031" y="9899395"/>
            <a:ext cx="735110" cy="128252"/>
          </a:xfrm>
          <a:custGeom>
            <a:avLst/>
            <a:gdLst>
              <a:gd name="connsiteX0" fmla="*/ 22098 w 629896"/>
              <a:gd name="connsiteY0" fmla="*/ 108402 h 109895"/>
              <a:gd name="connsiteX1" fmla="*/ 10147 w 629896"/>
              <a:gd name="connsiteY1" fmla="*/ 108402 h 109895"/>
              <a:gd name="connsiteX2" fmla="*/ 16434 w 629896"/>
              <a:gd name="connsiteY2" fmla="*/ 77475 h 109895"/>
              <a:gd name="connsiteX3" fmla="*/ 0 w 629896"/>
              <a:gd name="connsiteY3" fmla="*/ 77475 h 109895"/>
              <a:gd name="connsiteX4" fmla="*/ 0 w 629896"/>
              <a:gd name="connsiteY4" fmla="*/ 67020 h 109895"/>
              <a:gd name="connsiteX5" fmla="*/ 18675 w 629896"/>
              <a:gd name="connsiteY5" fmla="*/ 67020 h 109895"/>
              <a:gd name="connsiteX6" fmla="*/ 24215 w 629896"/>
              <a:gd name="connsiteY6" fmla="*/ 39826 h 109895"/>
              <a:gd name="connsiteX7" fmla="*/ 4046 w 629896"/>
              <a:gd name="connsiteY7" fmla="*/ 39826 h 109895"/>
              <a:gd name="connsiteX8" fmla="*/ 4046 w 629896"/>
              <a:gd name="connsiteY8" fmla="*/ 29372 h 109895"/>
              <a:gd name="connsiteX9" fmla="*/ 26269 w 629896"/>
              <a:gd name="connsiteY9" fmla="*/ 29372 h 109895"/>
              <a:gd name="connsiteX10" fmla="*/ 32120 w 629896"/>
              <a:gd name="connsiteY10" fmla="*/ 1307 h 109895"/>
              <a:gd name="connsiteX11" fmla="*/ 44072 w 629896"/>
              <a:gd name="connsiteY11" fmla="*/ 1307 h 109895"/>
              <a:gd name="connsiteX12" fmla="*/ 38221 w 629896"/>
              <a:gd name="connsiteY12" fmla="*/ 29372 h 109895"/>
              <a:gd name="connsiteX13" fmla="*/ 60630 w 629896"/>
              <a:gd name="connsiteY13" fmla="*/ 29372 h 109895"/>
              <a:gd name="connsiteX14" fmla="*/ 66481 w 629896"/>
              <a:gd name="connsiteY14" fmla="*/ 1307 h 109895"/>
              <a:gd name="connsiteX15" fmla="*/ 78434 w 629896"/>
              <a:gd name="connsiteY15" fmla="*/ 1307 h 109895"/>
              <a:gd name="connsiteX16" fmla="*/ 72582 w 629896"/>
              <a:gd name="connsiteY16" fmla="*/ 29372 h 109895"/>
              <a:gd name="connsiteX17" fmla="*/ 89327 w 629896"/>
              <a:gd name="connsiteY17" fmla="*/ 29372 h 109895"/>
              <a:gd name="connsiteX18" fmla="*/ 89327 w 629896"/>
              <a:gd name="connsiteY18" fmla="*/ 39826 h 109895"/>
              <a:gd name="connsiteX19" fmla="*/ 70528 w 629896"/>
              <a:gd name="connsiteY19" fmla="*/ 39826 h 109895"/>
              <a:gd name="connsiteX20" fmla="*/ 64988 w 629896"/>
              <a:gd name="connsiteY20" fmla="*/ 67020 h 109895"/>
              <a:gd name="connsiteX21" fmla="*/ 85281 w 629896"/>
              <a:gd name="connsiteY21" fmla="*/ 67020 h 109895"/>
              <a:gd name="connsiteX22" fmla="*/ 85281 w 629896"/>
              <a:gd name="connsiteY22" fmla="*/ 77475 h 109895"/>
              <a:gd name="connsiteX23" fmla="*/ 62747 w 629896"/>
              <a:gd name="connsiteY23" fmla="*/ 77475 h 109895"/>
              <a:gd name="connsiteX24" fmla="*/ 56459 w 629896"/>
              <a:gd name="connsiteY24" fmla="*/ 108402 h 109895"/>
              <a:gd name="connsiteX25" fmla="*/ 44508 w 629896"/>
              <a:gd name="connsiteY25" fmla="*/ 108402 h 109895"/>
              <a:gd name="connsiteX26" fmla="*/ 50795 w 629896"/>
              <a:gd name="connsiteY26" fmla="*/ 77475 h 109895"/>
              <a:gd name="connsiteX27" fmla="*/ 28385 w 629896"/>
              <a:gd name="connsiteY27" fmla="*/ 77475 h 109895"/>
              <a:gd name="connsiteX28" fmla="*/ 22098 w 629896"/>
              <a:gd name="connsiteY28" fmla="*/ 108402 h 109895"/>
              <a:gd name="connsiteX29" fmla="*/ 30626 w 629896"/>
              <a:gd name="connsiteY29" fmla="*/ 67020 h 109895"/>
              <a:gd name="connsiteX30" fmla="*/ 53036 w 629896"/>
              <a:gd name="connsiteY30" fmla="*/ 67020 h 109895"/>
              <a:gd name="connsiteX31" fmla="*/ 58576 w 629896"/>
              <a:gd name="connsiteY31" fmla="*/ 39826 h 109895"/>
              <a:gd name="connsiteX32" fmla="*/ 36166 w 629896"/>
              <a:gd name="connsiteY32" fmla="*/ 39826 h 109895"/>
              <a:gd name="connsiteX33" fmla="*/ 30626 w 629896"/>
              <a:gd name="connsiteY33" fmla="*/ 67020 h 109895"/>
              <a:gd name="connsiteX34" fmla="*/ 107815 w 629896"/>
              <a:gd name="connsiteY34" fmla="*/ 1307 h 109895"/>
              <a:gd name="connsiteX35" fmla="*/ 173239 w 629896"/>
              <a:gd name="connsiteY35" fmla="*/ 1307 h 109895"/>
              <a:gd name="connsiteX36" fmla="*/ 173239 w 629896"/>
              <a:gd name="connsiteY36" fmla="*/ 14188 h 109895"/>
              <a:gd name="connsiteX37" fmla="*/ 121883 w 629896"/>
              <a:gd name="connsiteY37" fmla="*/ 14188 h 109895"/>
              <a:gd name="connsiteX38" fmla="*/ 121883 w 629896"/>
              <a:gd name="connsiteY38" fmla="*/ 49720 h 109895"/>
              <a:gd name="connsiteX39" fmla="*/ 165520 w 629896"/>
              <a:gd name="connsiteY39" fmla="*/ 49720 h 109895"/>
              <a:gd name="connsiteX40" fmla="*/ 165520 w 629896"/>
              <a:gd name="connsiteY40" fmla="*/ 62415 h 109895"/>
              <a:gd name="connsiteX41" fmla="*/ 121883 w 629896"/>
              <a:gd name="connsiteY41" fmla="*/ 62415 h 109895"/>
              <a:gd name="connsiteX42" fmla="*/ 121883 w 629896"/>
              <a:gd name="connsiteY42" fmla="*/ 108402 h 109895"/>
              <a:gd name="connsiteX43" fmla="*/ 107815 w 629896"/>
              <a:gd name="connsiteY43" fmla="*/ 108402 h 109895"/>
              <a:gd name="connsiteX44" fmla="*/ 107815 w 629896"/>
              <a:gd name="connsiteY44" fmla="*/ 1307 h 109895"/>
              <a:gd name="connsiteX45" fmla="*/ 192723 w 629896"/>
              <a:gd name="connsiteY45" fmla="*/ 1307 h 109895"/>
              <a:gd name="connsiteX46" fmla="*/ 258146 w 629896"/>
              <a:gd name="connsiteY46" fmla="*/ 1307 h 109895"/>
              <a:gd name="connsiteX47" fmla="*/ 258146 w 629896"/>
              <a:gd name="connsiteY47" fmla="*/ 14188 h 109895"/>
              <a:gd name="connsiteX48" fmla="*/ 206791 w 629896"/>
              <a:gd name="connsiteY48" fmla="*/ 14188 h 109895"/>
              <a:gd name="connsiteX49" fmla="*/ 206791 w 629896"/>
              <a:gd name="connsiteY49" fmla="*/ 49720 h 109895"/>
              <a:gd name="connsiteX50" fmla="*/ 250427 w 629896"/>
              <a:gd name="connsiteY50" fmla="*/ 49720 h 109895"/>
              <a:gd name="connsiteX51" fmla="*/ 250427 w 629896"/>
              <a:gd name="connsiteY51" fmla="*/ 62415 h 109895"/>
              <a:gd name="connsiteX52" fmla="*/ 206791 w 629896"/>
              <a:gd name="connsiteY52" fmla="*/ 62415 h 109895"/>
              <a:gd name="connsiteX53" fmla="*/ 206791 w 629896"/>
              <a:gd name="connsiteY53" fmla="*/ 108402 h 109895"/>
              <a:gd name="connsiteX54" fmla="*/ 192723 w 629896"/>
              <a:gd name="connsiteY54" fmla="*/ 108402 h 109895"/>
              <a:gd name="connsiteX55" fmla="*/ 192723 w 629896"/>
              <a:gd name="connsiteY55" fmla="*/ 1307 h 109895"/>
              <a:gd name="connsiteX56" fmla="*/ 277630 w 629896"/>
              <a:gd name="connsiteY56" fmla="*/ 1307 h 109895"/>
              <a:gd name="connsiteX57" fmla="*/ 313673 w 629896"/>
              <a:gd name="connsiteY57" fmla="*/ 1307 h 109895"/>
              <a:gd name="connsiteX58" fmla="*/ 333654 w 629896"/>
              <a:gd name="connsiteY58" fmla="*/ 3858 h 109895"/>
              <a:gd name="connsiteX59" fmla="*/ 349839 w 629896"/>
              <a:gd name="connsiteY59" fmla="*/ 12197 h 109895"/>
              <a:gd name="connsiteX60" fmla="*/ 360545 w 629896"/>
              <a:gd name="connsiteY60" fmla="*/ 27443 h 109895"/>
              <a:gd name="connsiteX61" fmla="*/ 364467 w 629896"/>
              <a:gd name="connsiteY61" fmla="*/ 51215 h 109895"/>
              <a:gd name="connsiteX62" fmla="*/ 357558 w 629896"/>
              <a:gd name="connsiteY62" fmla="*/ 82889 h 109895"/>
              <a:gd name="connsiteX63" fmla="*/ 339070 w 629896"/>
              <a:gd name="connsiteY63" fmla="*/ 101992 h 109895"/>
              <a:gd name="connsiteX64" fmla="*/ 311992 w 629896"/>
              <a:gd name="connsiteY64" fmla="*/ 108402 h 109895"/>
              <a:gd name="connsiteX65" fmla="*/ 277630 w 629896"/>
              <a:gd name="connsiteY65" fmla="*/ 108402 h 109895"/>
              <a:gd name="connsiteX66" fmla="*/ 277630 w 629896"/>
              <a:gd name="connsiteY66" fmla="*/ 1307 h 109895"/>
              <a:gd name="connsiteX67" fmla="*/ 311992 w 629896"/>
              <a:gd name="connsiteY67" fmla="*/ 95707 h 109895"/>
              <a:gd name="connsiteX68" fmla="*/ 331413 w 629896"/>
              <a:gd name="connsiteY68" fmla="*/ 91227 h 109895"/>
              <a:gd name="connsiteX69" fmla="*/ 344423 w 629896"/>
              <a:gd name="connsiteY69" fmla="*/ 77039 h 109895"/>
              <a:gd name="connsiteX70" fmla="*/ 349216 w 629896"/>
              <a:gd name="connsiteY70" fmla="*/ 52272 h 109895"/>
              <a:gd name="connsiteX71" fmla="*/ 344610 w 629896"/>
              <a:gd name="connsiteY71" fmla="*/ 28936 h 109895"/>
              <a:gd name="connsiteX72" fmla="*/ 331911 w 629896"/>
              <a:gd name="connsiteY72" fmla="*/ 17424 h 109895"/>
              <a:gd name="connsiteX73" fmla="*/ 313673 w 629896"/>
              <a:gd name="connsiteY73" fmla="*/ 14188 h 109895"/>
              <a:gd name="connsiteX74" fmla="*/ 291698 w 629896"/>
              <a:gd name="connsiteY74" fmla="*/ 14188 h 109895"/>
              <a:gd name="connsiteX75" fmla="*/ 291698 w 629896"/>
              <a:gd name="connsiteY75" fmla="*/ 95707 h 109895"/>
              <a:gd name="connsiteX76" fmla="*/ 311992 w 629896"/>
              <a:gd name="connsiteY76" fmla="*/ 95707 h 109895"/>
              <a:gd name="connsiteX77" fmla="*/ 446200 w 629896"/>
              <a:gd name="connsiteY77" fmla="*/ 13442 h 109895"/>
              <a:gd name="connsiteX78" fmla="*/ 400759 w 629896"/>
              <a:gd name="connsiteY78" fmla="*/ 108402 h 109895"/>
              <a:gd name="connsiteX79" fmla="*/ 386130 w 629896"/>
              <a:gd name="connsiteY79" fmla="*/ 108402 h 109895"/>
              <a:gd name="connsiteX80" fmla="*/ 431821 w 629896"/>
              <a:gd name="connsiteY80" fmla="*/ 14188 h 109895"/>
              <a:gd name="connsiteX81" fmla="*/ 377291 w 629896"/>
              <a:gd name="connsiteY81" fmla="*/ 14188 h 109895"/>
              <a:gd name="connsiteX82" fmla="*/ 377291 w 629896"/>
              <a:gd name="connsiteY82" fmla="*/ 1307 h 109895"/>
              <a:gd name="connsiteX83" fmla="*/ 446200 w 629896"/>
              <a:gd name="connsiteY83" fmla="*/ 1307 h 109895"/>
              <a:gd name="connsiteX84" fmla="*/ 446200 w 629896"/>
              <a:gd name="connsiteY84" fmla="*/ 13442 h 109895"/>
              <a:gd name="connsiteX85" fmla="*/ 511748 w 629896"/>
              <a:gd name="connsiteY85" fmla="*/ 109896 h 109895"/>
              <a:gd name="connsiteX86" fmla="*/ 483923 w 629896"/>
              <a:gd name="connsiteY86" fmla="*/ 103300 h 109895"/>
              <a:gd name="connsiteX87" fmla="*/ 465559 w 629896"/>
              <a:gd name="connsiteY87" fmla="*/ 84507 h 109895"/>
              <a:gd name="connsiteX88" fmla="*/ 459024 w 629896"/>
              <a:gd name="connsiteY88" fmla="*/ 54948 h 109895"/>
              <a:gd name="connsiteX89" fmla="*/ 472594 w 629896"/>
              <a:gd name="connsiteY89" fmla="*/ 14624 h 109895"/>
              <a:gd name="connsiteX90" fmla="*/ 511437 w 629896"/>
              <a:gd name="connsiteY90" fmla="*/ 0 h 109895"/>
              <a:gd name="connsiteX91" fmla="*/ 529365 w 629896"/>
              <a:gd name="connsiteY91" fmla="*/ 2054 h 109895"/>
              <a:gd name="connsiteX92" fmla="*/ 543994 w 629896"/>
              <a:gd name="connsiteY92" fmla="*/ 7716 h 109895"/>
              <a:gd name="connsiteX93" fmla="*/ 543994 w 629896"/>
              <a:gd name="connsiteY93" fmla="*/ 21158 h 109895"/>
              <a:gd name="connsiteX94" fmla="*/ 528929 w 629896"/>
              <a:gd name="connsiteY94" fmla="*/ 14935 h 109895"/>
              <a:gd name="connsiteX95" fmla="*/ 511313 w 629896"/>
              <a:gd name="connsiteY95" fmla="*/ 12695 h 109895"/>
              <a:gd name="connsiteX96" fmla="*/ 483363 w 629896"/>
              <a:gd name="connsiteY96" fmla="*/ 23273 h 109895"/>
              <a:gd name="connsiteX97" fmla="*/ 474212 w 629896"/>
              <a:gd name="connsiteY97" fmla="*/ 54948 h 109895"/>
              <a:gd name="connsiteX98" fmla="*/ 484110 w 629896"/>
              <a:gd name="connsiteY98" fmla="*/ 86747 h 109895"/>
              <a:gd name="connsiteX99" fmla="*/ 512931 w 629896"/>
              <a:gd name="connsiteY99" fmla="*/ 97201 h 109895"/>
              <a:gd name="connsiteX100" fmla="*/ 543994 w 629896"/>
              <a:gd name="connsiteY100" fmla="*/ 87369 h 109895"/>
              <a:gd name="connsiteX101" fmla="*/ 543994 w 629896"/>
              <a:gd name="connsiteY101" fmla="*/ 100811 h 109895"/>
              <a:gd name="connsiteX102" fmla="*/ 530112 w 629896"/>
              <a:gd name="connsiteY102" fmla="*/ 107531 h 109895"/>
              <a:gd name="connsiteX103" fmla="*/ 511748 w 629896"/>
              <a:gd name="connsiteY103" fmla="*/ 109896 h 109895"/>
              <a:gd name="connsiteX104" fmla="*/ 594477 w 629896"/>
              <a:gd name="connsiteY104" fmla="*/ 109896 h 109895"/>
              <a:gd name="connsiteX105" fmla="*/ 575803 w 629896"/>
              <a:gd name="connsiteY105" fmla="*/ 106287 h 109895"/>
              <a:gd name="connsiteX106" fmla="*/ 563104 w 629896"/>
              <a:gd name="connsiteY106" fmla="*/ 96019 h 109895"/>
              <a:gd name="connsiteX107" fmla="*/ 558497 w 629896"/>
              <a:gd name="connsiteY107" fmla="*/ 79590 h 109895"/>
              <a:gd name="connsiteX108" fmla="*/ 563851 w 629896"/>
              <a:gd name="connsiteY108" fmla="*/ 62105 h 109895"/>
              <a:gd name="connsiteX109" fmla="*/ 578666 w 629896"/>
              <a:gd name="connsiteY109" fmla="*/ 51525 h 109895"/>
              <a:gd name="connsiteX110" fmla="*/ 566714 w 629896"/>
              <a:gd name="connsiteY110" fmla="*/ 42378 h 109895"/>
              <a:gd name="connsiteX111" fmla="*/ 562357 w 629896"/>
              <a:gd name="connsiteY111" fmla="*/ 27318 h 109895"/>
              <a:gd name="connsiteX112" fmla="*/ 566528 w 629896"/>
              <a:gd name="connsiteY112" fmla="*/ 12383 h 109895"/>
              <a:gd name="connsiteX113" fmla="*/ 578044 w 629896"/>
              <a:gd name="connsiteY113" fmla="*/ 3111 h 109895"/>
              <a:gd name="connsiteX114" fmla="*/ 594477 w 629896"/>
              <a:gd name="connsiteY114" fmla="*/ 0 h 109895"/>
              <a:gd name="connsiteX115" fmla="*/ 610600 w 629896"/>
              <a:gd name="connsiteY115" fmla="*/ 3111 h 109895"/>
              <a:gd name="connsiteX116" fmla="*/ 621991 w 629896"/>
              <a:gd name="connsiteY116" fmla="*/ 12073 h 109895"/>
              <a:gd name="connsiteX117" fmla="*/ 626287 w 629896"/>
              <a:gd name="connsiteY117" fmla="*/ 27008 h 109895"/>
              <a:gd name="connsiteX118" fmla="*/ 621805 w 629896"/>
              <a:gd name="connsiteY118" fmla="*/ 42253 h 109895"/>
              <a:gd name="connsiteX119" fmla="*/ 610040 w 629896"/>
              <a:gd name="connsiteY119" fmla="*/ 51525 h 109895"/>
              <a:gd name="connsiteX120" fmla="*/ 624357 w 629896"/>
              <a:gd name="connsiteY120" fmla="*/ 61669 h 109895"/>
              <a:gd name="connsiteX121" fmla="*/ 629897 w 629896"/>
              <a:gd name="connsiteY121" fmla="*/ 79155 h 109895"/>
              <a:gd name="connsiteX122" fmla="*/ 625290 w 629896"/>
              <a:gd name="connsiteY122" fmla="*/ 95707 h 109895"/>
              <a:gd name="connsiteX123" fmla="*/ 612591 w 629896"/>
              <a:gd name="connsiteY123" fmla="*/ 106287 h 109895"/>
              <a:gd name="connsiteX124" fmla="*/ 594477 w 629896"/>
              <a:gd name="connsiteY124" fmla="*/ 109896 h 109895"/>
              <a:gd name="connsiteX125" fmla="*/ 594477 w 629896"/>
              <a:gd name="connsiteY125" fmla="*/ 46111 h 109895"/>
              <a:gd name="connsiteX126" fmla="*/ 607487 w 629896"/>
              <a:gd name="connsiteY126" fmla="*/ 41631 h 109895"/>
              <a:gd name="connsiteX127" fmla="*/ 612716 w 629896"/>
              <a:gd name="connsiteY127" fmla="*/ 28936 h 109895"/>
              <a:gd name="connsiteX128" fmla="*/ 607487 w 629896"/>
              <a:gd name="connsiteY128" fmla="*/ 16428 h 109895"/>
              <a:gd name="connsiteX129" fmla="*/ 594477 w 629896"/>
              <a:gd name="connsiteY129" fmla="*/ 11761 h 109895"/>
              <a:gd name="connsiteX130" fmla="*/ 581218 w 629896"/>
              <a:gd name="connsiteY130" fmla="*/ 16428 h 109895"/>
              <a:gd name="connsiteX131" fmla="*/ 575990 w 629896"/>
              <a:gd name="connsiteY131" fmla="*/ 28936 h 109895"/>
              <a:gd name="connsiteX132" fmla="*/ 581218 w 629896"/>
              <a:gd name="connsiteY132" fmla="*/ 41631 h 109895"/>
              <a:gd name="connsiteX133" fmla="*/ 594477 w 629896"/>
              <a:gd name="connsiteY133" fmla="*/ 46111 h 109895"/>
              <a:gd name="connsiteX134" fmla="*/ 594477 w 629896"/>
              <a:gd name="connsiteY134" fmla="*/ 98072 h 109895"/>
              <a:gd name="connsiteX135" fmla="*/ 609853 w 629896"/>
              <a:gd name="connsiteY135" fmla="*/ 92721 h 109895"/>
              <a:gd name="connsiteX136" fmla="*/ 616140 w 629896"/>
              <a:gd name="connsiteY136" fmla="*/ 77350 h 109895"/>
              <a:gd name="connsiteX137" fmla="*/ 609853 w 629896"/>
              <a:gd name="connsiteY137" fmla="*/ 62105 h 109895"/>
              <a:gd name="connsiteX138" fmla="*/ 594477 w 629896"/>
              <a:gd name="connsiteY138" fmla="*/ 56566 h 109895"/>
              <a:gd name="connsiteX139" fmla="*/ 578479 w 629896"/>
              <a:gd name="connsiteY139" fmla="*/ 62105 h 109895"/>
              <a:gd name="connsiteX140" fmla="*/ 572254 w 629896"/>
              <a:gd name="connsiteY140" fmla="*/ 77350 h 109895"/>
              <a:gd name="connsiteX141" fmla="*/ 578479 w 629896"/>
              <a:gd name="connsiteY141" fmla="*/ 92721 h 109895"/>
              <a:gd name="connsiteX142" fmla="*/ 594477 w 629896"/>
              <a:gd name="connsiteY142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29896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07815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3" y="14188"/>
                </a:lnTo>
                <a:lnTo>
                  <a:pt x="121883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3" y="62415"/>
                </a:lnTo>
                <a:lnTo>
                  <a:pt x="121883" y="108402"/>
                </a:lnTo>
                <a:lnTo>
                  <a:pt x="107815" y="108402"/>
                </a:lnTo>
                <a:lnTo>
                  <a:pt x="107815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13673" y="1307"/>
                </a:lnTo>
                <a:cubicBezTo>
                  <a:pt x="320831" y="1307"/>
                  <a:pt x="327492" y="2179"/>
                  <a:pt x="333654" y="3858"/>
                </a:cubicBezTo>
                <a:cubicBezTo>
                  <a:pt x="339879" y="5538"/>
                  <a:pt x="345232" y="8339"/>
                  <a:pt x="349839" y="12197"/>
                </a:cubicBezTo>
                <a:cubicBezTo>
                  <a:pt x="354383" y="15993"/>
                  <a:pt x="357994" y="21096"/>
                  <a:pt x="360545" y="27443"/>
                </a:cubicBezTo>
                <a:cubicBezTo>
                  <a:pt x="363160" y="33853"/>
                  <a:pt x="364467" y="41756"/>
                  <a:pt x="364467" y="51215"/>
                </a:cubicBezTo>
                <a:cubicBezTo>
                  <a:pt x="364467" y="63722"/>
                  <a:pt x="362164" y="74301"/>
                  <a:pt x="357558" y="82889"/>
                </a:cubicBezTo>
                <a:cubicBezTo>
                  <a:pt x="353076" y="91352"/>
                  <a:pt x="346913" y="97699"/>
                  <a:pt x="339070" y="101992"/>
                </a:cubicBezTo>
                <a:cubicBezTo>
                  <a:pt x="331164" y="106287"/>
                  <a:pt x="322201" y="108402"/>
                  <a:pt x="311992" y="108402"/>
                </a:cubicBez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11992" y="95707"/>
                </a:moveTo>
                <a:cubicBezTo>
                  <a:pt x="319399" y="95707"/>
                  <a:pt x="325873" y="94214"/>
                  <a:pt x="331413" y="91227"/>
                </a:cubicBezTo>
                <a:cubicBezTo>
                  <a:pt x="337016" y="88116"/>
                  <a:pt x="341373" y="83386"/>
                  <a:pt x="344423" y="77039"/>
                </a:cubicBezTo>
                <a:cubicBezTo>
                  <a:pt x="347598" y="70568"/>
                  <a:pt x="349216" y="62291"/>
                  <a:pt x="349216" y="52272"/>
                </a:cubicBezTo>
                <a:cubicBezTo>
                  <a:pt x="349216" y="42191"/>
                  <a:pt x="347660" y="34413"/>
                  <a:pt x="344610" y="28936"/>
                </a:cubicBezTo>
                <a:cubicBezTo>
                  <a:pt x="341498" y="23460"/>
                  <a:pt x="337264" y="19664"/>
                  <a:pt x="331911" y="17424"/>
                </a:cubicBezTo>
                <a:cubicBezTo>
                  <a:pt x="326620" y="15246"/>
                  <a:pt x="320520" y="14188"/>
                  <a:pt x="313673" y="14188"/>
                </a:cubicBezTo>
                <a:lnTo>
                  <a:pt x="291698" y="14188"/>
                </a:lnTo>
                <a:lnTo>
                  <a:pt x="291698" y="95707"/>
                </a:lnTo>
                <a:lnTo>
                  <a:pt x="311992" y="95707"/>
                </a:lnTo>
                <a:close/>
                <a:moveTo>
                  <a:pt x="446200" y="13442"/>
                </a:moveTo>
                <a:lnTo>
                  <a:pt x="400759" y="108402"/>
                </a:lnTo>
                <a:lnTo>
                  <a:pt x="386130" y="108402"/>
                </a:lnTo>
                <a:lnTo>
                  <a:pt x="431821" y="14188"/>
                </a:lnTo>
                <a:lnTo>
                  <a:pt x="377291" y="14188"/>
                </a:lnTo>
                <a:lnTo>
                  <a:pt x="377291" y="1307"/>
                </a:lnTo>
                <a:lnTo>
                  <a:pt x="446200" y="1307"/>
                </a:lnTo>
                <a:lnTo>
                  <a:pt x="446200" y="13442"/>
                </a:lnTo>
                <a:close/>
                <a:moveTo>
                  <a:pt x="511748" y="109896"/>
                </a:moveTo>
                <a:cubicBezTo>
                  <a:pt x="501166" y="109896"/>
                  <a:pt x="491891" y="107718"/>
                  <a:pt x="483923" y="103300"/>
                </a:cubicBezTo>
                <a:cubicBezTo>
                  <a:pt x="476080" y="98943"/>
                  <a:pt x="469980" y="92658"/>
                  <a:pt x="465559" y="84507"/>
                </a:cubicBezTo>
                <a:cubicBezTo>
                  <a:pt x="461202" y="76230"/>
                  <a:pt x="459024" y="66398"/>
                  <a:pt x="459024" y="54948"/>
                </a:cubicBezTo>
                <a:cubicBezTo>
                  <a:pt x="459024" y="37711"/>
                  <a:pt x="463505" y="24269"/>
                  <a:pt x="472594" y="14624"/>
                </a:cubicBezTo>
                <a:cubicBezTo>
                  <a:pt x="481682" y="4854"/>
                  <a:pt x="494630" y="0"/>
                  <a:pt x="511437" y="0"/>
                </a:cubicBezTo>
                <a:cubicBezTo>
                  <a:pt x="517724" y="0"/>
                  <a:pt x="523700" y="684"/>
                  <a:pt x="529365" y="2054"/>
                </a:cubicBezTo>
                <a:cubicBezTo>
                  <a:pt x="535154" y="3361"/>
                  <a:pt x="540010" y="5228"/>
                  <a:pt x="543994" y="7716"/>
                </a:cubicBezTo>
                <a:lnTo>
                  <a:pt x="543994" y="21158"/>
                </a:lnTo>
                <a:cubicBezTo>
                  <a:pt x="539698" y="18482"/>
                  <a:pt x="534719" y="16428"/>
                  <a:pt x="528929" y="14935"/>
                </a:cubicBezTo>
                <a:cubicBezTo>
                  <a:pt x="523264" y="13442"/>
                  <a:pt x="517351" y="12695"/>
                  <a:pt x="511313" y="12695"/>
                </a:cubicBezTo>
                <a:cubicBezTo>
                  <a:pt x="498739" y="12695"/>
                  <a:pt x="489401" y="16180"/>
                  <a:pt x="483363" y="23273"/>
                </a:cubicBezTo>
                <a:cubicBezTo>
                  <a:pt x="477262" y="30368"/>
                  <a:pt x="474212" y="40885"/>
                  <a:pt x="474212" y="54948"/>
                </a:cubicBezTo>
                <a:cubicBezTo>
                  <a:pt x="474212" y="69074"/>
                  <a:pt x="477511" y="79653"/>
                  <a:pt x="484110" y="86747"/>
                </a:cubicBezTo>
                <a:cubicBezTo>
                  <a:pt x="490646" y="93716"/>
                  <a:pt x="500295" y="97201"/>
                  <a:pt x="512931" y="97201"/>
                </a:cubicBezTo>
                <a:cubicBezTo>
                  <a:pt x="524883" y="97201"/>
                  <a:pt x="535216" y="93903"/>
                  <a:pt x="543994" y="87369"/>
                </a:cubicBezTo>
                <a:lnTo>
                  <a:pt x="543994" y="100811"/>
                </a:lnTo>
                <a:cubicBezTo>
                  <a:pt x="540507" y="103548"/>
                  <a:pt x="535901" y="105788"/>
                  <a:pt x="530112" y="107531"/>
                </a:cubicBezTo>
                <a:cubicBezTo>
                  <a:pt x="524323" y="109087"/>
                  <a:pt x="518223" y="109896"/>
                  <a:pt x="511748" y="109896"/>
                </a:cubicBezTo>
                <a:close/>
                <a:moveTo>
                  <a:pt x="594477" y="109896"/>
                </a:moveTo>
                <a:cubicBezTo>
                  <a:pt x="587506" y="109896"/>
                  <a:pt x="581281" y="108714"/>
                  <a:pt x="575803" y="106287"/>
                </a:cubicBezTo>
                <a:cubicBezTo>
                  <a:pt x="570449" y="103922"/>
                  <a:pt x="566216" y="100499"/>
                  <a:pt x="563104" y="96019"/>
                </a:cubicBezTo>
                <a:cubicBezTo>
                  <a:pt x="560054" y="91414"/>
                  <a:pt x="558497" y="85938"/>
                  <a:pt x="558497" y="79590"/>
                </a:cubicBezTo>
                <a:cubicBezTo>
                  <a:pt x="558497" y="72683"/>
                  <a:pt x="560303" y="66896"/>
                  <a:pt x="563851" y="62105"/>
                </a:cubicBezTo>
                <a:cubicBezTo>
                  <a:pt x="567523" y="57251"/>
                  <a:pt x="572503" y="53703"/>
                  <a:pt x="578666" y="51525"/>
                </a:cubicBezTo>
                <a:cubicBezTo>
                  <a:pt x="573686" y="49534"/>
                  <a:pt x="569703" y="46485"/>
                  <a:pt x="566714" y="42378"/>
                </a:cubicBezTo>
                <a:cubicBezTo>
                  <a:pt x="563788" y="38333"/>
                  <a:pt x="562357" y="33293"/>
                  <a:pt x="562357" y="27318"/>
                </a:cubicBezTo>
                <a:cubicBezTo>
                  <a:pt x="562357" y="21407"/>
                  <a:pt x="563788" y="16428"/>
                  <a:pt x="566528" y="12383"/>
                </a:cubicBezTo>
                <a:cubicBezTo>
                  <a:pt x="569329" y="8277"/>
                  <a:pt x="573188" y="5228"/>
                  <a:pt x="578044" y="3111"/>
                </a:cubicBezTo>
                <a:cubicBezTo>
                  <a:pt x="582962" y="996"/>
                  <a:pt x="588440" y="0"/>
                  <a:pt x="594477" y="0"/>
                </a:cubicBezTo>
                <a:cubicBezTo>
                  <a:pt x="600453" y="0"/>
                  <a:pt x="605869" y="996"/>
                  <a:pt x="610600" y="3111"/>
                </a:cubicBezTo>
                <a:cubicBezTo>
                  <a:pt x="615393" y="5103"/>
                  <a:pt x="619190" y="8090"/>
                  <a:pt x="621991" y="12073"/>
                </a:cubicBezTo>
                <a:cubicBezTo>
                  <a:pt x="624855" y="16055"/>
                  <a:pt x="626287" y="21033"/>
                  <a:pt x="626287" y="27008"/>
                </a:cubicBezTo>
                <a:cubicBezTo>
                  <a:pt x="626287" y="33106"/>
                  <a:pt x="624793" y="38146"/>
                  <a:pt x="621805" y="42253"/>
                </a:cubicBezTo>
                <a:cubicBezTo>
                  <a:pt x="618816" y="46298"/>
                  <a:pt x="614895" y="49410"/>
                  <a:pt x="610040" y="51525"/>
                </a:cubicBezTo>
                <a:cubicBezTo>
                  <a:pt x="616015" y="53579"/>
                  <a:pt x="620809" y="57001"/>
                  <a:pt x="624357" y="61669"/>
                </a:cubicBezTo>
                <a:cubicBezTo>
                  <a:pt x="628030" y="66336"/>
                  <a:pt x="629897" y="72186"/>
                  <a:pt x="629897" y="79155"/>
                </a:cubicBezTo>
                <a:cubicBezTo>
                  <a:pt x="629897" y="85502"/>
                  <a:pt x="628341" y="91040"/>
                  <a:pt x="625290" y="95707"/>
                </a:cubicBezTo>
                <a:cubicBezTo>
                  <a:pt x="622178" y="100312"/>
                  <a:pt x="617945" y="103797"/>
                  <a:pt x="612591" y="106287"/>
                </a:cubicBezTo>
                <a:cubicBezTo>
                  <a:pt x="607300" y="108714"/>
                  <a:pt x="601262" y="109896"/>
                  <a:pt x="594477" y="109896"/>
                </a:cubicBezTo>
                <a:close/>
                <a:moveTo>
                  <a:pt x="594477" y="46111"/>
                </a:moveTo>
                <a:cubicBezTo>
                  <a:pt x="599768" y="46111"/>
                  <a:pt x="604126" y="44618"/>
                  <a:pt x="607487" y="41631"/>
                </a:cubicBezTo>
                <a:cubicBezTo>
                  <a:pt x="610974" y="38582"/>
                  <a:pt x="612716" y="34350"/>
                  <a:pt x="612716" y="28936"/>
                </a:cubicBezTo>
                <a:cubicBezTo>
                  <a:pt x="612716" y="23585"/>
                  <a:pt x="610974" y="19415"/>
                  <a:pt x="607487" y="16428"/>
                </a:cubicBezTo>
                <a:cubicBezTo>
                  <a:pt x="604126" y="13317"/>
                  <a:pt x="599768" y="11761"/>
                  <a:pt x="594477" y="11761"/>
                </a:cubicBezTo>
                <a:cubicBezTo>
                  <a:pt x="589186" y="11761"/>
                  <a:pt x="584766" y="13317"/>
                  <a:pt x="581218" y="16428"/>
                </a:cubicBezTo>
                <a:cubicBezTo>
                  <a:pt x="577732" y="19415"/>
                  <a:pt x="575990" y="23585"/>
                  <a:pt x="575990" y="28936"/>
                </a:cubicBezTo>
                <a:cubicBezTo>
                  <a:pt x="575990" y="34350"/>
                  <a:pt x="577732" y="38582"/>
                  <a:pt x="581218" y="41631"/>
                </a:cubicBezTo>
                <a:cubicBezTo>
                  <a:pt x="584766" y="44618"/>
                  <a:pt x="589186" y="46111"/>
                  <a:pt x="594477" y="46111"/>
                </a:cubicBezTo>
                <a:close/>
                <a:moveTo>
                  <a:pt x="594477" y="98072"/>
                </a:moveTo>
                <a:cubicBezTo>
                  <a:pt x="600640" y="98072"/>
                  <a:pt x="605806" y="96330"/>
                  <a:pt x="609853" y="92721"/>
                </a:cubicBezTo>
                <a:cubicBezTo>
                  <a:pt x="614086" y="89049"/>
                  <a:pt x="616140" y="83885"/>
                  <a:pt x="616140" y="77350"/>
                </a:cubicBezTo>
                <a:cubicBezTo>
                  <a:pt x="616140" y="70754"/>
                  <a:pt x="614086" y="65714"/>
                  <a:pt x="609853" y="62105"/>
                </a:cubicBezTo>
                <a:cubicBezTo>
                  <a:pt x="605806" y="58433"/>
                  <a:pt x="600640" y="56566"/>
                  <a:pt x="594477" y="56566"/>
                </a:cubicBezTo>
                <a:cubicBezTo>
                  <a:pt x="588128" y="56566"/>
                  <a:pt x="582775" y="58433"/>
                  <a:pt x="578479" y="62105"/>
                </a:cubicBezTo>
                <a:cubicBezTo>
                  <a:pt x="574309" y="65714"/>
                  <a:pt x="572254" y="70754"/>
                  <a:pt x="572254" y="77350"/>
                </a:cubicBezTo>
                <a:cubicBezTo>
                  <a:pt x="572254" y="83885"/>
                  <a:pt x="574309" y="89049"/>
                  <a:pt x="578479" y="92721"/>
                </a:cubicBezTo>
                <a:cubicBezTo>
                  <a:pt x="582775" y="96330"/>
                  <a:pt x="588128" y="98072"/>
                  <a:pt x="594477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9" name="Полилиния 1058">
            <a:extLst>
              <a:ext uri="{FF2B5EF4-FFF2-40B4-BE49-F238E27FC236}">
                <a16:creationId xmlns:a16="http://schemas.microsoft.com/office/drawing/2014/main" id="{48B37E1E-CC4F-3A7C-E42E-75650EFC70F9}"/>
              </a:ext>
            </a:extLst>
          </p:cNvPr>
          <p:cNvSpPr/>
          <p:nvPr userDrawn="1"/>
        </p:nvSpPr>
        <p:spPr>
          <a:xfrm>
            <a:off x="19989822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73" y="622284"/>
                  <a:pt x="1049331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BE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0" name="Полилиния 1059">
            <a:extLst>
              <a:ext uri="{FF2B5EF4-FFF2-40B4-BE49-F238E27FC236}">
                <a16:creationId xmlns:a16="http://schemas.microsoft.com/office/drawing/2014/main" id="{D4D01135-5B98-4B90-050E-3E982F6DA3E2}"/>
              </a:ext>
            </a:extLst>
          </p:cNvPr>
          <p:cNvSpPr/>
          <p:nvPr userDrawn="1"/>
        </p:nvSpPr>
        <p:spPr>
          <a:xfrm>
            <a:off x="20113031" y="10627147"/>
            <a:ext cx="695009" cy="124982"/>
          </a:xfrm>
          <a:custGeom>
            <a:avLst/>
            <a:gdLst>
              <a:gd name="connsiteX0" fmla="*/ 22098 w 595535"/>
              <a:gd name="connsiteY0" fmla="*/ 107095 h 107094"/>
              <a:gd name="connsiteX1" fmla="*/ 10147 w 595535"/>
              <a:gd name="connsiteY1" fmla="*/ 107095 h 107094"/>
              <a:gd name="connsiteX2" fmla="*/ 16434 w 595535"/>
              <a:gd name="connsiteY2" fmla="*/ 76168 h 107094"/>
              <a:gd name="connsiteX3" fmla="*/ 0 w 595535"/>
              <a:gd name="connsiteY3" fmla="*/ 76168 h 107094"/>
              <a:gd name="connsiteX4" fmla="*/ 0 w 595535"/>
              <a:gd name="connsiteY4" fmla="*/ 65713 h 107094"/>
              <a:gd name="connsiteX5" fmla="*/ 18675 w 595535"/>
              <a:gd name="connsiteY5" fmla="*/ 65713 h 107094"/>
              <a:gd name="connsiteX6" fmla="*/ 24215 w 595535"/>
              <a:gd name="connsiteY6" fmla="*/ 38519 h 107094"/>
              <a:gd name="connsiteX7" fmla="*/ 4046 w 595535"/>
              <a:gd name="connsiteY7" fmla="*/ 38519 h 107094"/>
              <a:gd name="connsiteX8" fmla="*/ 4046 w 595535"/>
              <a:gd name="connsiteY8" fmla="*/ 28065 h 107094"/>
              <a:gd name="connsiteX9" fmla="*/ 26269 w 595535"/>
              <a:gd name="connsiteY9" fmla="*/ 28065 h 107094"/>
              <a:gd name="connsiteX10" fmla="*/ 32120 w 595535"/>
              <a:gd name="connsiteY10" fmla="*/ 0 h 107094"/>
              <a:gd name="connsiteX11" fmla="*/ 44072 w 595535"/>
              <a:gd name="connsiteY11" fmla="*/ 0 h 107094"/>
              <a:gd name="connsiteX12" fmla="*/ 38221 w 595535"/>
              <a:gd name="connsiteY12" fmla="*/ 28065 h 107094"/>
              <a:gd name="connsiteX13" fmla="*/ 60630 w 595535"/>
              <a:gd name="connsiteY13" fmla="*/ 28065 h 107094"/>
              <a:gd name="connsiteX14" fmla="*/ 66481 w 595535"/>
              <a:gd name="connsiteY14" fmla="*/ 0 h 107094"/>
              <a:gd name="connsiteX15" fmla="*/ 78434 w 595535"/>
              <a:gd name="connsiteY15" fmla="*/ 0 h 107094"/>
              <a:gd name="connsiteX16" fmla="*/ 72582 w 595535"/>
              <a:gd name="connsiteY16" fmla="*/ 28065 h 107094"/>
              <a:gd name="connsiteX17" fmla="*/ 89327 w 595535"/>
              <a:gd name="connsiteY17" fmla="*/ 28065 h 107094"/>
              <a:gd name="connsiteX18" fmla="*/ 89327 w 595535"/>
              <a:gd name="connsiteY18" fmla="*/ 38519 h 107094"/>
              <a:gd name="connsiteX19" fmla="*/ 70528 w 595535"/>
              <a:gd name="connsiteY19" fmla="*/ 38519 h 107094"/>
              <a:gd name="connsiteX20" fmla="*/ 64988 w 595535"/>
              <a:gd name="connsiteY20" fmla="*/ 65713 h 107094"/>
              <a:gd name="connsiteX21" fmla="*/ 85281 w 595535"/>
              <a:gd name="connsiteY21" fmla="*/ 65713 h 107094"/>
              <a:gd name="connsiteX22" fmla="*/ 85281 w 595535"/>
              <a:gd name="connsiteY22" fmla="*/ 76168 h 107094"/>
              <a:gd name="connsiteX23" fmla="*/ 62747 w 595535"/>
              <a:gd name="connsiteY23" fmla="*/ 76168 h 107094"/>
              <a:gd name="connsiteX24" fmla="*/ 56459 w 595535"/>
              <a:gd name="connsiteY24" fmla="*/ 107095 h 107094"/>
              <a:gd name="connsiteX25" fmla="*/ 44508 w 595535"/>
              <a:gd name="connsiteY25" fmla="*/ 107095 h 107094"/>
              <a:gd name="connsiteX26" fmla="*/ 50795 w 595535"/>
              <a:gd name="connsiteY26" fmla="*/ 76168 h 107094"/>
              <a:gd name="connsiteX27" fmla="*/ 28385 w 595535"/>
              <a:gd name="connsiteY27" fmla="*/ 76168 h 107094"/>
              <a:gd name="connsiteX28" fmla="*/ 22098 w 595535"/>
              <a:gd name="connsiteY28" fmla="*/ 107095 h 107094"/>
              <a:gd name="connsiteX29" fmla="*/ 30626 w 595535"/>
              <a:gd name="connsiteY29" fmla="*/ 65713 h 107094"/>
              <a:gd name="connsiteX30" fmla="*/ 53036 w 595535"/>
              <a:gd name="connsiteY30" fmla="*/ 65713 h 107094"/>
              <a:gd name="connsiteX31" fmla="*/ 58576 w 595535"/>
              <a:gd name="connsiteY31" fmla="*/ 38519 h 107094"/>
              <a:gd name="connsiteX32" fmla="*/ 36166 w 595535"/>
              <a:gd name="connsiteY32" fmla="*/ 38519 h 107094"/>
              <a:gd name="connsiteX33" fmla="*/ 30626 w 595535"/>
              <a:gd name="connsiteY33" fmla="*/ 65713 h 107094"/>
              <a:gd name="connsiteX34" fmla="*/ 107815 w 595535"/>
              <a:gd name="connsiteY34" fmla="*/ 0 h 107094"/>
              <a:gd name="connsiteX35" fmla="*/ 173239 w 595535"/>
              <a:gd name="connsiteY35" fmla="*/ 0 h 107094"/>
              <a:gd name="connsiteX36" fmla="*/ 173239 w 595535"/>
              <a:gd name="connsiteY36" fmla="*/ 12881 h 107094"/>
              <a:gd name="connsiteX37" fmla="*/ 121883 w 595535"/>
              <a:gd name="connsiteY37" fmla="*/ 12881 h 107094"/>
              <a:gd name="connsiteX38" fmla="*/ 121883 w 595535"/>
              <a:gd name="connsiteY38" fmla="*/ 48413 h 107094"/>
              <a:gd name="connsiteX39" fmla="*/ 165520 w 595535"/>
              <a:gd name="connsiteY39" fmla="*/ 48413 h 107094"/>
              <a:gd name="connsiteX40" fmla="*/ 165520 w 595535"/>
              <a:gd name="connsiteY40" fmla="*/ 61108 h 107094"/>
              <a:gd name="connsiteX41" fmla="*/ 121883 w 595535"/>
              <a:gd name="connsiteY41" fmla="*/ 61108 h 107094"/>
              <a:gd name="connsiteX42" fmla="*/ 121883 w 595535"/>
              <a:gd name="connsiteY42" fmla="*/ 107095 h 107094"/>
              <a:gd name="connsiteX43" fmla="*/ 107815 w 595535"/>
              <a:gd name="connsiteY43" fmla="*/ 107095 h 107094"/>
              <a:gd name="connsiteX44" fmla="*/ 107815 w 595535"/>
              <a:gd name="connsiteY44" fmla="*/ 0 h 107094"/>
              <a:gd name="connsiteX45" fmla="*/ 192723 w 595535"/>
              <a:gd name="connsiteY45" fmla="*/ 0 h 107094"/>
              <a:gd name="connsiteX46" fmla="*/ 258146 w 595535"/>
              <a:gd name="connsiteY46" fmla="*/ 0 h 107094"/>
              <a:gd name="connsiteX47" fmla="*/ 258146 w 595535"/>
              <a:gd name="connsiteY47" fmla="*/ 12881 h 107094"/>
              <a:gd name="connsiteX48" fmla="*/ 206791 w 595535"/>
              <a:gd name="connsiteY48" fmla="*/ 12881 h 107094"/>
              <a:gd name="connsiteX49" fmla="*/ 206791 w 595535"/>
              <a:gd name="connsiteY49" fmla="*/ 48413 h 107094"/>
              <a:gd name="connsiteX50" fmla="*/ 250427 w 595535"/>
              <a:gd name="connsiteY50" fmla="*/ 48413 h 107094"/>
              <a:gd name="connsiteX51" fmla="*/ 250427 w 595535"/>
              <a:gd name="connsiteY51" fmla="*/ 61108 h 107094"/>
              <a:gd name="connsiteX52" fmla="*/ 206791 w 595535"/>
              <a:gd name="connsiteY52" fmla="*/ 61108 h 107094"/>
              <a:gd name="connsiteX53" fmla="*/ 206791 w 595535"/>
              <a:gd name="connsiteY53" fmla="*/ 107095 h 107094"/>
              <a:gd name="connsiteX54" fmla="*/ 192723 w 595535"/>
              <a:gd name="connsiteY54" fmla="*/ 107095 h 107094"/>
              <a:gd name="connsiteX55" fmla="*/ 192723 w 595535"/>
              <a:gd name="connsiteY55" fmla="*/ 0 h 107094"/>
              <a:gd name="connsiteX56" fmla="*/ 277630 w 595535"/>
              <a:gd name="connsiteY56" fmla="*/ 0 h 107094"/>
              <a:gd name="connsiteX57" fmla="*/ 343988 w 595535"/>
              <a:gd name="connsiteY57" fmla="*/ 0 h 107094"/>
              <a:gd name="connsiteX58" fmla="*/ 343988 w 595535"/>
              <a:gd name="connsiteY58" fmla="*/ 12881 h 107094"/>
              <a:gd name="connsiteX59" fmla="*/ 291698 w 595535"/>
              <a:gd name="connsiteY59" fmla="*/ 12881 h 107094"/>
              <a:gd name="connsiteX60" fmla="*/ 291698 w 595535"/>
              <a:gd name="connsiteY60" fmla="*/ 45240 h 107094"/>
              <a:gd name="connsiteX61" fmla="*/ 336082 w 595535"/>
              <a:gd name="connsiteY61" fmla="*/ 45240 h 107094"/>
              <a:gd name="connsiteX62" fmla="*/ 336082 w 595535"/>
              <a:gd name="connsiteY62" fmla="*/ 57934 h 107094"/>
              <a:gd name="connsiteX63" fmla="*/ 291698 w 595535"/>
              <a:gd name="connsiteY63" fmla="*/ 57934 h 107094"/>
              <a:gd name="connsiteX64" fmla="*/ 291698 w 595535"/>
              <a:gd name="connsiteY64" fmla="*/ 94400 h 107094"/>
              <a:gd name="connsiteX65" fmla="*/ 344735 w 595535"/>
              <a:gd name="connsiteY65" fmla="*/ 94400 h 107094"/>
              <a:gd name="connsiteX66" fmla="*/ 344735 w 595535"/>
              <a:gd name="connsiteY66" fmla="*/ 107095 h 107094"/>
              <a:gd name="connsiteX67" fmla="*/ 277630 w 595535"/>
              <a:gd name="connsiteY67" fmla="*/ 107095 h 107094"/>
              <a:gd name="connsiteX68" fmla="*/ 277630 w 595535"/>
              <a:gd name="connsiteY68" fmla="*/ 0 h 107094"/>
              <a:gd name="connsiteX69" fmla="*/ 366957 w 595535"/>
              <a:gd name="connsiteY69" fmla="*/ 0 h 107094"/>
              <a:gd name="connsiteX70" fmla="*/ 403249 w 595535"/>
              <a:gd name="connsiteY70" fmla="*/ 0 h 107094"/>
              <a:gd name="connsiteX71" fmla="*/ 429953 w 595535"/>
              <a:gd name="connsiteY71" fmla="*/ 5974 h 107094"/>
              <a:gd name="connsiteX72" fmla="*/ 439228 w 595535"/>
              <a:gd name="connsiteY72" fmla="*/ 26136 h 107094"/>
              <a:gd name="connsiteX73" fmla="*/ 433439 w 595535"/>
              <a:gd name="connsiteY73" fmla="*/ 43622 h 107094"/>
              <a:gd name="connsiteX74" fmla="*/ 417877 w 595535"/>
              <a:gd name="connsiteY74" fmla="*/ 51525 h 107094"/>
              <a:gd name="connsiteX75" fmla="*/ 436677 w 595535"/>
              <a:gd name="connsiteY75" fmla="*/ 58868 h 107094"/>
              <a:gd name="connsiteX76" fmla="*/ 443150 w 595535"/>
              <a:gd name="connsiteY76" fmla="*/ 76168 h 107094"/>
              <a:gd name="connsiteX77" fmla="*/ 437921 w 595535"/>
              <a:gd name="connsiteY77" fmla="*/ 94089 h 107094"/>
              <a:gd name="connsiteX78" fmla="*/ 423541 w 595535"/>
              <a:gd name="connsiteY78" fmla="*/ 104108 h 107094"/>
              <a:gd name="connsiteX79" fmla="*/ 402937 w 595535"/>
              <a:gd name="connsiteY79" fmla="*/ 107095 h 107094"/>
              <a:gd name="connsiteX80" fmla="*/ 366957 w 595535"/>
              <a:gd name="connsiteY80" fmla="*/ 107095 h 107094"/>
              <a:gd name="connsiteX81" fmla="*/ 366957 w 595535"/>
              <a:gd name="connsiteY81" fmla="*/ 0 h 107094"/>
              <a:gd name="connsiteX82" fmla="*/ 402190 w 595535"/>
              <a:gd name="connsiteY82" fmla="*/ 45738 h 107094"/>
              <a:gd name="connsiteX83" fmla="*/ 418624 w 595535"/>
              <a:gd name="connsiteY83" fmla="*/ 41257 h 107094"/>
              <a:gd name="connsiteX84" fmla="*/ 425036 w 595535"/>
              <a:gd name="connsiteY84" fmla="*/ 26882 h 107094"/>
              <a:gd name="connsiteX85" fmla="*/ 419371 w 595535"/>
              <a:gd name="connsiteY85" fmla="*/ 15868 h 107094"/>
              <a:gd name="connsiteX86" fmla="*/ 403249 w 595535"/>
              <a:gd name="connsiteY86" fmla="*/ 12881 h 107094"/>
              <a:gd name="connsiteX87" fmla="*/ 380963 w 595535"/>
              <a:gd name="connsiteY87" fmla="*/ 12881 h 107094"/>
              <a:gd name="connsiteX88" fmla="*/ 380963 w 595535"/>
              <a:gd name="connsiteY88" fmla="*/ 45738 h 107094"/>
              <a:gd name="connsiteX89" fmla="*/ 402190 w 595535"/>
              <a:gd name="connsiteY89" fmla="*/ 45738 h 107094"/>
              <a:gd name="connsiteX90" fmla="*/ 402937 w 595535"/>
              <a:gd name="connsiteY90" fmla="*/ 94400 h 107094"/>
              <a:gd name="connsiteX91" fmla="*/ 421300 w 595535"/>
              <a:gd name="connsiteY91" fmla="*/ 90542 h 107094"/>
              <a:gd name="connsiteX92" fmla="*/ 428335 w 595535"/>
              <a:gd name="connsiteY92" fmla="*/ 76478 h 107094"/>
              <a:gd name="connsiteX93" fmla="*/ 421737 w 595535"/>
              <a:gd name="connsiteY93" fmla="*/ 62415 h 107094"/>
              <a:gd name="connsiteX94" fmla="*/ 401319 w 595535"/>
              <a:gd name="connsiteY94" fmla="*/ 58433 h 107094"/>
              <a:gd name="connsiteX95" fmla="*/ 380963 w 595535"/>
              <a:gd name="connsiteY95" fmla="*/ 58433 h 107094"/>
              <a:gd name="connsiteX96" fmla="*/ 380963 w 595535"/>
              <a:gd name="connsiteY96" fmla="*/ 94400 h 107094"/>
              <a:gd name="connsiteX97" fmla="*/ 402937 w 595535"/>
              <a:gd name="connsiteY97" fmla="*/ 94400 h 107094"/>
              <a:gd name="connsiteX98" fmla="*/ 463256 w 595535"/>
              <a:gd name="connsiteY98" fmla="*/ 0 h 107094"/>
              <a:gd name="connsiteX99" fmla="*/ 529551 w 595535"/>
              <a:gd name="connsiteY99" fmla="*/ 0 h 107094"/>
              <a:gd name="connsiteX100" fmla="*/ 529551 w 595535"/>
              <a:gd name="connsiteY100" fmla="*/ 12881 h 107094"/>
              <a:gd name="connsiteX101" fmla="*/ 477262 w 595535"/>
              <a:gd name="connsiteY101" fmla="*/ 12881 h 107094"/>
              <a:gd name="connsiteX102" fmla="*/ 477262 w 595535"/>
              <a:gd name="connsiteY102" fmla="*/ 45240 h 107094"/>
              <a:gd name="connsiteX103" fmla="*/ 521646 w 595535"/>
              <a:gd name="connsiteY103" fmla="*/ 45240 h 107094"/>
              <a:gd name="connsiteX104" fmla="*/ 521646 w 595535"/>
              <a:gd name="connsiteY104" fmla="*/ 57934 h 107094"/>
              <a:gd name="connsiteX105" fmla="*/ 477262 w 595535"/>
              <a:gd name="connsiteY105" fmla="*/ 57934 h 107094"/>
              <a:gd name="connsiteX106" fmla="*/ 477262 w 595535"/>
              <a:gd name="connsiteY106" fmla="*/ 94400 h 107094"/>
              <a:gd name="connsiteX107" fmla="*/ 530298 w 595535"/>
              <a:gd name="connsiteY107" fmla="*/ 94400 h 107094"/>
              <a:gd name="connsiteX108" fmla="*/ 530298 w 595535"/>
              <a:gd name="connsiteY108" fmla="*/ 107095 h 107094"/>
              <a:gd name="connsiteX109" fmla="*/ 463256 w 595535"/>
              <a:gd name="connsiteY109" fmla="*/ 107095 h 107094"/>
              <a:gd name="connsiteX110" fmla="*/ 463256 w 595535"/>
              <a:gd name="connsiteY110" fmla="*/ 0 h 107094"/>
              <a:gd name="connsiteX111" fmla="*/ 595535 w 595535"/>
              <a:gd name="connsiteY111" fmla="*/ 107095 h 107094"/>
              <a:gd name="connsiteX112" fmla="*/ 581965 w 595535"/>
              <a:gd name="connsiteY112" fmla="*/ 107095 h 107094"/>
              <a:gd name="connsiteX113" fmla="*/ 581965 w 595535"/>
              <a:gd name="connsiteY113" fmla="*/ 16864 h 107094"/>
              <a:gd name="connsiteX114" fmla="*/ 552397 w 595535"/>
              <a:gd name="connsiteY114" fmla="*/ 39577 h 107094"/>
              <a:gd name="connsiteX115" fmla="*/ 552397 w 595535"/>
              <a:gd name="connsiteY115" fmla="*/ 24518 h 107094"/>
              <a:gd name="connsiteX116" fmla="*/ 584206 w 595535"/>
              <a:gd name="connsiteY116" fmla="*/ 0 h 107094"/>
              <a:gd name="connsiteX117" fmla="*/ 595535 w 595535"/>
              <a:gd name="connsiteY117" fmla="*/ 0 h 107094"/>
              <a:gd name="connsiteX118" fmla="*/ 595535 w 595535"/>
              <a:gd name="connsiteY118" fmla="*/ 107095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595535" h="107094">
                <a:moveTo>
                  <a:pt x="22098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69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7" y="28065"/>
                </a:lnTo>
                <a:lnTo>
                  <a:pt x="89327" y="38519"/>
                </a:lnTo>
                <a:lnTo>
                  <a:pt x="70528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59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5" y="76168"/>
                </a:lnTo>
                <a:lnTo>
                  <a:pt x="22098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6" y="38519"/>
                </a:lnTo>
                <a:lnTo>
                  <a:pt x="30626" y="65713"/>
                </a:lnTo>
                <a:close/>
                <a:moveTo>
                  <a:pt x="107815" y="0"/>
                </a:moveTo>
                <a:lnTo>
                  <a:pt x="173239" y="0"/>
                </a:lnTo>
                <a:lnTo>
                  <a:pt x="173239" y="12881"/>
                </a:lnTo>
                <a:lnTo>
                  <a:pt x="121883" y="12881"/>
                </a:lnTo>
                <a:lnTo>
                  <a:pt x="121883" y="48413"/>
                </a:lnTo>
                <a:lnTo>
                  <a:pt x="165520" y="48413"/>
                </a:lnTo>
                <a:lnTo>
                  <a:pt x="165520" y="61108"/>
                </a:lnTo>
                <a:lnTo>
                  <a:pt x="121883" y="61108"/>
                </a:lnTo>
                <a:lnTo>
                  <a:pt x="121883" y="107095"/>
                </a:lnTo>
                <a:lnTo>
                  <a:pt x="107815" y="107095"/>
                </a:lnTo>
                <a:lnTo>
                  <a:pt x="107815" y="0"/>
                </a:lnTo>
                <a:close/>
                <a:moveTo>
                  <a:pt x="192723" y="0"/>
                </a:moveTo>
                <a:lnTo>
                  <a:pt x="258146" y="0"/>
                </a:lnTo>
                <a:lnTo>
                  <a:pt x="258146" y="12881"/>
                </a:lnTo>
                <a:lnTo>
                  <a:pt x="206791" y="12881"/>
                </a:lnTo>
                <a:lnTo>
                  <a:pt x="206791" y="48413"/>
                </a:lnTo>
                <a:lnTo>
                  <a:pt x="250427" y="48413"/>
                </a:lnTo>
                <a:lnTo>
                  <a:pt x="250427" y="61108"/>
                </a:lnTo>
                <a:lnTo>
                  <a:pt x="206791" y="61108"/>
                </a:lnTo>
                <a:lnTo>
                  <a:pt x="206791" y="107095"/>
                </a:lnTo>
                <a:lnTo>
                  <a:pt x="192723" y="107095"/>
                </a:lnTo>
                <a:lnTo>
                  <a:pt x="192723" y="0"/>
                </a:lnTo>
                <a:close/>
                <a:moveTo>
                  <a:pt x="277630" y="0"/>
                </a:moveTo>
                <a:lnTo>
                  <a:pt x="343988" y="0"/>
                </a:lnTo>
                <a:lnTo>
                  <a:pt x="343988" y="12881"/>
                </a:lnTo>
                <a:lnTo>
                  <a:pt x="291698" y="12881"/>
                </a:lnTo>
                <a:lnTo>
                  <a:pt x="291698" y="45240"/>
                </a:lnTo>
                <a:lnTo>
                  <a:pt x="336082" y="45240"/>
                </a:lnTo>
                <a:lnTo>
                  <a:pt x="336082" y="57934"/>
                </a:lnTo>
                <a:lnTo>
                  <a:pt x="291698" y="57934"/>
                </a:lnTo>
                <a:lnTo>
                  <a:pt x="291698" y="94400"/>
                </a:lnTo>
                <a:lnTo>
                  <a:pt x="344735" y="94400"/>
                </a:lnTo>
                <a:lnTo>
                  <a:pt x="344735" y="107095"/>
                </a:lnTo>
                <a:lnTo>
                  <a:pt x="277630" y="107095"/>
                </a:lnTo>
                <a:lnTo>
                  <a:pt x="277630" y="0"/>
                </a:lnTo>
                <a:close/>
                <a:moveTo>
                  <a:pt x="366957" y="0"/>
                </a:moveTo>
                <a:lnTo>
                  <a:pt x="403249" y="0"/>
                </a:lnTo>
                <a:cubicBezTo>
                  <a:pt x="415013" y="0"/>
                  <a:pt x="423915" y="1991"/>
                  <a:pt x="429953" y="5974"/>
                </a:cubicBezTo>
                <a:cubicBezTo>
                  <a:pt x="436178" y="9956"/>
                  <a:pt x="439228" y="16677"/>
                  <a:pt x="439228" y="26136"/>
                </a:cubicBezTo>
                <a:cubicBezTo>
                  <a:pt x="439228" y="33790"/>
                  <a:pt x="437299" y="39639"/>
                  <a:pt x="433439" y="43622"/>
                </a:cubicBezTo>
                <a:cubicBezTo>
                  <a:pt x="429518" y="47480"/>
                  <a:pt x="424351" y="50156"/>
                  <a:pt x="417877" y="51525"/>
                </a:cubicBezTo>
                <a:cubicBezTo>
                  <a:pt x="426156" y="52520"/>
                  <a:pt x="432443" y="54947"/>
                  <a:pt x="436677" y="58868"/>
                </a:cubicBezTo>
                <a:cubicBezTo>
                  <a:pt x="440971" y="62664"/>
                  <a:pt x="443150" y="68389"/>
                  <a:pt x="443150" y="76168"/>
                </a:cubicBezTo>
                <a:cubicBezTo>
                  <a:pt x="443150" y="83572"/>
                  <a:pt x="441407" y="89547"/>
                  <a:pt x="437921" y="94089"/>
                </a:cubicBezTo>
                <a:cubicBezTo>
                  <a:pt x="434435" y="98694"/>
                  <a:pt x="429642" y="101992"/>
                  <a:pt x="423541" y="104108"/>
                </a:cubicBezTo>
                <a:cubicBezTo>
                  <a:pt x="417503" y="106099"/>
                  <a:pt x="410594" y="107095"/>
                  <a:pt x="402937" y="107095"/>
                </a:cubicBezTo>
                <a:lnTo>
                  <a:pt x="366957" y="107095"/>
                </a:lnTo>
                <a:lnTo>
                  <a:pt x="366957" y="0"/>
                </a:lnTo>
                <a:close/>
                <a:moveTo>
                  <a:pt x="402190" y="45738"/>
                </a:moveTo>
                <a:cubicBezTo>
                  <a:pt x="408975" y="45738"/>
                  <a:pt x="414453" y="44244"/>
                  <a:pt x="418624" y="41257"/>
                </a:cubicBezTo>
                <a:cubicBezTo>
                  <a:pt x="422919" y="38146"/>
                  <a:pt x="425036" y="33354"/>
                  <a:pt x="425036" y="26882"/>
                </a:cubicBezTo>
                <a:cubicBezTo>
                  <a:pt x="425036" y="21406"/>
                  <a:pt x="423168" y="17735"/>
                  <a:pt x="419371" y="15868"/>
                </a:cubicBezTo>
                <a:cubicBezTo>
                  <a:pt x="415574" y="13877"/>
                  <a:pt x="410221" y="12881"/>
                  <a:pt x="403249" y="12881"/>
                </a:cubicBezTo>
                <a:lnTo>
                  <a:pt x="380963" y="12881"/>
                </a:lnTo>
                <a:lnTo>
                  <a:pt x="380963" y="45738"/>
                </a:lnTo>
                <a:lnTo>
                  <a:pt x="402190" y="45738"/>
                </a:lnTo>
                <a:close/>
                <a:moveTo>
                  <a:pt x="402937" y="94400"/>
                </a:moveTo>
                <a:cubicBezTo>
                  <a:pt x="410532" y="94400"/>
                  <a:pt x="416632" y="93093"/>
                  <a:pt x="421300" y="90542"/>
                </a:cubicBezTo>
                <a:cubicBezTo>
                  <a:pt x="425969" y="87929"/>
                  <a:pt x="428335" y="83262"/>
                  <a:pt x="428335" y="76478"/>
                </a:cubicBezTo>
                <a:cubicBezTo>
                  <a:pt x="428335" y="69696"/>
                  <a:pt x="426156" y="65028"/>
                  <a:pt x="421737" y="62415"/>
                </a:cubicBezTo>
                <a:cubicBezTo>
                  <a:pt x="417503" y="59739"/>
                  <a:pt x="410656" y="58433"/>
                  <a:pt x="401319" y="58433"/>
                </a:cubicBezTo>
                <a:lnTo>
                  <a:pt x="380963" y="58433"/>
                </a:lnTo>
                <a:lnTo>
                  <a:pt x="380963" y="94400"/>
                </a:lnTo>
                <a:lnTo>
                  <a:pt x="402937" y="94400"/>
                </a:lnTo>
                <a:close/>
                <a:moveTo>
                  <a:pt x="463256" y="0"/>
                </a:moveTo>
                <a:lnTo>
                  <a:pt x="529551" y="0"/>
                </a:lnTo>
                <a:lnTo>
                  <a:pt x="529551" y="12881"/>
                </a:lnTo>
                <a:lnTo>
                  <a:pt x="477262" y="12881"/>
                </a:lnTo>
                <a:lnTo>
                  <a:pt x="477262" y="45240"/>
                </a:lnTo>
                <a:lnTo>
                  <a:pt x="521646" y="45240"/>
                </a:lnTo>
                <a:lnTo>
                  <a:pt x="521646" y="57934"/>
                </a:lnTo>
                <a:lnTo>
                  <a:pt x="477262" y="57934"/>
                </a:lnTo>
                <a:lnTo>
                  <a:pt x="477262" y="94400"/>
                </a:lnTo>
                <a:lnTo>
                  <a:pt x="530298" y="94400"/>
                </a:lnTo>
                <a:lnTo>
                  <a:pt x="530298" y="107095"/>
                </a:lnTo>
                <a:lnTo>
                  <a:pt x="463256" y="107095"/>
                </a:lnTo>
                <a:lnTo>
                  <a:pt x="463256" y="0"/>
                </a:lnTo>
                <a:close/>
                <a:moveTo>
                  <a:pt x="595535" y="107095"/>
                </a:moveTo>
                <a:lnTo>
                  <a:pt x="581965" y="107095"/>
                </a:lnTo>
                <a:lnTo>
                  <a:pt x="581965" y="16864"/>
                </a:lnTo>
                <a:lnTo>
                  <a:pt x="552397" y="39577"/>
                </a:lnTo>
                <a:lnTo>
                  <a:pt x="552397" y="24518"/>
                </a:lnTo>
                <a:lnTo>
                  <a:pt x="584206" y="0"/>
                </a:lnTo>
                <a:lnTo>
                  <a:pt x="595535" y="0"/>
                </a:lnTo>
                <a:lnTo>
                  <a:pt x="595535" y="107095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1" name="Полилиния 1060">
            <a:extLst>
              <a:ext uri="{FF2B5EF4-FFF2-40B4-BE49-F238E27FC236}">
                <a16:creationId xmlns:a16="http://schemas.microsoft.com/office/drawing/2014/main" id="{BC7709ED-63E5-C1CB-1269-4B85B7CC7DB0}"/>
              </a:ext>
            </a:extLst>
          </p:cNvPr>
          <p:cNvSpPr/>
          <p:nvPr userDrawn="1"/>
        </p:nvSpPr>
        <p:spPr>
          <a:xfrm>
            <a:off x="16903366" y="3787620"/>
            <a:ext cx="1398954" cy="726227"/>
          </a:xfrm>
          <a:custGeom>
            <a:avLst/>
            <a:gdLst>
              <a:gd name="connsiteX0" fmla="*/ 638 w 1198727"/>
              <a:gd name="connsiteY0" fmla="*/ 1022 h 622284"/>
              <a:gd name="connsiteX1" fmla="*/ 1199366 w 1198727"/>
              <a:gd name="connsiteY1" fmla="*/ 1022 h 622284"/>
              <a:gd name="connsiteX2" fmla="*/ 1199366 w 1198727"/>
              <a:gd name="connsiteY2" fmla="*/ 623306 h 622284"/>
              <a:gd name="connsiteX3" fmla="*/ 638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022"/>
                </a:moveTo>
                <a:lnTo>
                  <a:pt x="1199366" y="1022"/>
                </a:lnTo>
                <a:lnTo>
                  <a:pt x="1199366" y="623306"/>
                </a:lnTo>
                <a:lnTo>
                  <a:pt x="638" y="623306"/>
                </a:lnTo>
                <a:close/>
              </a:path>
            </a:pathLst>
          </a:custGeom>
          <a:solidFill>
            <a:srgbClr val="55003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2" name="Полилиния 1061">
            <a:extLst>
              <a:ext uri="{FF2B5EF4-FFF2-40B4-BE49-F238E27FC236}">
                <a16:creationId xmlns:a16="http://schemas.microsoft.com/office/drawing/2014/main" id="{FD9525C6-B229-9BEB-33D8-C3972ECAA2F2}"/>
              </a:ext>
            </a:extLst>
          </p:cNvPr>
          <p:cNvSpPr/>
          <p:nvPr userDrawn="1"/>
        </p:nvSpPr>
        <p:spPr>
          <a:xfrm>
            <a:off x="17026576" y="4089368"/>
            <a:ext cx="678707" cy="128468"/>
          </a:xfrm>
          <a:custGeom>
            <a:avLst/>
            <a:gdLst>
              <a:gd name="connsiteX0" fmla="*/ 22111 w 581566"/>
              <a:gd name="connsiteY0" fmla="*/ 108588 h 110081"/>
              <a:gd name="connsiteX1" fmla="*/ 10159 w 581566"/>
              <a:gd name="connsiteY1" fmla="*/ 108588 h 110081"/>
              <a:gd name="connsiteX2" fmla="*/ 16433 w 581566"/>
              <a:gd name="connsiteY2" fmla="*/ 77661 h 110081"/>
              <a:gd name="connsiteX3" fmla="*/ 0 w 581566"/>
              <a:gd name="connsiteY3" fmla="*/ 77661 h 110081"/>
              <a:gd name="connsiteX4" fmla="*/ 0 w 581566"/>
              <a:gd name="connsiteY4" fmla="*/ 67206 h 110081"/>
              <a:gd name="connsiteX5" fmla="*/ 18675 w 581566"/>
              <a:gd name="connsiteY5" fmla="*/ 67206 h 110081"/>
              <a:gd name="connsiteX6" fmla="*/ 24202 w 581566"/>
              <a:gd name="connsiteY6" fmla="*/ 40012 h 110081"/>
              <a:gd name="connsiteX7" fmla="*/ 4033 w 581566"/>
              <a:gd name="connsiteY7" fmla="*/ 40012 h 110081"/>
              <a:gd name="connsiteX8" fmla="*/ 4033 w 581566"/>
              <a:gd name="connsiteY8" fmla="*/ 29559 h 110081"/>
              <a:gd name="connsiteX9" fmla="*/ 26294 w 581566"/>
              <a:gd name="connsiteY9" fmla="*/ 29559 h 110081"/>
              <a:gd name="connsiteX10" fmla="*/ 32120 w 581566"/>
              <a:gd name="connsiteY10" fmla="*/ 1493 h 110081"/>
              <a:gd name="connsiteX11" fmla="*/ 44072 w 581566"/>
              <a:gd name="connsiteY11" fmla="*/ 1493 h 110081"/>
              <a:gd name="connsiteX12" fmla="*/ 38246 w 581566"/>
              <a:gd name="connsiteY12" fmla="*/ 29559 h 110081"/>
              <a:gd name="connsiteX13" fmla="*/ 60655 w 581566"/>
              <a:gd name="connsiteY13" fmla="*/ 29559 h 110081"/>
              <a:gd name="connsiteX14" fmla="*/ 66482 w 581566"/>
              <a:gd name="connsiteY14" fmla="*/ 1493 h 110081"/>
              <a:gd name="connsiteX15" fmla="*/ 78434 w 581566"/>
              <a:gd name="connsiteY15" fmla="*/ 1493 h 110081"/>
              <a:gd name="connsiteX16" fmla="*/ 72607 w 581566"/>
              <a:gd name="connsiteY16" fmla="*/ 29559 h 110081"/>
              <a:gd name="connsiteX17" fmla="*/ 89340 w 581566"/>
              <a:gd name="connsiteY17" fmla="*/ 29559 h 110081"/>
              <a:gd name="connsiteX18" fmla="*/ 89340 w 581566"/>
              <a:gd name="connsiteY18" fmla="*/ 40012 h 110081"/>
              <a:gd name="connsiteX19" fmla="*/ 70516 w 581566"/>
              <a:gd name="connsiteY19" fmla="*/ 40012 h 110081"/>
              <a:gd name="connsiteX20" fmla="*/ 64988 w 581566"/>
              <a:gd name="connsiteY20" fmla="*/ 67206 h 110081"/>
              <a:gd name="connsiteX21" fmla="*/ 85306 w 581566"/>
              <a:gd name="connsiteY21" fmla="*/ 67206 h 110081"/>
              <a:gd name="connsiteX22" fmla="*/ 85306 w 581566"/>
              <a:gd name="connsiteY22" fmla="*/ 77661 h 110081"/>
              <a:gd name="connsiteX23" fmla="*/ 62747 w 581566"/>
              <a:gd name="connsiteY23" fmla="*/ 77661 h 110081"/>
              <a:gd name="connsiteX24" fmla="*/ 56472 w 581566"/>
              <a:gd name="connsiteY24" fmla="*/ 108588 h 110081"/>
              <a:gd name="connsiteX25" fmla="*/ 44520 w 581566"/>
              <a:gd name="connsiteY25" fmla="*/ 108588 h 110081"/>
              <a:gd name="connsiteX26" fmla="*/ 50795 w 581566"/>
              <a:gd name="connsiteY26" fmla="*/ 77661 h 110081"/>
              <a:gd name="connsiteX27" fmla="*/ 28386 w 581566"/>
              <a:gd name="connsiteY27" fmla="*/ 77661 h 110081"/>
              <a:gd name="connsiteX28" fmla="*/ 22111 w 581566"/>
              <a:gd name="connsiteY28" fmla="*/ 108588 h 110081"/>
              <a:gd name="connsiteX29" fmla="*/ 30626 w 581566"/>
              <a:gd name="connsiteY29" fmla="*/ 67206 h 110081"/>
              <a:gd name="connsiteX30" fmla="*/ 53036 w 581566"/>
              <a:gd name="connsiteY30" fmla="*/ 67206 h 110081"/>
              <a:gd name="connsiteX31" fmla="*/ 58564 w 581566"/>
              <a:gd name="connsiteY31" fmla="*/ 40012 h 110081"/>
              <a:gd name="connsiteX32" fmla="*/ 36154 w 581566"/>
              <a:gd name="connsiteY32" fmla="*/ 40012 h 110081"/>
              <a:gd name="connsiteX33" fmla="*/ 30626 w 581566"/>
              <a:gd name="connsiteY33" fmla="*/ 67206 h 110081"/>
              <a:gd name="connsiteX34" fmla="*/ 131731 w 581566"/>
              <a:gd name="connsiteY34" fmla="*/ 110082 h 110081"/>
              <a:gd name="connsiteX35" fmla="*/ 103196 w 581566"/>
              <a:gd name="connsiteY35" fmla="*/ 102490 h 110081"/>
              <a:gd name="connsiteX36" fmla="*/ 103196 w 581566"/>
              <a:gd name="connsiteY36" fmla="*/ 87804 h 110081"/>
              <a:gd name="connsiteX37" fmla="*/ 116343 w 581566"/>
              <a:gd name="connsiteY37" fmla="*/ 95458 h 110081"/>
              <a:gd name="connsiteX38" fmla="*/ 131731 w 581566"/>
              <a:gd name="connsiteY38" fmla="*/ 97823 h 110081"/>
              <a:gd name="connsiteX39" fmla="*/ 148762 w 581566"/>
              <a:gd name="connsiteY39" fmla="*/ 91102 h 110081"/>
              <a:gd name="connsiteX40" fmla="*/ 154888 w 581566"/>
              <a:gd name="connsiteY40" fmla="*/ 73491 h 110081"/>
              <a:gd name="connsiteX41" fmla="*/ 148912 w 581566"/>
              <a:gd name="connsiteY41" fmla="*/ 56441 h 110081"/>
              <a:gd name="connsiteX42" fmla="*/ 133823 w 581566"/>
              <a:gd name="connsiteY42" fmla="*/ 51089 h 110081"/>
              <a:gd name="connsiteX43" fmla="*/ 123216 w 581566"/>
              <a:gd name="connsiteY43" fmla="*/ 53329 h 110081"/>
              <a:gd name="connsiteX44" fmla="*/ 117090 w 581566"/>
              <a:gd name="connsiteY44" fmla="*/ 57810 h 110081"/>
              <a:gd name="connsiteX45" fmla="*/ 106184 w 581566"/>
              <a:gd name="connsiteY45" fmla="*/ 57810 h 110081"/>
              <a:gd name="connsiteX46" fmla="*/ 106184 w 581566"/>
              <a:gd name="connsiteY46" fmla="*/ 1493 h 110081"/>
              <a:gd name="connsiteX47" fmla="*/ 164150 w 581566"/>
              <a:gd name="connsiteY47" fmla="*/ 1493 h 110081"/>
              <a:gd name="connsiteX48" fmla="*/ 164150 w 581566"/>
              <a:gd name="connsiteY48" fmla="*/ 14374 h 110081"/>
              <a:gd name="connsiteX49" fmla="*/ 118435 w 581566"/>
              <a:gd name="connsiteY49" fmla="*/ 14374 h 110081"/>
              <a:gd name="connsiteX50" fmla="*/ 118435 w 581566"/>
              <a:gd name="connsiteY50" fmla="*/ 44991 h 110081"/>
              <a:gd name="connsiteX51" fmla="*/ 125755 w 581566"/>
              <a:gd name="connsiteY51" fmla="*/ 41071 h 110081"/>
              <a:gd name="connsiteX52" fmla="*/ 136064 w 581566"/>
              <a:gd name="connsiteY52" fmla="*/ 39266 h 110081"/>
              <a:gd name="connsiteX53" fmla="*/ 152796 w 581566"/>
              <a:gd name="connsiteY53" fmla="*/ 43186 h 110081"/>
              <a:gd name="connsiteX54" fmla="*/ 164598 w 581566"/>
              <a:gd name="connsiteY54" fmla="*/ 54512 h 110081"/>
              <a:gd name="connsiteX55" fmla="*/ 169081 w 581566"/>
              <a:gd name="connsiteY55" fmla="*/ 73181 h 110081"/>
              <a:gd name="connsiteX56" fmla="*/ 164449 w 581566"/>
              <a:gd name="connsiteY56" fmla="*/ 92596 h 110081"/>
              <a:gd name="connsiteX57" fmla="*/ 151601 w 581566"/>
              <a:gd name="connsiteY57" fmla="*/ 105601 h 110081"/>
              <a:gd name="connsiteX58" fmla="*/ 131731 w 581566"/>
              <a:gd name="connsiteY58" fmla="*/ 110082 h 110081"/>
              <a:gd name="connsiteX59" fmla="*/ 213869 w 581566"/>
              <a:gd name="connsiteY59" fmla="*/ 110082 h 110081"/>
              <a:gd name="connsiteX60" fmla="*/ 185333 w 581566"/>
              <a:gd name="connsiteY60" fmla="*/ 102490 h 110081"/>
              <a:gd name="connsiteX61" fmla="*/ 185333 w 581566"/>
              <a:gd name="connsiteY61" fmla="*/ 87804 h 110081"/>
              <a:gd name="connsiteX62" fmla="*/ 198481 w 581566"/>
              <a:gd name="connsiteY62" fmla="*/ 95458 h 110081"/>
              <a:gd name="connsiteX63" fmla="*/ 213869 w 581566"/>
              <a:gd name="connsiteY63" fmla="*/ 97823 h 110081"/>
              <a:gd name="connsiteX64" fmla="*/ 230900 w 581566"/>
              <a:gd name="connsiteY64" fmla="*/ 91102 h 110081"/>
              <a:gd name="connsiteX65" fmla="*/ 237025 w 581566"/>
              <a:gd name="connsiteY65" fmla="*/ 73491 h 110081"/>
              <a:gd name="connsiteX66" fmla="*/ 231049 w 581566"/>
              <a:gd name="connsiteY66" fmla="*/ 56441 h 110081"/>
              <a:gd name="connsiteX67" fmla="*/ 215960 w 581566"/>
              <a:gd name="connsiteY67" fmla="*/ 51089 h 110081"/>
              <a:gd name="connsiteX68" fmla="*/ 205353 w 581566"/>
              <a:gd name="connsiteY68" fmla="*/ 53329 h 110081"/>
              <a:gd name="connsiteX69" fmla="*/ 199228 w 581566"/>
              <a:gd name="connsiteY69" fmla="*/ 57810 h 110081"/>
              <a:gd name="connsiteX70" fmla="*/ 188322 w 581566"/>
              <a:gd name="connsiteY70" fmla="*/ 57810 h 110081"/>
              <a:gd name="connsiteX71" fmla="*/ 188322 w 581566"/>
              <a:gd name="connsiteY71" fmla="*/ 1493 h 110081"/>
              <a:gd name="connsiteX72" fmla="*/ 246288 w 581566"/>
              <a:gd name="connsiteY72" fmla="*/ 1493 h 110081"/>
              <a:gd name="connsiteX73" fmla="*/ 246288 w 581566"/>
              <a:gd name="connsiteY73" fmla="*/ 14374 h 110081"/>
              <a:gd name="connsiteX74" fmla="*/ 200572 w 581566"/>
              <a:gd name="connsiteY74" fmla="*/ 14374 h 110081"/>
              <a:gd name="connsiteX75" fmla="*/ 200572 w 581566"/>
              <a:gd name="connsiteY75" fmla="*/ 44991 h 110081"/>
              <a:gd name="connsiteX76" fmla="*/ 207893 w 581566"/>
              <a:gd name="connsiteY76" fmla="*/ 41071 h 110081"/>
              <a:gd name="connsiteX77" fmla="*/ 218201 w 581566"/>
              <a:gd name="connsiteY77" fmla="*/ 39266 h 110081"/>
              <a:gd name="connsiteX78" fmla="*/ 234934 w 581566"/>
              <a:gd name="connsiteY78" fmla="*/ 43186 h 110081"/>
              <a:gd name="connsiteX79" fmla="*/ 246736 w 581566"/>
              <a:gd name="connsiteY79" fmla="*/ 54512 h 110081"/>
              <a:gd name="connsiteX80" fmla="*/ 251218 w 581566"/>
              <a:gd name="connsiteY80" fmla="*/ 73181 h 110081"/>
              <a:gd name="connsiteX81" fmla="*/ 246587 w 581566"/>
              <a:gd name="connsiteY81" fmla="*/ 92596 h 110081"/>
              <a:gd name="connsiteX82" fmla="*/ 233738 w 581566"/>
              <a:gd name="connsiteY82" fmla="*/ 105601 h 110081"/>
              <a:gd name="connsiteX83" fmla="*/ 213869 w 581566"/>
              <a:gd name="connsiteY83" fmla="*/ 110082 h 110081"/>
              <a:gd name="connsiteX84" fmla="*/ 300936 w 581566"/>
              <a:gd name="connsiteY84" fmla="*/ 110082 h 110081"/>
              <a:gd name="connsiteX85" fmla="*/ 282710 w 581566"/>
              <a:gd name="connsiteY85" fmla="*/ 104233 h 110081"/>
              <a:gd name="connsiteX86" fmla="*/ 270011 w 581566"/>
              <a:gd name="connsiteY86" fmla="*/ 86311 h 110081"/>
              <a:gd name="connsiteX87" fmla="*/ 265529 w 581566"/>
              <a:gd name="connsiteY87" fmla="*/ 54947 h 110081"/>
              <a:gd name="connsiteX88" fmla="*/ 270011 w 581566"/>
              <a:gd name="connsiteY88" fmla="*/ 23584 h 110081"/>
              <a:gd name="connsiteX89" fmla="*/ 282710 w 581566"/>
              <a:gd name="connsiteY89" fmla="*/ 5849 h 110081"/>
              <a:gd name="connsiteX90" fmla="*/ 300936 w 581566"/>
              <a:gd name="connsiteY90" fmla="*/ 186 h 110081"/>
              <a:gd name="connsiteX91" fmla="*/ 319013 w 581566"/>
              <a:gd name="connsiteY91" fmla="*/ 5849 h 110081"/>
              <a:gd name="connsiteX92" fmla="*/ 331413 w 581566"/>
              <a:gd name="connsiteY92" fmla="*/ 23584 h 110081"/>
              <a:gd name="connsiteX93" fmla="*/ 335895 w 581566"/>
              <a:gd name="connsiteY93" fmla="*/ 54698 h 110081"/>
              <a:gd name="connsiteX94" fmla="*/ 331413 w 581566"/>
              <a:gd name="connsiteY94" fmla="*/ 86062 h 110081"/>
              <a:gd name="connsiteX95" fmla="*/ 319013 w 581566"/>
              <a:gd name="connsiteY95" fmla="*/ 104233 h 110081"/>
              <a:gd name="connsiteX96" fmla="*/ 300936 w 581566"/>
              <a:gd name="connsiteY96" fmla="*/ 110082 h 110081"/>
              <a:gd name="connsiteX97" fmla="*/ 300787 w 581566"/>
              <a:gd name="connsiteY97" fmla="*/ 98258 h 110081"/>
              <a:gd name="connsiteX98" fmla="*/ 312141 w 581566"/>
              <a:gd name="connsiteY98" fmla="*/ 94275 h 110081"/>
              <a:gd name="connsiteX99" fmla="*/ 319312 w 581566"/>
              <a:gd name="connsiteY99" fmla="*/ 80648 h 110081"/>
              <a:gd name="connsiteX100" fmla="*/ 321852 w 581566"/>
              <a:gd name="connsiteY100" fmla="*/ 55134 h 110081"/>
              <a:gd name="connsiteX101" fmla="*/ 319462 w 581566"/>
              <a:gd name="connsiteY101" fmla="*/ 29745 h 110081"/>
              <a:gd name="connsiteX102" fmla="*/ 312290 w 581566"/>
              <a:gd name="connsiteY102" fmla="*/ 16117 h 110081"/>
              <a:gd name="connsiteX103" fmla="*/ 300936 w 581566"/>
              <a:gd name="connsiteY103" fmla="*/ 11947 h 110081"/>
              <a:gd name="connsiteX104" fmla="*/ 289433 w 581566"/>
              <a:gd name="connsiteY104" fmla="*/ 16117 h 110081"/>
              <a:gd name="connsiteX105" fmla="*/ 282112 w 581566"/>
              <a:gd name="connsiteY105" fmla="*/ 29745 h 110081"/>
              <a:gd name="connsiteX106" fmla="*/ 279572 w 581566"/>
              <a:gd name="connsiteY106" fmla="*/ 55134 h 110081"/>
              <a:gd name="connsiteX107" fmla="*/ 281963 w 581566"/>
              <a:gd name="connsiteY107" fmla="*/ 80648 h 110081"/>
              <a:gd name="connsiteX108" fmla="*/ 289283 w 581566"/>
              <a:gd name="connsiteY108" fmla="*/ 94275 h 110081"/>
              <a:gd name="connsiteX109" fmla="*/ 300787 w 581566"/>
              <a:gd name="connsiteY109" fmla="*/ 98258 h 110081"/>
              <a:gd name="connsiteX110" fmla="*/ 383080 w 581566"/>
              <a:gd name="connsiteY110" fmla="*/ 110082 h 110081"/>
              <a:gd name="connsiteX111" fmla="*/ 364854 w 581566"/>
              <a:gd name="connsiteY111" fmla="*/ 104233 h 110081"/>
              <a:gd name="connsiteX112" fmla="*/ 352155 w 581566"/>
              <a:gd name="connsiteY112" fmla="*/ 86311 h 110081"/>
              <a:gd name="connsiteX113" fmla="*/ 347673 w 581566"/>
              <a:gd name="connsiteY113" fmla="*/ 54947 h 110081"/>
              <a:gd name="connsiteX114" fmla="*/ 352155 w 581566"/>
              <a:gd name="connsiteY114" fmla="*/ 23584 h 110081"/>
              <a:gd name="connsiteX115" fmla="*/ 364854 w 581566"/>
              <a:gd name="connsiteY115" fmla="*/ 5849 h 110081"/>
              <a:gd name="connsiteX116" fmla="*/ 383080 w 581566"/>
              <a:gd name="connsiteY116" fmla="*/ 186 h 110081"/>
              <a:gd name="connsiteX117" fmla="*/ 401157 w 581566"/>
              <a:gd name="connsiteY117" fmla="*/ 5849 h 110081"/>
              <a:gd name="connsiteX118" fmla="*/ 413557 w 581566"/>
              <a:gd name="connsiteY118" fmla="*/ 23584 h 110081"/>
              <a:gd name="connsiteX119" fmla="*/ 418039 w 581566"/>
              <a:gd name="connsiteY119" fmla="*/ 54698 h 110081"/>
              <a:gd name="connsiteX120" fmla="*/ 413557 w 581566"/>
              <a:gd name="connsiteY120" fmla="*/ 86062 h 110081"/>
              <a:gd name="connsiteX121" fmla="*/ 401157 w 581566"/>
              <a:gd name="connsiteY121" fmla="*/ 104233 h 110081"/>
              <a:gd name="connsiteX122" fmla="*/ 383080 w 581566"/>
              <a:gd name="connsiteY122" fmla="*/ 110082 h 110081"/>
              <a:gd name="connsiteX123" fmla="*/ 382931 w 581566"/>
              <a:gd name="connsiteY123" fmla="*/ 98258 h 110081"/>
              <a:gd name="connsiteX124" fmla="*/ 394285 w 581566"/>
              <a:gd name="connsiteY124" fmla="*/ 94275 h 110081"/>
              <a:gd name="connsiteX125" fmla="*/ 401456 w 581566"/>
              <a:gd name="connsiteY125" fmla="*/ 80648 h 110081"/>
              <a:gd name="connsiteX126" fmla="*/ 403995 w 581566"/>
              <a:gd name="connsiteY126" fmla="*/ 55134 h 110081"/>
              <a:gd name="connsiteX127" fmla="*/ 401605 w 581566"/>
              <a:gd name="connsiteY127" fmla="*/ 29745 h 110081"/>
              <a:gd name="connsiteX128" fmla="*/ 394434 w 581566"/>
              <a:gd name="connsiteY128" fmla="*/ 16117 h 110081"/>
              <a:gd name="connsiteX129" fmla="*/ 383080 w 581566"/>
              <a:gd name="connsiteY129" fmla="*/ 11947 h 110081"/>
              <a:gd name="connsiteX130" fmla="*/ 371576 w 581566"/>
              <a:gd name="connsiteY130" fmla="*/ 16117 h 110081"/>
              <a:gd name="connsiteX131" fmla="*/ 364256 w 581566"/>
              <a:gd name="connsiteY131" fmla="*/ 29745 h 110081"/>
              <a:gd name="connsiteX132" fmla="*/ 361716 w 581566"/>
              <a:gd name="connsiteY132" fmla="*/ 55134 h 110081"/>
              <a:gd name="connsiteX133" fmla="*/ 364107 w 581566"/>
              <a:gd name="connsiteY133" fmla="*/ 80648 h 110081"/>
              <a:gd name="connsiteX134" fmla="*/ 371427 w 581566"/>
              <a:gd name="connsiteY134" fmla="*/ 94275 h 110081"/>
              <a:gd name="connsiteX135" fmla="*/ 382931 w 581566"/>
              <a:gd name="connsiteY135" fmla="*/ 98258 h 110081"/>
              <a:gd name="connsiteX136" fmla="*/ 448634 w 581566"/>
              <a:gd name="connsiteY136" fmla="*/ 58992 h 110081"/>
              <a:gd name="connsiteX137" fmla="*/ 448634 w 581566"/>
              <a:gd name="connsiteY137" fmla="*/ 46298 h 110081"/>
              <a:gd name="connsiteX138" fmla="*/ 462977 w 581566"/>
              <a:gd name="connsiteY138" fmla="*/ 46298 h 110081"/>
              <a:gd name="connsiteX139" fmla="*/ 476571 w 581566"/>
              <a:gd name="connsiteY139" fmla="*/ 41817 h 110081"/>
              <a:gd name="connsiteX140" fmla="*/ 481950 w 581566"/>
              <a:gd name="connsiteY140" fmla="*/ 28812 h 110081"/>
              <a:gd name="connsiteX141" fmla="*/ 477020 w 581566"/>
              <a:gd name="connsiteY141" fmla="*/ 16864 h 110081"/>
              <a:gd name="connsiteX142" fmla="*/ 462827 w 581566"/>
              <a:gd name="connsiteY142" fmla="*/ 12383 h 110081"/>
              <a:gd name="connsiteX143" fmla="*/ 448186 w 581566"/>
              <a:gd name="connsiteY143" fmla="*/ 15246 h 110081"/>
              <a:gd name="connsiteX144" fmla="*/ 434143 w 581566"/>
              <a:gd name="connsiteY144" fmla="*/ 24331 h 110081"/>
              <a:gd name="connsiteX145" fmla="*/ 434143 w 581566"/>
              <a:gd name="connsiteY145" fmla="*/ 9707 h 110081"/>
              <a:gd name="connsiteX146" fmla="*/ 462977 w 581566"/>
              <a:gd name="connsiteY146" fmla="*/ 0 h 110081"/>
              <a:gd name="connsiteX147" fmla="*/ 487029 w 581566"/>
              <a:gd name="connsiteY147" fmla="*/ 7779 h 110081"/>
              <a:gd name="connsiteX148" fmla="*/ 495844 w 581566"/>
              <a:gd name="connsiteY148" fmla="*/ 28065 h 110081"/>
              <a:gd name="connsiteX149" fmla="*/ 490167 w 581566"/>
              <a:gd name="connsiteY149" fmla="*/ 44244 h 110081"/>
              <a:gd name="connsiteX150" fmla="*/ 476870 w 581566"/>
              <a:gd name="connsiteY150" fmla="*/ 52147 h 110081"/>
              <a:gd name="connsiteX151" fmla="*/ 488374 w 581566"/>
              <a:gd name="connsiteY151" fmla="*/ 56441 h 110081"/>
              <a:gd name="connsiteX152" fmla="*/ 497039 w 581566"/>
              <a:gd name="connsiteY152" fmla="*/ 65153 h 110081"/>
              <a:gd name="connsiteX153" fmla="*/ 500326 w 581566"/>
              <a:gd name="connsiteY153" fmla="*/ 77661 h 110081"/>
              <a:gd name="connsiteX154" fmla="*/ 495396 w 581566"/>
              <a:gd name="connsiteY154" fmla="*/ 94836 h 110081"/>
              <a:gd name="connsiteX155" fmla="*/ 481801 w 581566"/>
              <a:gd name="connsiteY155" fmla="*/ 106224 h 110081"/>
              <a:gd name="connsiteX156" fmla="*/ 461931 w 581566"/>
              <a:gd name="connsiteY156" fmla="*/ 110082 h 110081"/>
              <a:gd name="connsiteX157" fmla="*/ 431454 w 581566"/>
              <a:gd name="connsiteY157" fmla="*/ 100997 h 110081"/>
              <a:gd name="connsiteX158" fmla="*/ 431454 w 581566"/>
              <a:gd name="connsiteY158" fmla="*/ 86062 h 110081"/>
              <a:gd name="connsiteX159" fmla="*/ 445198 w 581566"/>
              <a:gd name="connsiteY159" fmla="*/ 94711 h 110081"/>
              <a:gd name="connsiteX160" fmla="*/ 462080 w 581566"/>
              <a:gd name="connsiteY160" fmla="*/ 97823 h 110081"/>
              <a:gd name="connsiteX161" fmla="*/ 479410 w 581566"/>
              <a:gd name="connsiteY161" fmla="*/ 92596 h 110081"/>
              <a:gd name="connsiteX162" fmla="*/ 485834 w 581566"/>
              <a:gd name="connsiteY162" fmla="*/ 77972 h 110081"/>
              <a:gd name="connsiteX163" fmla="*/ 480008 w 581566"/>
              <a:gd name="connsiteY163" fmla="*/ 64095 h 110081"/>
              <a:gd name="connsiteX164" fmla="*/ 462379 w 581566"/>
              <a:gd name="connsiteY164" fmla="*/ 58992 h 110081"/>
              <a:gd name="connsiteX165" fmla="*/ 448634 w 581566"/>
              <a:gd name="connsiteY165" fmla="*/ 58992 h 110081"/>
              <a:gd name="connsiteX166" fmla="*/ 581567 w 581566"/>
              <a:gd name="connsiteY166" fmla="*/ 108588 h 110081"/>
              <a:gd name="connsiteX167" fmla="*/ 513292 w 581566"/>
              <a:gd name="connsiteY167" fmla="*/ 108588 h 110081"/>
              <a:gd name="connsiteX168" fmla="*/ 513292 w 581566"/>
              <a:gd name="connsiteY168" fmla="*/ 94400 h 110081"/>
              <a:gd name="connsiteX169" fmla="*/ 539437 w 581566"/>
              <a:gd name="connsiteY169" fmla="*/ 72433 h 110081"/>
              <a:gd name="connsiteX170" fmla="*/ 555422 w 581566"/>
              <a:gd name="connsiteY170" fmla="*/ 56628 h 110081"/>
              <a:gd name="connsiteX171" fmla="*/ 563490 w 581566"/>
              <a:gd name="connsiteY171" fmla="*/ 43933 h 110081"/>
              <a:gd name="connsiteX172" fmla="*/ 565880 w 581566"/>
              <a:gd name="connsiteY172" fmla="*/ 32109 h 110081"/>
              <a:gd name="connsiteX173" fmla="*/ 560353 w 581566"/>
              <a:gd name="connsiteY173" fmla="*/ 17610 h 110081"/>
              <a:gd name="connsiteX174" fmla="*/ 545114 w 581566"/>
              <a:gd name="connsiteY174" fmla="*/ 12383 h 110081"/>
              <a:gd name="connsiteX175" fmla="*/ 516131 w 581566"/>
              <a:gd name="connsiteY175" fmla="*/ 27194 h 110081"/>
              <a:gd name="connsiteX176" fmla="*/ 516131 w 581566"/>
              <a:gd name="connsiteY176" fmla="*/ 12134 h 110081"/>
              <a:gd name="connsiteX177" fmla="*/ 545562 w 581566"/>
              <a:gd name="connsiteY177" fmla="*/ 0 h 110081"/>
              <a:gd name="connsiteX178" fmla="*/ 570960 w 581566"/>
              <a:gd name="connsiteY178" fmla="*/ 8401 h 110081"/>
              <a:gd name="connsiteX179" fmla="*/ 580372 w 581566"/>
              <a:gd name="connsiteY179" fmla="*/ 30803 h 110081"/>
              <a:gd name="connsiteX180" fmla="*/ 577981 w 581566"/>
              <a:gd name="connsiteY180" fmla="*/ 44804 h 110081"/>
              <a:gd name="connsiteX181" fmla="*/ 569914 w 581566"/>
              <a:gd name="connsiteY181" fmla="*/ 58681 h 110081"/>
              <a:gd name="connsiteX182" fmla="*/ 554227 w 581566"/>
              <a:gd name="connsiteY182" fmla="*/ 74860 h 110081"/>
              <a:gd name="connsiteX183" fmla="*/ 528830 w 581566"/>
              <a:gd name="connsiteY183" fmla="*/ 95769 h 110081"/>
              <a:gd name="connsiteX184" fmla="*/ 581567 w 581566"/>
              <a:gd name="connsiteY184" fmla="*/ 95769 h 110081"/>
              <a:gd name="connsiteX185" fmla="*/ 581567 w 581566"/>
              <a:gd name="connsiteY185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8156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31" y="110082"/>
                </a:moveTo>
                <a:cubicBezTo>
                  <a:pt x="119779" y="110082"/>
                  <a:pt x="110268" y="107530"/>
                  <a:pt x="103196" y="102490"/>
                </a:cubicBezTo>
                <a:lnTo>
                  <a:pt x="103196" y="87804"/>
                </a:lnTo>
                <a:cubicBezTo>
                  <a:pt x="107379" y="91226"/>
                  <a:pt x="111762" y="93778"/>
                  <a:pt x="116343" y="95458"/>
                </a:cubicBezTo>
                <a:cubicBezTo>
                  <a:pt x="120925" y="97014"/>
                  <a:pt x="126054" y="97823"/>
                  <a:pt x="131731" y="97823"/>
                </a:cubicBezTo>
                <a:cubicBezTo>
                  <a:pt x="139102" y="97823"/>
                  <a:pt x="144779" y="95583"/>
                  <a:pt x="148762" y="91102"/>
                </a:cubicBezTo>
                <a:cubicBezTo>
                  <a:pt x="152846" y="86621"/>
                  <a:pt x="154888" y="80772"/>
                  <a:pt x="154888" y="73491"/>
                </a:cubicBezTo>
                <a:cubicBezTo>
                  <a:pt x="154888" y="65713"/>
                  <a:pt x="152896" y="60050"/>
                  <a:pt x="148912" y="56441"/>
                </a:cubicBezTo>
                <a:cubicBezTo>
                  <a:pt x="144928" y="52894"/>
                  <a:pt x="139898" y="51089"/>
                  <a:pt x="133823" y="51089"/>
                </a:cubicBezTo>
                <a:cubicBezTo>
                  <a:pt x="129441" y="51089"/>
                  <a:pt x="125904" y="51836"/>
                  <a:pt x="123216" y="53329"/>
                </a:cubicBezTo>
                <a:cubicBezTo>
                  <a:pt x="120526" y="54698"/>
                  <a:pt x="118485" y="56192"/>
                  <a:pt x="117090" y="57810"/>
                </a:cubicBezTo>
                <a:lnTo>
                  <a:pt x="106184" y="57810"/>
                </a:lnTo>
                <a:lnTo>
                  <a:pt x="106184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35" y="14374"/>
                </a:lnTo>
                <a:lnTo>
                  <a:pt x="118435" y="44991"/>
                </a:lnTo>
                <a:cubicBezTo>
                  <a:pt x="120427" y="43498"/>
                  <a:pt x="122867" y="42190"/>
                  <a:pt x="125755" y="41071"/>
                </a:cubicBezTo>
                <a:cubicBezTo>
                  <a:pt x="128643" y="39888"/>
                  <a:pt x="132080" y="39266"/>
                  <a:pt x="136064" y="39266"/>
                </a:cubicBezTo>
                <a:cubicBezTo>
                  <a:pt x="142239" y="39266"/>
                  <a:pt x="147816" y="40572"/>
                  <a:pt x="152796" y="43186"/>
                </a:cubicBezTo>
                <a:cubicBezTo>
                  <a:pt x="157776" y="45675"/>
                  <a:pt x="161710" y="49471"/>
                  <a:pt x="164598" y="54512"/>
                </a:cubicBezTo>
                <a:cubicBezTo>
                  <a:pt x="167587" y="59490"/>
                  <a:pt x="169081" y="65713"/>
                  <a:pt x="169081" y="73181"/>
                </a:cubicBezTo>
                <a:cubicBezTo>
                  <a:pt x="169081" y="80586"/>
                  <a:pt x="167537" y="87058"/>
                  <a:pt x="164449" y="92596"/>
                </a:cubicBezTo>
                <a:cubicBezTo>
                  <a:pt x="161461" y="98196"/>
                  <a:pt x="157179" y="102490"/>
                  <a:pt x="151601" y="105601"/>
                </a:cubicBezTo>
                <a:cubicBezTo>
                  <a:pt x="146024" y="108588"/>
                  <a:pt x="139400" y="110082"/>
                  <a:pt x="131731" y="110082"/>
                </a:cubicBezTo>
                <a:close/>
                <a:moveTo>
                  <a:pt x="213869" y="110082"/>
                </a:moveTo>
                <a:cubicBezTo>
                  <a:pt x="201917" y="110082"/>
                  <a:pt x="192405" y="107530"/>
                  <a:pt x="185333" y="102490"/>
                </a:cubicBezTo>
                <a:lnTo>
                  <a:pt x="185333" y="87804"/>
                </a:lnTo>
                <a:cubicBezTo>
                  <a:pt x="189517" y="91226"/>
                  <a:pt x="193899" y="93778"/>
                  <a:pt x="198481" y="95458"/>
                </a:cubicBezTo>
                <a:cubicBezTo>
                  <a:pt x="203062" y="97014"/>
                  <a:pt x="208192" y="97823"/>
                  <a:pt x="213869" y="97823"/>
                </a:cubicBezTo>
                <a:cubicBezTo>
                  <a:pt x="221239" y="97823"/>
                  <a:pt x="226916" y="95583"/>
                  <a:pt x="230900" y="91102"/>
                </a:cubicBezTo>
                <a:cubicBezTo>
                  <a:pt x="234983" y="86621"/>
                  <a:pt x="237025" y="80772"/>
                  <a:pt x="237025" y="73491"/>
                </a:cubicBezTo>
                <a:cubicBezTo>
                  <a:pt x="237025" y="65713"/>
                  <a:pt x="235033" y="60050"/>
                  <a:pt x="231049" y="56441"/>
                </a:cubicBezTo>
                <a:cubicBezTo>
                  <a:pt x="227065" y="52894"/>
                  <a:pt x="222036" y="51089"/>
                  <a:pt x="215960" y="51089"/>
                </a:cubicBezTo>
                <a:cubicBezTo>
                  <a:pt x="211578" y="51089"/>
                  <a:pt x="208042" y="51836"/>
                  <a:pt x="205353" y="53329"/>
                </a:cubicBezTo>
                <a:cubicBezTo>
                  <a:pt x="202664" y="54698"/>
                  <a:pt x="200622" y="56192"/>
                  <a:pt x="199228" y="57810"/>
                </a:cubicBezTo>
                <a:lnTo>
                  <a:pt x="188322" y="57810"/>
                </a:lnTo>
                <a:lnTo>
                  <a:pt x="188322" y="1493"/>
                </a:lnTo>
                <a:lnTo>
                  <a:pt x="246288" y="1493"/>
                </a:lnTo>
                <a:lnTo>
                  <a:pt x="246288" y="14374"/>
                </a:lnTo>
                <a:lnTo>
                  <a:pt x="200572" y="14374"/>
                </a:lnTo>
                <a:lnTo>
                  <a:pt x="200572" y="44991"/>
                </a:lnTo>
                <a:cubicBezTo>
                  <a:pt x="202564" y="43498"/>
                  <a:pt x="205004" y="42190"/>
                  <a:pt x="207893" y="41071"/>
                </a:cubicBezTo>
                <a:cubicBezTo>
                  <a:pt x="210781" y="39888"/>
                  <a:pt x="214217" y="39266"/>
                  <a:pt x="218201" y="39266"/>
                </a:cubicBezTo>
                <a:cubicBezTo>
                  <a:pt x="224376" y="39266"/>
                  <a:pt x="229954" y="40572"/>
                  <a:pt x="234934" y="43186"/>
                </a:cubicBezTo>
                <a:cubicBezTo>
                  <a:pt x="239913" y="45675"/>
                  <a:pt x="243848" y="49471"/>
                  <a:pt x="246736" y="54512"/>
                </a:cubicBezTo>
                <a:cubicBezTo>
                  <a:pt x="249724" y="59490"/>
                  <a:pt x="251218" y="65713"/>
                  <a:pt x="251218" y="73181"/>
                </a:cubicBezTo>
                <a:cubicBezTo>
                  <a:pt x="251218" y="80586"/>
                  <a:pt x="249674" y="87058"/>
                  <a:pt x="246587" y="92596"/>
                </a:cubicBezTo>
                <a:cubicBezTo>
                  <a:pt x="243599" y="98196"/>
                  <a:pt x="239316" y="102490"/>
                  <a:pt x="233738" y="105601"/>
                </a:cubicBezTo>
                <a:cubicBezTo>
                  <a:pt x="228161" y="108588"/>
                  <a:pt x="221538" y="110082"/>
                  <a:pt x="213869" y="110082"/>
                </a:cubicBez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9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9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6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1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2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1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0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29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1" y="40262"/>
                  <a:pt x="490167" y="44244"/>
                </a:cubicBezTo>
                <a:cubicBezTo>
                  <a:pt x="486482" y="48227"/>
                  <a:pt x="482049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2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4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0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81567" y="108588"/>
                </a:moveTo>
                <a:lnTo>
                  <a:pt x="513292" y="108588"/>
                </a:lnTo>
                <a:lnTo>
                  <a:pt x="513292" y="94400"/>
                </a:lnTo>
                <a:cubicBezTo>
                  <a:pt x="523949" y="85812"/>
                  <a:pt x="532664" y="78532"/>
                  <a:pt x="539437" y="72433"/>
                </a:cubicBezTo>
                <a:cubicBezTo>
                  <a:pt x="546309" y="66397"/>
                  <a:pt x="551638" y="61108"/>
                  <a:pt x="555422" y="56628"/>
                </a:cubicBezTo>
                <a:cubicBezTo>
                  <a:pt x="559307" y="52023"/>
                  <a:pt x="561996" y="47791"/>
                  <a:pt x="563490" y="43933"/>
                </a:cubicBezTo>
                <a:cubicBezTo>
                  <a:pt x="565083" y="40012"/>
                  <a:pt x="565880" y="36092"/>
                  <a:pt x="565880" y="32109"/>
                </a:cubicBezTo>
                <a:cubicBezTo>
                  <a:pt x="565880" y="25949"/>
                  <a:pt x="564038" y="21095"/>
                  <a:pt x="560353" y="17610"/>
                </a:cubicBezTo>
                <a:cubicBezTo>
                  <a:pt x="556667" y="14125"/>
                  <a:pt x="551588" y="12383"/>
                  <a:pt x="545114" y="12383"/>
                </a:cubicBezTo>
                <a:cubicBezTo>
                  <a:pt x="534756" y="12383"/>
                  <a:pt x="525095" y="17361"/>
                  <a:pt x="516131" y="27194"/>
                </a:cubicBezTo>
                <a:lnTo>
                  <a:pt x="516131" y="12134"/>
                </a:lnTo>
                <a:cubicBezTo>
                  <a:pt x="524398" y="4044"/>
                  <a:pt x="534208" y="0"/>
                  <a:pt x="545562" y="0"/>
                </a:cubicBezTo>
                <a:cubicBezTo>
                  <a:pt x="556319" y="0"/>
                  <a:pt x="564785" y="2800"/>
                  <a:pt x="570960" y="8401"/>
                </a:cubicBezTo>
                <a:cubicBezTo>
                  <a:pt x="577234" y="13877"/>
                  <a:pt x="580372" y="21344"/>
                  <a:pt x="580372" y="30803"/>
                </a:cubicBezTo>
                <a:cubicBezTo>
                  <a:pt x="580372" y="35657"/>
                  <a:pt x="579575" y="40324"/>
                  <a:pt x="577981" y="44804"/>
                </a:cubicBezTo>
                <a:cubicBezTo>
                  <a:pt x="576487" y="49222"/>
                  <a:pt x="573798" y="53827"/>
                  <a:pt x="569914" y="58681"/>
                </a:cubicBezTo>
                <a:cubicBezTo>
                  <a:pt x="566129" y="63473"/>
                  <a:pt x="560900" y="68887"/>
                  <a:pt x="554227" y="74860"/>
                </a:cubicBezTo>
                <a:cubicBezTo>
                  <a:pt x="547554" y="80835"/>
                  <a:pt x="539088" y="87804"/>
                  <a:pt x="528830" y="95769"/>
                </a:cubicBezTo>
                <a:lnTo>
                  <a:pt x="581567" y="95769"/>
                </a:lnTo>
                <a:lnTo>
                  <a:pt x="581567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3" name="Полилиния 1062">
            <a:extLst>
              <a:ext uri="{FF2B5EF4-FFF2-40B4-BE49-F238E27FC236}">
                <a16:creationId xmlns:a16="http://schemas.microsoft.com/office/drawing/2014/main" id="{041A85DB-6C23-21F5-154E-F8DCF6289517}"/>
              </a:ext>
            </a:extLst>
          </p:cNvPr>
          <p:cNvSpPr/>
          <p:nvPr userDrawn="1"/>
        </p:nvSpPr>
        <p:spPr>
          <a:xfrm>
            <a:off x="16903366" y="4513847"/>
            <a:ext cx="1398954" cy="726227"/>
          </a:xfrm>
          <a:custGeom>
            <a:avLst/>
            <a:gdLst>
              <a:gd name="connsiteX0" fmla="*/ 638 w 1198727"/>
              <a:gd name="connsiteY0" fmla="*/ 1122 h 622284"/>
              <a:gd name="connsiteX1" fmla="*/ 1199366 w 1198727"/>
              <a:gd name="connsiteY1" fmla="*/ 1122 h 622284"/>
              <a:gd name="connsiteX2" fmla="*/ 1199366 w 1198727"/>
              <a:gd name="connsiteY2" fmla="*/ 623406 h 622284"/>
              <a:gd name="connsiteX3" fmla="*/ 638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122"/>
                </a:moveTo>
                <a:lnTo>
                  <a:pt x="1199366" y="1122"/>
                </a:lnTo>
                <a:lnTo>
                  <a:pt x="1199366" y="623406"/>
                </a:lnTo>
                <a:lnTo>
                  <a:pt x="638" y="623406"/>
                </a:lnTo>
                <a:close/>
              </a:path>
            </a:pathLst>
          </a:custGeom>
          <a:solidFill>
            <a:srgbClr val="82004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4" name="Полилиния 1063">
            <a:extLst>
              <a:ext uri="{FF2B5EF4-FFF2-40B4-BE49-F238E27FC236}">
                <a16:creationId xmlns:a16="http://schemas.microsoft.com/office/drawing/2014/main" id="{9D7E1C2E-868C-873D-8E63-052F0E6AF4EA}"/>
              </a:ext>
            </a:extLst>
          </p:cNvPr>
          <p:cNvSpPr/>
          <p:nvPr userDrawn="1"/>
        </p:nvSpPr>
        <p:spPr>
          <a:xfrm>
            <a:off x="17026576" y="4815595"/>
            <a:ext cx="681497" cy="128468"/>
          </a:xfrm>
          <a:custGeom>
            <a:avLst/>
            <a:gdLst>
              <a:gd name="connsiteX0" fmla="*/ 22111 w 583957"/>
              <a:gd name="connsiteY0" fmla="*/ 108588 h 110081"/>
              <a:gd name="connsiteX1" fmla="*/ 10159 w 583957"/>
              <a:gd name="connsiteY1" fmla="*/ 108588 h 110081"/>
              <a:gd name="connsiteX2" fmla="*/ 16433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02 w 583957"/>
              <a:gd name="connsiteY6" fmla="*/ 40012 h 110081"/>
              <a:gd name="connsiteX7" fmla="*/ 4033 w 583957"/>
              <a:gd name="connsiteY7" fmla="*/ 40012 h 110081"/>
              <a:gd name="connsiteX8" fmla="*/ 4033 w 583957"/>
              <a:gd name="connsiteY8" fmla="*/ 29559 h 110081"/>
              <a:gd name="connsiteX9" fmla="*/ 26294 w 583957"/>
              <a:gd name="connsiteY9" fmla="*/ 29559 h 110081"/>
              <a:gd name="connsiteX10" fmla="*/ 32120 w 583957"/>
              <a:gd name="connsiteY10" fmla="*/ 1493 h 110081"/>
              <a:gd name="connsiteX11" fmla="*/ 44072 w 583957"/>
              <a:gd name="connsiteY11" fmla="*/ 1493 h 110081"/>
              <a:gd name="connsiteX12" fmla="*/ 38246 w 583957"/>
              <a:gd name="connsiteY12" fmla="*/ 29559 h 110081"/>
              <a:gd name="connsiteX13" fmla="*/ 60655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607 w 583957"/>
              <a:gd name="connsiteY16" fmla="*/ 29559 h 110081"/>
              <a:gd name="connsiteX17" fmla="*/ 89340 w 583957"/>
              <a:gd name="connsiteY17" fmla="*/ 29559 h 110081"/>
              <a:gd name="connsiteX18" fmla="*/ 89340 w 583957"/>
              <a:gd name="connsiteY18" fmla="*/ 40012 h 110081"/>
              <a:gd name="connsiteX19" fmla="*/ 70516 w 583957"/>
              <a:gd name="connsiteY19" fmla="*/ 40012 h 110081"/>
              <a:gd name="connsiteX20" fmla="*/ 64988 w 583957"/>
              <a:gd name="connsiteY20" fmla="*/ 67206 h 110081"/>
              <a:gd name="connsiteX21" fmla="*/ 85306 w 583957"/>
              <a:gd name="connsiteY21" fmla="*/ 67206 h 110081"/>
              <a:gd name="connsiteX22" fmla="*/ 85306 w 583957"/>
              <a:gd name="connsiteY22" fmla="*/ 77661 h 110081"/>
              <a:gd name="connsiteX23" fmla="*/ 62747 w 583957"/>
              <a:gd name="connsiteY23" fmla="*/ 77661 h 110081"/>
              <a:gd name="connsiteX24" fmla="*/ 56472 w 583957"/>
              <a:gd name="connsiteY24" fmla="*/ 108588 h 110081"/>
              <a:gd name="connsiteX25" fmla="*/ 44520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111 w 583957"/>
              <a:gd name="connsiteY28" fmla="*/ 108588 h 110081"/>
              <a:gd name="connsiteX29" fmla="*/ 30626 w 583957"/>
              <a:gd name="connsiteY29" fmla="*/ 67206 h 110081"/>
              <a:gd name="connsiteX30" fmla="*/ 53036 w 583957"/>
              <a:gd name="connsiteY30" fmla="*/ 67206 h 110081"/>
              <a:gd name="connsiteX31" fmla="*/ 58564 w 583957"/>
              <a:gd name="connsiteY31" fmla="*/ 40012 h 110081"/>
              <a:gd name="connsiteX32" fmla="*/ 36154 w 583957"/>
              <a:gd name="connsiteY32" fmla="*/ 40012 h 110081"/>
              <a:gd name="connsiteX33" fmla="*/ 30626 w 583957"/>
              <a:gd name="connsiteY33" fmla="*/ 67206 h 110081"/>
              <a:gd name="connsiteX34" fmla="*/ 136811 w 583957"/>
              <a:gd name="connsiteY34" fmla="*/ 110082 h 110081"/>
              <a:gd name="connsiteX35" fmla="*/ 118136 w 583957"/>
              <a:gd name="connsiteY35" fmla="*/ 106473 h 110081"/>
              <a:gd name="connsiteX36" fmla="*/ 105437 w 583957"/>
              <a:gd name="connsiteY36" fmla="*/ 96205 h 110081"/>
              <a:gd name="connsiteX37" fmla="*/ 100806 w 583957"/>
              <a:gd name="connsiteY37" fmla="*/ 79777 h 110081"/>
              <a:gd name="connsiteX38" fmla="*/ 106184 w 583957"/>
              <a:gd name="connsiteY38" fmla="*/ 62291 h 110081"/>
              <a:gd name="connsiteX39" fmla="*/ 120974 w 583957"/>
              <a:gd name="connsiteY39" fmla="*/ 51711 h 110081"/>
              <a:gd name="connsiteX40" fmla="*/ 109023 w 583957"/>
              <a:gd name="connsiteY40" fmla="*/ 42564 h 110081"/>
              <a:gd name="connsiteX41" fmla="*/ 104690 w 583957"/>
              <a:gd name="connsiteY41" fmla="*/ 27504 h 110081"/>
              <a:gd name="connsiteX42" fmla="*/ 108873 w 583957"/>
              <a:gd name="connsiteY42" fmla="*/ 12570 h 110081"/>
              <a:gd name="connsiteX43" fmla="*/ 120377 w 583957"/>
              <a:gd name="connsiteY43" fmla="*/ 3298 h 110081"/>
              <a:gd name="connsiteX44" fmla="*/ 136811 w 583957"/>
              <a:gd name="connsiteY44" fmla="*/ 186 h 110081"/>
              <a:gd name="connsiteX45" fmla="*/ 152946 w 583957"/>
              <a:gd name="connsiteY45" fmla="*/ 3298 h 110081"/>
              <a:gd name="connsiteX46" fmla="*/ 164300 w 583957"/>
              <a:gd name="connsiteY46" fmla="*/ 12259 h 110081"/>
              <a:gd name="connsiteX47" fmla="*/ 168632 w 583957"/>
              <a:gd name="connsiteY47" fmla="*/ 27194 h 110081"/>
              <a:gd name="connsiteX48" fmla="*/ 164150 w 583957"/>
              <a:gd name="connsiteY48" fmla="*/ 42439 h 110081"/>
              <a:gd name="connsiteX49" fmla="*/ 152348 w 583957"/>
              <a:gd name="connsiteY49" fmla="*/ 51711 h 110081"/>
              <a:gd name="connsiteX50" fmla="*/ 166690 w 583957"/>
              <a:gd name="connsiteY50" fmla="*/ 61855 h 110081"/>
              <a:gd name="connsiteX51" fmla="*/ 172218 w 583957"/>
              <a:gd name="connsiteY51" fmla="*/ 79341 h 110081"/>
              <a:gd name="connsiteX52" fmla="*/ 167587 w 583957"/>
              <a:gd name="connsiteY52" fmla="*/ 95893 h 110081"/>
              <a:gd name="connsiteX53" fmla="*/ 154888 w 583957"/>
              <a:gd name="connsiteY53" fmla="*/ 106473 h 110081"/>
              <a:gd name="connsiteX54" fmla="*/ 136811 w 583957"/>
              <a:gd name="connsiteY54" fmla="*/ 110082 h 110081"/>
              <a:gd name="connsiteX55" fmla="*/ 136811 w 583957"/>
              <a:gd name="connsiteY55" fmla="*/ 46298 h 110081"/>
              <a:gd name="connsiteX56" fmla="*/ 149808 w 583957"/>
              <a:gd name="connsiteY56" fmla="*/ 41817 h 110081"/>
              <a:gd name="connsiteX57" fmla="*/ 155037 w 583957"/>
              <a:gd name="connsiteY57" fmla="*/ 29122 h 110081"/>
              <a:gd name="connsiteX58" fmla="*/ 149808 w 583957"/>
              <a:gd name="connsiteY58" fmla="*/ 16615 h 110081"/>
              <a:gd name="connsiteX59" fmla="*/ 136811 w 583957"/>
              <a:gd name="connsiteY59" fmla="*/ 11947 h 110081"/>
              <a:gd name="connsiteX60" fmla="*/ 123514 w 583957"/>
              <a:gd name="connsiteY60" fmla="*/ 16615 h 110081"/>
              <a:gd name="connsiteX61" fmla="*/ 118285 w 583957"/>
              <a:gd name="connsiteY61" fmla="*/ 29122 h 110081"/>
              <a:gd name="connsiteX62" fmla="*/ 123514 w 583957"/>
              <a:gd name="connsiteY62" fmla="*/ 41817 h 110081"/>
              <a:gd name="connsiteX63" fmla="*/ 136811 w 583957"/>
              <a:gd name="connsiteY63" fmla="*/ 46298 h 110081"/>
              <a:gd name="connsiteX64" fmla="*/ 136811 w 583957"/>
              <a:gd name="connsiteY64" fmla="*/ 98258 h 110081"/>
              <a:gd name="connsiteX65" fmla="*/ 152198 w 583957"/>
              <a:gd name="connsiteY65" fmla="*/ 92907 h 110081"/>
              <a:gd name="connsiteX66" fmla="*/ 158473 w 583957"/>
              <a:gd name="connsiteY66" fmla="*/ 77536 h 110081"/>
              <a:gd name="connsiteX67" fmla="*/ 152198 w 583957"/>
              <a:gd name="connsiteY67" fmla="*/ 62291 h 110081"/>
              <a:gd name="connsiteX68" fmla="*/ 136811 w 583957"/>
              <a:gd name="connsiteY68" fmla="*/ 56752 h 110081"/>
              <a:gd name="connsiteX69" fmla="*/ 120825 w 583957"/>
              <a:gd name="connsiteY69" fmla="*/ 62291 h 110081"/>
              <a:gd name="connsiteX70" fmla="*/ 114550 w 583957"/>
              <a:gd name="connsiteY70" fmla="*/ 77536 h 110081"/>
              <a:gd name="connsiteX71" fmla="*/ 120825 w 583957"/>
              <a:gd name="connsiteY71" fmla="*/ 92907 h 110081"/>
              <a:gd name="connsiteX72" fmla="*/ 136811 w 583957"/>
              <a:gd name="connsiteY72" fmla="*/ 98258 h 110081"/>
              <a:gd name="connsiteX73" fmla="*/ 253011 w 583957"/>
              <a:gd name="connsiteY73" fmla="*/ 108588 h 110081"/>
              <a:gd name="connsiteX74" fmla="*/ 184736 w 583957"/>
              <a:gd name="connsiteY74" fmla="*/ 108588 h 110081"/>
              <a:gd name="connsiteX75" fmla="*/ 184736 w 583957"/>
              <a:gd name="connsiteY75" fmla="*/ 94400 h 110081"/>
              <a:gd name="connsiteX76" fmla="*/ 210880 w 583957"/>
              <a:gd name="connsiteY76" fmla="*/ 72433 h 110081"/>
              <a:gd name="connsiteX77" fmla="*/ 226866 w 583957"/>
              <a:gd name="connsiteY77" fmla="*/ 56628 h 110081"/>
              <a:gd name="connsiteX78" fmla="*/ 234934 w 583957"/>
              <a:gd name="connsiteY78" fmla="*/ 43933 h 110081"/>
              <a:gd name="connsiteX79" fmla="*/ 237324 w 583957"/>
              <a:gd name="connsiteY79" fmla="*/ 32109 h 110081"/>
              <a:gd name="connsiteX80" fmla="*/ 231796 w 583957"/>
              <a:gd name="connsiteY80" fmla="*/ 17610 h 110081"/>
              <a:gd name="connsiteX81" fmla="*/ 216558 w 583957"/>
              <a:gd name="connsiteY81" fmla="*/ 12383 h 110081"/>
              <a:gd name="connsiteX82" fmla="*/ 187575 w 583957"/>
              <a:gd name="connsiteY82" fmla="*/ 27194 h 110081"/>
              <a:gd name="connsiteX83" fmla="*/ 187575 w 583957"/>
              <a:gd name="connsiteY83" fmla="*/ 12134 h 110081"/>
              <a:gd name="connsiteX84" fmla="*/ 217006 w 583957"/>
              <a:gd name="connsiteY84" fmla="*/ 0 h 110081"/>
              <a:gd name="connsiteX85" fmla="*/ 242404 w 583957"/>
              <a:gd name="connsiteY85" fmla="*/ 8401 h 110081"/>
              <a:gd name="connsiteX86" fmla="*/ 251816 w 583957"/>
              <a:gd name="connsiteY86" fmla="*/ 30803 h 110081"/>
              <a:gd name="connsiteX87" fmla="*/ 249425 w 583957"/>
              <a:gd name="connsiteY87" fmla="*/ 44804 h 110081"/>
              <a:gd name="connsiteX88" fmla="*/ 241358 w 583957"/>
              <a:gd name="connsiteY88" fmla="*/ 58681 h 110081"/>
              <a:gd name="connsiteX89" fmla="*/ 225671 w 583957"/>
              <a:gd name="connsiteY89" fmla="*/ 74860 h 110081"/>
              <a:gd name="connsiteX90" fmla="*/ 200273 w 583957"/>
              <a:gd name="connsiteY90" fmla="*/ 95769 h 110081"/>
              <a:gd name="connsiteX91" fmla="*/ 253011 w 583957"/>
              <a:gd name="connsiteY91" fmla="*/ 95769 h 110081"/>
              <a:gd name="connsiteX92" fmla="*/ 253011 w 583957"/>
              <a:gd name="connsiteY92" fmla="*/ 108588 h 110081"/>
              <a:gd name="connsiteX93" fmla="*/ 300936 w 583957"/>
              <a:gd name="connsiteY93" fmla="*/ 110082 h 110081"/>
              <a:gd name="connsiteX94" fmla="*/ 282710 w 583957"/>
              <a:gd name="connsiteY94" fmla="*/ 104233 h 110081"/>
              <a:gd name="connsiteX95" fmla="*/ 270011 w 583957"/>
              <a:gd name="connsiteY95" fmla="*/ 86311 h 110081"/>
              <a:gd name="connsiteX96" fmla="*/ 265529 w 583957"/>
              <a:gd name="connsiteY96" fmla="*/ 54947 h 110081"/>
              <a:gd name="connsiteX97" fmla="*/ 270011 w 583957"/>
              <a:gd name="connsiteY97" fmla="*/ 23584 h 110081"/>
              <a:gd name="connsiteX98" fmla="*/ 282710 w 583957"/>
              <a:gd name="connsiteY98" fmla="*/ 5849 h 110081"/>
              <a:gd name="connsiteX99" fmla="*/ 300936 w 583957"/>
              <a:gd name="connsiteY99" fmla="*/ 186 h 110081"/>
              <a:gd name="connsiteX100" fmla="*/ 319013 w 583957"/>
              <a:gd name="connsiteY100" fmla="*/ 5849 h 110081"/>
              <a:gd name="connsiteX101" fmla="*/ 331413 w 583957"/>
              <a:gd name="connsiteY101" fmla="*/ 23584 h 110081"/>
              <a:gd name="connsiteX102" fmla="*/ 335895 w 583957"/>
              <a:gd name="connsiteY102" fmla="*/ 54698 h 110081"/>
              <a:gd name="connsiteX103" fmla="*/ 331413 w 583957"/>
              <a:gd name="connsiteY103" fmla="*/ 86062 h 110081"/>
              <a:gd name="connsiteX104" fmla="*/ 319013 w 583957"/>
              <a:gd name="connsiteY104" fmla="*/ 104233 h 110081"/>
              <a:gd name="connsiteX105" fmla="*/ 300936 w 583957"/>
              <a:gd name="connsiteY105" fmla="*/ 110082 h 110081"/>
              <a:gd name="connsiteX106" fmla="*/ 300787 w 583957"/>
              <a:gd name="connsiteY106" fmla="*/ 98258 h 110081"/>
              <a:gd name="connsiteX107" fmla="*/ 312141 w 583957"/>
              <a:gd name="connsiteY107" fmla="*/ 94275 h 110081"/>
              <a:gd name="connsiteX108" fmla="*/ 319312 w 583957"/>
              <a:gd name="connsiteY108" fmla="*/ 80648 h 110081"/>
              <a:gd name="connsiteX109" fmla="*/ 321852 w 583957"/>
              <a:gd name="connsiteY109" fmla="*/ 55134 h 110081"/>
              <a:gd name="connsiteX110" fmla="*/ 319462 w 583957"/>
              <a:gd name="connsiteY110" fmla="*/ 29745 h 110081"/>
              <a:gd name="connsiteX111" fmla="*/ 312290 w 583957"/>
              <a:gd name="connsiteY111" fmla="*/ 16117 h 110081"/>
              <a:gd name="connsiteX112" fmla="*/ 300936 w 583957"/>
              <a:gd name="connsiteY112" fmla="*/ 11947 h 110081"/>
              <a:gd name="connsiteX113" fmla="*/ 289433 w 583957"/>
              <a:gd name="connsiteY113" fmla="*/ 16117 h 110081"/>
              <a:gd name="connsiteX114" fmla="*/ 282112 w 583957"/>
              <a:gd name="connsiteY114" fmla="*/ 29745 h 110081"/>
              <a:gd name="connsiteX115" fmla="*/ 279572 w 583957"/>
              <a:gd name="connsiteY115" fmla="*/ 55134 h 110081"/>
              <a:gd name="connsiteX116" fmla="*/ 281963 w 583957"/>
              <a:gd name="connsiteY116" fmla="*/ 80648 h 110081"/>
              <a:gd name="connsiteX117" fmla="*/ 289283 w 583957"/>
              <a:gd name="connsiteY117" fmla="*/ 94275 h 110081"/>
              <a:gd name="connsiteX118" fmla="*/ 300787 w 583957"/>
              <a:gd name="connsiteY118" fmla="*/ 98258 h 110081"/>
              <a:gd name="connsiteX119" fmla="*/ 383080 w 583957"/>
              <a:gd name="connsiteY119" fmla="*/ 110082 h 110081"/>
              <a:gd name="connsiteX120" fmla="*/ 364854 w 583957"/>
              <a:gd name="connsiteY120" fmla="*/ 104233 h 110081"/>
              <a:gd name="connsiteX121" fmla="*/ 352155 w 583957"/>
              <a:gd name="connsiteY121" fmla="*/ 86311 h 110081"/>
              <a:gd name="connsiteX122" fmla="*/ 347673 w 583957"/>
              <a:gd name="connsiteY122" fmla="*/ 54947 h 110081"/>
              <a:gd name="connsiteX123" fmla="*/ 352155 w 583957"/>
              <a:gd name="connsiteY123" fmla="*/ 23584 h 110081"/>
              <a:gd name="connsiteX124" fmla="*/ 364854 w 583957"/>
              <a:gd name="connsiteY124" fmla="*/ 5849 h 110081"/>
              <a:gd name="connsiteX125" fmla="*/ 383080 w 583957"/>
              <a:gd name="connsiteY125" fmla="*/ 186 h 110081"/>
              <a:gd name="connsiteX126" fmla="*/ 401157 w 583957"/>
              <a:gd name="connsiteY126" fmla="*/ 5849 h 110081"/>
              <a:gd name="connsiteX127" fmla="*/ 413557 w 583957"/>
              <a:gd name="connsiteY127" fmla="*/ 23584 h 110081"/>
              <a:gd name="connsiteX128" fmla="*/ 418039 w 583957"/>
              <a:gd name="connsiteY128" fmla="*/ 54698 h 110081"/>
              <a:gd name="connsiteX129" fmla="*/ 413557 w 583957"/>
              <a:gd name="connsiteY129" fmla="*/ 86062 h 110081"/>
              <a:gd name="connsiteX130" fmla="*/ 401157 w 583957"/>
              <a:gd name="connsiteY130" fmla="*/ 104233 h 110081"/>
              <a:gd name="connsiteX131" fmla="*/ 383080 w 583957"/>
              <a:gd name="connsiteY131" fmla="*/ 110082 h 110081"/>
              <a:gd name="connsiteX132" fmla="*/ 382931 w 583957"/>
              <a:gd name="connsiteY132" fmla="*/ 98258 h 110081"/>
              <a:gd name="connsiteX133" fmla="*/ 394285 w 583957"/>
              <a:gd name="connsiteY133" fmla="*/ 94275 h 110081"/>
              <a:gd name="connsiteX134" fmla="*/ 401456 w 583957"/>
              <a:gd name="connsiteY134" fmla="*/ 80648 h 110081"/>
              <a:gd name="connsiteX135" fmla="*/ 403995 w 583957"/>
              <a:gd name="connsiteY135" fmla="*/ 55134 h 110081"/>
              <a:gd name="connsiteX136" fmla="*/ 401605 w 583957"/>
              <a:gd name="connsiteY136" fmla="*/ 29745 h 110081"/>
              <a:gd name="connsiteX137" fmla="*/ 394434 w 583957"/>
              <a:gd name="connsiteY137" fmla="*/ 16117 h 110081"/>
              <a:gd name="connsiteX138" fmla="*/ 383080 w 583957"/>
              <a:gd name="connsiteY138" fmla="*/ 11947 h 110081"/>
              <a:gd name="connsiteX139" fmla="*/ 371576 w 583957"/>
              <a:gd name="connsiteY139" fmla="*/ 16117 h 110081"/>
              <a:gd name="connsiteX140" fmla="*/ 364256 w 583957"/>
              <a:gd name="connsiteY140" fmla="*/ 29745 h 110081"/>
              <a:gd name="connsiteX141" fmla="*/ 361716 w 583957"/>
              <a:gd name="connsiteY141" fmla="*/ 55134 h 110081"/>
              <a:gd name="connsiteX142" fmla="*/ 364107 w 583957"/>
              <a:gd name="connsiteY142" fmla="*/ 80648 h 110081"/>
              <a:gd name="connsiteX143" fmla="*/ 371427 w 583957"/>
              <a:gd name="connsiteY143" fmla="*/ 94275 h 110081"/>
              <a:gd name="connsiteX144" fmla="*/ 382931 w 583957"/>
              <a:gd name="connsiteY144" fmla="*/ 98258 h 110081"/>
              <a:gd name="connsiteX145" fmla="*/ 487328 w 583957"/>
              <a:gd name="connsiteY145" fmla="*/ 108588 h 110081"/>
              <a:gd name="connsiteX146" fmla="*/ 474181 w 583957"/>
              <a:gd name="connsiteY146" fmla="*/ 108588 h 110081"/>
              <a:gd name="connsiteX147" fmla="*/ 474181 w 583957"/>
              <a:gd name="connsiteY147" fmla="*/ 83199 h 110081"/>
              <a:gd name="connsiteX148" fmla="*/ 427868 w 583957"/>
              <a:gd name="connsiteY148" fmla="*/ 83199 h 110081"/>
              <a:gd name="connsiteX149" fmla="*/ 427868 w 583957"/>
              <a:gd name="connsiteY149" fmla="*/ 73927 h 110081"/>
              <a:gd name="connsiteX150" fmla="*/ 469699 w 583957"/>
              <a:gd name="connsiteY150" fmla="*/ 1493 h 110081"/>
              <a:gd name="connsiteX151" fmla="*/ 487328 w 583957"/>
              <a:gd name="connsiteY151" fmla="*/ 1493 h 110081"/>
              <a:gd name="connsiteX152" fmla="*/ 487328 w 583957"/>
              <a:gd name="connsiteY152" fmla="*/ 71873 h 110081"/>
              <a:gd name="connsiteX153" fmla="*/ 501820 w 583957"/>
              <a:gd name="connsiteY153" fmla="*/ 71873 h 110081"/>
              <a:gd name="connsiteX154" fmla="*/ 501820 w 583957"/>
              <a:gd name="connsiteY154" fmla="*/ 83199 h 110081"/>
              <a:gd name="connsiteX155" fmla="*/ 487328 w 583957"/>
              <a:gd name="connsiteY155" fmla="*/ 83199 h 110081"/>
              <a:gd name="connsiteX156" fmla="*/ 487328 w 583957"/>
              <a:gd name="connsiteY156" fmla="*/ 108588 h 110081"/>
              <a:gd name="connsiteX157" fmla="*/ 441463 w 583957"/>
              <a:gd name="connsiteY157" fmla="*/ 71873 h 110081"/>
              <a:gd name="connsiteX158" fmla="*/ 474181 w 583957"/>
              <a:gd name="connsiteY158" fmla="*/ 71873 h 110081"/>
              <a:gd name="connsiteX159" fmla="*/ 474181 w 583957"/>
              <a:gd name="connsiteY159" fmla="*/ 16117 h 110081"/>
              <a:gd name="connsiteX160" fmla="*/ 441463 w 583957"/>
              <a:gd name="connsiteY160" fmla="*/ 71873 h 110081"/>
              <a:gd name="connsiteX161" fmla="*/ 583957 w 583957"/>
              <a:gd name="connsiteY161" fmla="*/ 73491 h 110081"/>
              <a:gd name="connsiteX162" fmla="*/ 579177 w 583957"/>
              <a:gd name="connsiteY162" fmla="*/ 92782 h 110081"/>
              <a:gd name="connsiteX163" fmla="*/ 566478 w 583957"/>
              <a:gd name="connsiteY163" fmla="*/ 105601 h 110081"/>
              <a:gd name="connsiteX164" fmla="*/ 548401 w 583957"/>
              <a:gd name="connsiteY164" fmla="*/ 110082 h 110081"/>
              <a:gd name="connsiteX165" fmla="*/ 526738 w 583957"/>
              <a:gd name="connsiteY165" fmla="*/ 104108 h 110081"/>
              <a:gd name="connsiteX166" fmla="*/ 514637 w 583957"/>
              <a:gd name="connsiteY166" fmla="*/ 87555 h 110081"/>
              <a:gd name="connsiteX167" fmla="*/ 510902 w 583957"/>
              <a:gd name="connsiteY167" fmla="*/ 63161 h 110081"/>
              <a:gd name="connsiteX168" fmla="*/ 515384 w 583957"/>
              <a:gd name="connsiteY168" fmla="*/ 30181 h 110081"/>
              <a:gd name="connsiteX169" fmla="*/ 529427 w 583957"/>
              <a:gd name="connsiteY169" fmla="*/ 8089 h 110081"/>
              <a:gd name="connsiteX170" fmla="*/ 553928 w 583957"/>
              <a:gd name="connsiteY170" fmla="*/ 0 h 110081"/>
              <a:gd name="connsiteX171" fmla="*/ 576487 w 583957"/>
              <a:gd name="connsiteY171" fmla="*/ 5538 h 110081"/>
              <a:gd name="connsiteX172" fmla="*/ 576487 w 583957"/>
              <a:gd name="connsiteY172" fmla="*/ 18855 h 110081"/>
              <a:gd name="connsiteX173" fmla="*/ 553928 w 583957"/>
              <a:gd name="connsiteY173" fmla="*/ 12259 h 110081"/>
              <a:gd name="connsiteX174" fmla="*/ 538391 w 583957"/>
              <a:gd name="connsiteY174" fmla="*/ 17361 h 110081"/>
              <a:gd name="connsiteX175" fmla="*/ 528531 w 583957"/>
              <a:gd name="connsiteY175" fmla="*/ 31238 h 110081"/>
              <a:gd name="connsiteX176" fmla="*/ 524348 w 583957"/>
              <a:gd name="connsiteY176" fmla="*/ 50778 h 110081"/>
              <a:gd name="connsiteX177" fmla="*/ 535702 w 583957"/>
              <a:gd name="connsiteY177" fmla="*/ 40759 h 110081"/>
              <a:gd name="connsiteX178" fmla="*/ 549745 w 583957"/>
              <a:gd name="connsiteY178" fmla="*/ 37523 h 110081"/>
              <a:gd name="connsiteX179" fmla="*/ 567075 w 583957"/>
              <a:gd name="connsiteY179" fmla="*/ 41693 h 110081"/>
              <a:gd name="connsiteX180" fmla="*/ 579326 w 583957"/>
              <a:gd name="connsiteY180" fmla="*/ 53952 h 110081"/>
              <a:gd name="connsiteX181" fmla="*/ 583957 w 583957"/>
              <a:gd name="connsiteY181" fmla="*/ 73491 h 110081"/>
              <a:gd name="connsiteX182" fmla="*/ 547953 w 583957"/>
              <a:gd name="connsiteY182" fmla="*/ 98134 h 110081"/>
              <a:gd name="connsiteX183" fmla="*/ 558709 w 583957"/>
              <a:gd name="connsiteY183" fmla="*/ 95458 h 110081"/>
              <a:gd name="connsiteX184" fmla="*/ 566627 w 583957"/>
              <a:gd name="connsiteY184" fmla="*/ 87244 h 110081"/>
              <a:gd name="connsiteX185" fmla="*/ 569764 w 583957"/>
              <a:gd name="connsiteY185" fmla="*/ 73803 h 110081"/>
              <a:gd name="connsiteX186" fmla="*/ 566777 w 583957"/>
              <a:gd name="connsiteY186" fmla="*/ 60174 h 110081"/>
              <a:gd name="connsiteX187" fmla="*/ 559157 w 583957"/>
              <a:gd name="connsiteY187" fmla="*/ 51961 h 110081"/>
              <a:gd name="connsiteX188" fmla="*/ 549447 w 583957"/>
              <a:gd name="connsiteY188" fmla="*/ 49160 h 110081"/>
              <a:gd name="connsiteX189" fmla="*/ 532863 w 583957"/>
              <a:gd name="connsiteY189" fmla="*/ 55570 h 110081"/>
              <a:gd name="connsiteX190" fmla="*/ 526290 w 583957"/>
              <a:gd name="connsiteY190" fmla="*/ 74114 h 110081"/>
              <a:gd name="connsiteX191" fmla="*/ 532116 w 583957"/>
              <a:gd name="connsiteY191" fmla="*/ 91538 h 110081"/>
              <a:gd name="connsiteX192" fmla="*/ 547953 w 583957"/>
              <a:gd name="connsiteY192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58395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811" y="110082"/>
                </a:moveTo>
                <a:cubicBezTo>
                  <a:pt x="129839" y="110082"/>
                  <a:pt x="123614" y="108900"/>
                  <a:pt x="118136" y="106473"/>
                </a:cubicBezTo>
                <a:cubicBezTo>
                  <a:pt x="112757" y="104108"/>
                  <a:pt x="108525" y="100685"/>
                  <a:pt x="105437" y="96205"/>
                </a:cubicBezTo>
                <a:cubicBezTo>
                  <a:pt x="102349" y="91600"/>
                  <a:pt x="100806" y="86124"/>
                  <a:pt x="100806" y="79777"/>
                </a:cubicBezTo>
                <a:cubicBezTo>
                  <a:pt x="100806" y="72869"/>
                  <a:pt x="102599" y="67082"/>
                  <a:pt x="106184" y="62291"/>
                </a:cubicBezTo>
                <a:cubicBezTo>
                  <a:pt x="109869" y="57437"/>
                  <a:pt x="114799" y="53889"/>
                  <a:pt x="120974" y="51711"/>
                </a:cubicBezTo>
                <a:cubicBezTo>
                  <a:pt x="115995" y="49720"/>
                  <a:pt x="112010" y="46671"/>
                  <a:pt x="109023" y="42564"/>
                </a:cubicBezTo>
                <a:cubicBezTo>
                  <a:pt x="106134" y="38519"/>
                  <a:pt x="104690" y="33479"/>
                  <a:pt x="104690" y="27504"/>
                </a:cubicBezTo>
                <a:cubicBezTo>
                  <a:pt x="104690" y="21593"/>
                  <a:pt x="106085" y="16615"/>
                  <a:pt x="108873" y="12570"/>
                </a:cubicBezTo>
                <a:cubicBezTo>
                  <a:pt x="111662" y="8463"/>
                  <a:pt x="115496" y="5414"/>
                  <a:pt x="120377" y="3298"/>
                </a:cubicBezTo>
                <a:cubicBezTo>
                  <a:pt x="125257" y="1182"/>
                  <a:pt x="130735" y="186"/>
                  <a:pt x="136811" y="186"/>
                </a:cubicBezTo>
                <a:cubicBezTo>
                  <a:pt x="142787" y="186"/>
                  <a:pt x="148165" y="1182"/>
                  <a:pt x="152946" y="3298"/>
                </a:cubicBezTo>
                <a:cubicBezTo>
                  <a:pt x="157726" y="5289"/>
                  <a:pt x="161511" y="8276"/>
                  <a:pt x="164300" y="12259"/>
                </a:cubicBezTo>
                <a:cubicBezTo>
                  <a:pt x="167188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2" y="46484"/>
                  <a:pt x="157228" y="49596"/>
                  <a:pt x="152348" y="51711"/>
                </a:cubicBezTo>
                <a:cubicBezTo>
                  <a:pt x="158324" y="53765"/>
                  <a:pt x="163104" y="57188"/>
                  <a:pt x="166690" y="61855"/>
                </a:cubicBezTo>
                <a:cubicBezTo>
                  <a:pt x="170375" y="66522"/>
                  <a:pt x="172218" y="72372"/>
                  <a:pt x="172218" y="79341"/>
                </a:cubicBezTo>
                <a:cubicBezTo>
                  <a:pt x="172218" y="85688"/>
                  <a:pt x="170674" y="91226"/>
                  <a:pt x="167587" y="95893"/>
                </a:cubicBezTo>
                <a:cubicBezTo>
                  <a:pt x="164499" y="100498"/>
                  <a:pt x="160266" y="103983"/>
                  <a:pt x="154888" y="106473"/>
                </a:cubicBezTo>
                <a:cubicBezTo>
                  <a:pt x="149609" y="108900"/>
                  <a:pt x="143583" y="110082"/>
                  <a:pt x="136811" y="110082"/>
                </a:cubicBezTo>
                <a:close/>
                <a:moveTo>
                  <a:pt x="136811" y="46298"/>
                </a:moveTo>
                <a:cubicBezTo>
                  <a:pt x="142089" y="46298"/>
                  <a:pt x="146422" y="44804"/>
                  <a:pt x="149808" y="41817"/>
                </a:cubicBezTo>
                <a:cubicBezTo>
                  <a:pt x="153294" y="38768"/>
                  <a:pt x="155037" y="34536"/>
                  <a:pt x="155037" y="29122"/>
                </a:cubicBezTo>
                <a:cubicBezTo>
                  <a:pt x="155037" y="23771"/>
                  <a:pt x="153294" y="19601"/>
                  <a:pt x="149808" y="16615"/>
                </a:cubicBezTo>
                <a:cubicBezTo>
                  <a:pt x="146422" y="13503"/>
                  <a:pt x="142089" y="11947"/>
                  <a:pt x="136811" y="11947"/>
                </a:cubicBezTo>
                <a:cubicBezTo>
                  <a:pt x="131532" y="11947"/>
                  <a:pt x="127100" y="13503"/>
                  <a:pt x="123514" y="16615"/>
                </a:cubicBezTo>
                <a:cubicBezTo>
                  <a:pt x="120028" y="19601"/>
                  <a:pt x="118285" y="23771"/>
                  <a:pt x="118285" y="29122"/>
                </a:cubicBezTo>
                <a:cubicBezTo>
                  <a:pt x="118285" y="34536"/>
                  <a:pt x="120028" y="38768"/>
                  <a:pt x="123514" y="41817"/>
                </a:cubicBezTo>
                <a:cubicBezTo>
                  <a:pt x="127100" y="44804"/>
                  <a:pt x="131532" y="46298"/>
                  <a:pt x="136811" y="46298"/>
                </a:cubicBezTo>
                <a:close/>
                <a:moveTo>
                  <a:pt x="136811" y="98258"/>
                </a:moveTo>
                <a:cubicBezTo>
                  <a:pt x="142986" y="98258"/>
                  <a:pt x="148115" y="96516"/>
                  <a:pt x="152198" y="92907"/>
                </a:cubicBezTo>
                <a:cubicBezTo>
                  <a:pt x="156382" y="89235"/>
                  <a:pt x="158473" y="84071"/>
                  <a:pt x="158473" y="77536"/>
                </a:cubicBezTo>
                <a:cubicBezTo>
                  <a:pt x="158473" y="70940"/>
                  <a:pt x="156382" y="65900"/>
                  <a:pt x="152198" y="62291"/>
                </a:cubicBezTo>
                <a:cubicBezTo>
                  <a:pt x="148115" y="58619"/>
                  <a:pt x="142986" y="56752"/>
                  <a:pt x="136811" y="56752"/>
                </a:cubicBezTo>
                <a:cubicBezTo>
                  <a:pt x="130436" y="56752"/>
                  <a:pt x="125108" y="58619"/>
                  <a:pt x="120825" y="62291"/>
                </a:cubicBezTo>
                <a:cubicBezTo>
                  <a:pt x="116642" y="65900"/>
                  <a:pt x="114550" y="70940"/>
                  <a:pt x="114550" y="77536"/>
                </a:cubicBezTo>
                <a:cubicBezTo>
                  <a:pt x="114550" y="84071"/>
                  <a:pt x="116642" y="89235"/>
                  <a:pt x="120825" y="92907"/>
                </a:cubicBezTo>
                <a:cubicBezTo>
                  <a:pt x="125108" y="96516"/>
                  <a:pt x="130436" y="98258"/>
                  <a:pt x="136811" y="98258"/>
                </a:cubicBez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0" y="72433"/>
                </a:cubicBezTo>
                <a:cubicBezTo>
                  <a:pt x="217753" y="66397"/>
                  <a:pt x="223081" y="61108"/>
                  <a:pt x="226866" y="56628"/>
                </a:cubicBezTo>
                <a:cubicBezTo>
                  <a:pt x="230750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1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8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3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9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9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6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1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2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87328" y="108588"/>
                </a:moveTo>
                <a:lnTo>
                  <a:pt x="474181" y="108588"/>
                </a:lnTo>
                <a:lnTo>
                  <a:pt x="474181" y="83199"/>
                </a:lnTo>
                <a:lnTo>
                  <a:pt x="427868" y="83199"/>
                </a:lnTo>
                <a:lnTo>
                  <a:pt x="427868" y="73927"/>
                </a:lnTo>
                <a:lnTo>
                  <a:pt x="469699" y="1493"/>
                </a:lnTo>
                <a:lnTo>
                  <a:pt x="487328" y="1493"/>
                </a:lnTo>
                <a:lnTo>
                  <a:pt x="487328" y="71873"/>
                </a:lnTo>
                <a:lnTo>
                  <a:pt x="501820" y="71873"/>
                </a:lnTo>
                <a:lnTo>
                  <a:pt x="501820" y="83199"/>
                </a:lnTo>
                <a:lnTo>
                  <a:pt x="487328" y="83199"/>
                </a:lnTo>
                <a:lnTo>
                  <a:pt x="487328" y="108588"/>
                </a:lnTo>
                <a:close/>
                <a:moveTo>
                  <a:pt x="441463" y="71873"/>
                </a:moveTo>
                <a:lnTo>
                  <a:pt x="474181" y="71873"/>
                </a:lnTo>
                <a:lnTo>
                  <a:pt x="474181" y="16117"/>
                </a:lnTo>
                <a:lnTo>
                  <a:pt x="441463" y="71873"/>
                </a:lnTo>
                <a:close/>
                <a:moveTo>
                  <a:pt x="583957" y="73491"/>
                </a:moveTo>
                <a:cubicBezTo>
                  <a:pt x="583957" y="80772"/>
                  <a:pt x="582364" y="87182"/>
                  <a:pt x="579177" y="92782"/>
                </a:cubicBezTo>
                <a:cubicBezTo>
                  <a:pt x="576089" y="98258"/>
                  <a:pt x="571856" y="102490"/>
                  <a:pt x="566478" y="105601"/>
                </a:cubicBezTo>
                <a:cubicBezTo>
                  <a:pt x="561100" y="108588"/>
                  <a:pt x="555074" y="110082"/>
                  <a:pt x="548401" y="110082"/>
                </a:cubicBezTo>
                <a:cubicBezTo>
                  <a:pt x="539437" y="110082"/>
                  <a:pt x="532216" y="108091"/>
                  <a:pt x="526738" y="104108"/>
                </a:cubicBezTo>
                <a:cubicBezTo>
                  <a:pt x="521260" y="100125"/>
                  <a:pt x="517226" y="94587"/>
                  <a:pt x="514637" y="87555"/>
                </a:cubicBezTo>
                <a:cubicBezTo>
                  <a:pt x="512147" y="80461"/>
                  <a:pt x="510902" y="72372"/>
                  <a:pt x="510902" y="63161"/>
                </a:cubicBezTo>
                <a:cubicBezTo>
                  <a:pt x="510902" y="50653"/>
                  <a:pt x="512396" y="39639"/>
                  <a:pt x="515384" y="30181"/>
                </a:cubicBezTo>
                <a:cubicBezTo>
                  <a:pt x="518471" y="20722"/>
                  <a:pt x="523153" y="13379"/>
                  <a:pt x="529427" y="8089"/>
                </a:cubicBezTo>
                <a:cubicBezTo>
                  <a:pt x="535801" y="2675"/>
                  <a:pt x="543969" y="0"/>
                  <a:pt x="553928" y="0"/>
                </a:cubicBezTo>
                <a:cubicBezTo>
                  <a:pt x="562494" y="0"/>
                  <a:pt x="570014" y="1866"/>
                  <a:pt x="576487" y="5538"/>
                </a:cubicBezTo>
                <a:lnTo>
                  <a:pt x="576487" y="18855"/>
                </a:lnTo>
                <a:cubicBezTo>
                  <a:pt x="570014" y="14437"/>
                  <a:pt x="562494" y="12259"/>
                  <a:pt x="553928" y="12259"/>
                </a:cubicBezTo>
                <a:cubicBezTo>
                  <a:pt x="547753" y="12259"/>
                  <a:pt x="542574" y="13939"/>
                  <a:pt x="538391" y="17361"/>
                </a:cubicBezTo>
                <a:cubicBezTo>
                  <a:pt x="534208" y="20722"/>
                  <a:pt x="530921" y="25327"/>
                  <a:pt x="528531" y="31238"/>
                </a:cubicBezTo>
                <a:cubicBezTo>
                  <a:pt x="526240" y="37026"/>
                  <a:pt x="524846" y="43498"/>
                  <a:pt x="524348" y="50778"/>
                </a:cubicBezTo>
                <a:cubicBezTo>
                  <a:pt x="527634" y="46298"/>
                  <a:pt x="531419" y="42999"/>
                  <a:pt x="535702" y="40759"/>
                </a:cubicBezTo>
                <a:cubicBezTo>
                  <a:pt x="539985" y="38581"/>
                  <a:pt x="544666" y="37523"/>
                  <a:pt x="549745" y="37523"/>
                </a:cubicBezTo>
                <a:cubicBezTo>
                  <a:pt x="556219" y="37523"/>
                  <a:pt x="561996" y="38893"/>
                  <a:pt x="567075" y="41693"/>
                </a:cubicBezTo>
                <a:cubicBezTo>
                  <a:pt x="572255" y="44493"/>
                  <a:pt x="576338" y="48538"/>
                  <a:pt x="579326" y="53952"/>
                </a:cubicBezTo>
                <a:cubicBezTo>
                  <a:pt x="582413" y="59179"/>
                  <a:pt x="583957" y="65713"/>
                  <a:pt x="583957" y="73491"/>
                </a:cubicBezTo>
                <a:close/>
                <a:moveTo>
                  <a:pt x="547953" y="98134"/>
                </a:moveTo>
                <a:cubicBezTo>
                  <a:pt x="551837" y="98134"/>
                  <a:pt x="555422" y="97263"/>
                  <a:pt x="558709" y="95458"/>
                </a:cubicBezTo>
                <a:cubicBezTo>
                  <a:pt x="561996" y="93529"/>
                  <a:pt x="564635" y="90791"/>
                  <a:pt x="566627" y="87244"/>
                </a:cubicBezTo>
                <a:cubicBezTo>
                  <a:pt x="568719" y="83635"/>
                  <a:pt x="569764" y="79154"/>
                  <a:pt x="569764" y="73803"/>
                </a:cubicBezTo>
                <a:cubicBezTo>
                  <a:pt x="569764" y="68389"/>
                  <a:pt x="568769" y="63908"/>
                  <a:pt x="566777" y="60174"/>
                </a:cubicBezTo>
                <a:cubicBezTo>
                  <a:pt x="564785" y="56503"/>
                  <a:pt x="562245" y="53765"/>
                  <a:pt x="559157" y="51961"/>
                </a:cubicBezTo>
                <a:cubicBezTo>
                  <a:pt x="556070" y="50093"/>
                  <a:pt x="552833" y="49160"/>
                  <a:pt x="549447" y="49160"/>
                </a:cubicBezTo>
                <a:cubicBezTo>
                  <a:pt x="542873" y="49160"/>
                  <a:pt x="537345" y="51276"/>
                  <a:pt x="532863" y="55570"/>
                </a:cubicBezTo>
                <a:cubicBezTo>
                  <a:pt x="528481" y="59739"/>
                  <a:pt x="526290" y="65900"/>
                  <a:pt x="526290" y="74114"/>
                </a:cubicBezTo>
                <a:cubicBezTo>
                  <a:pt x="526290" y="81270"/>
                  <a:pt x="528232" y="87058"/>
                  <a:pt x="532116" y="91538"/>
                </a:cubicBezTo>
                <a:cubicBezTo>
                  <a:pt x="536001" y="95956"/>
                  <a:pt x="541279" y="98134"/>
                  <a:pt x="547953" y="98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5" name="Полилиния 1064">
            <a:extLst>
              <a:ext uri="{FF2B5EF4-FFF2-40B4-BE49-F238E27FC236}">
                <a16:creationId xmlns:a16="http://schemas.microsoft.com/office/drawing/2014/main" id="{F776F53D-861F-2875-7ED6-FC060D388581}"/>
              </a:ext>
            </a:extLst>
          </p:cNvPr>
          <p:cNvSpPr/>
          <p:nvPr userDrawn="1"/>
        </p:nvSpPr>
        <p:spPr>
          <a:xfrm>
            <a:off x="16903366" y="5240073"/>
            <a:ext cx="1398954" cy="726227"/>
          </a:xfrm>
          <a:custGeom>
            <a:avLst/>
            <a:gdLst>
              <a:gd name="connsiteX0" fmla="*/ 638 w 1198727"/>
              <a:gd name="connsiteY0" fmla="*/ 1222 h 622284"/>
              <a:gd name="connsiteX1" fmla="*/ 1199366 w 1198727"/>
              <a:gd name="connsiteY1" fmla="*/ 1222 h 622284"/>
              <a:gd name="connsiteX2" fmla="*/ 1199366 w 1198727"/>
              <a:gd name="connsiteY2" fmla="*/ 623506 h 622284"/>
              <a:gd name="connsiteX3" fmla="*/ 638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222"/>
                </a:moveTo>
                <a:lnTo>
                  <a:pt x="1199366" y="1222"/>
                </a:lnTo>
                <a:lnTo>
                  <a:pt x="1199366" y="623506"/>
                </a:lnTo>
                <a:lnTo>
                  <a:pt x="638" y="623506"/>
                </a:lnTo>
                <a:close/>
              </a:path>
            </a:pathLst>
          </a:custGeom>
          <a:solidFill>
            <a:srgbClr val="AF00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6" name="Полилиния 1065">
            <a:extLst>
              <a:ext uri="{FF2B5EF4-FFF2-40B4-BE49-F238E27FC236}">
                <a16:creationId xmlns:a16="http://schemas.microsoft.com/office/drawing/2014/main" id="{75ACE156-FD5B-C429-9734-18D4E8B59522}"/>
              </a:ext>
            </a:extLst>
          </p:cNvPr>
          <p:cNvSpPr/>
          <p:nvPr userDrawn="1"/>
        </p:nvSpPr>
        <p:spPr>
          <a:xfrm>
            <a:off x="17026576" y="5542037"/>
            <a:ext cx="728761" cy="128252"/>
          </a:xfrm>
          <a:custGeom>
            <a:avLst/>
            <a:gdLst>
              <a:gd name="connsiteX0" fmla="*/ 22111 w 624456"/>
              <a:gd name="connsiteY0" fmla="*/ 108402 h 109895"/>
              <a:gd name="connsiteX1" fmla="*/ 10159 w 624456"/>
              <a:gd name="connsiteY1" fmla="*/ 108402 h 109895"/>
              <a:gd name="connsiteX2" fmla="*/ 16433 w 624456"/>
              <a:gd name="connsiteY2" fmla="*/ 77475 h 109895"/>
              <a:gd name="connsiteX3" fmla="*/ 0 w 624456"/>
              <a:gd name="connsiteY3" fmla="*/ 77475 h 109895"/>
              <a:gd name="connsiteX4" fmla="*/ 0 w 624456"/>
              <a:gd name="connsiteY4" fmla="*/ 67020 h 109895"/>
              <a:gd name="connsiteX5" fmla="*/ 18675 w 624456"/>
              <a:gd name="connsiteY5" fmla="*/ 67020 h 109895"/>
              <a:gd name="connsiteX6" fmla="*/ 24202 w 624456"/>
              <a:gd name="connsiteY6" fmla="*/ 39826 h 109895"/>
              <a:gd name="connsiteX7" fmla="*/ 4033 w 624456"/>
              <a:gd name="connsiteY7" fmla="*/ 39826 h 109895"/>
              <a:gd name="connsiteX8" fmla="*/ 4033 w 624456"/>
              <a:gd name="connsiteY8" fmla="*/ 29372 h 109895"/>
              <a:gd name="connsiteX9" fmla="*/ 26294 w 624456"/>
              <a:gd name="connsiteY9" fmla="*/ 29372 h 109895"/>
              <a:gd name="connsiteX10" fmla="*/ 32120 w 624456"/>
              <a:gd name="connsiteY10" fmla="*/ 1307 h 109895"/>
              <a:gd name="connsiteX11" fmla="*/ 44072 w 624456"/>
              <a:gd name="connsiteY11" fmla="*/ 1307 h 109895"/>
              <a:gd name="connsiteX12" fmla="*/ 38246 w 624456"/>
              <a:gd name="connsiteY12" fmla="*/ 29372 h 109895"/>
              <a:gd name="connsiteX13" fmla="*/ 60655 w 624456"/>
              <a:gd name="connsiteY13" fmla="*/ 29372 h 109895"/>
              <a:gd name="connsiteX14" fmla="*/ 66482 w 624456"/>
              <a:gd name="connsiteY14" fmla="*/ 1307 h 109895"/>
              <a:gd name="connsiteX15" fmla="*/ 78434 w 624456"/>
              <a:gd name="connsiteY15" fmla="*/ 1307 h 109895"/>
              <a:gd name="connsiteX16" fmla="*/ 72607 w 624456"/>
              <a:gd name="connsiteY16" fmla="*/ 29372 h 109895"/>
              <a:gd name="connsiteX17" fmla="*/ 89340 w 624456"/>
              <a:gd name="connsiteY17" fmla="*/ 29372 h 109895"/>
              <a:gd name="connsiteX18" fmla="*/ 89340 w 624456"/>
              <a:gd name="connsiteY18" fmla="*/ 39826 h 109895"/>
              <a:gd name="connsiteX19" fmla="*/ 70516 w 624456"/>
              <a:gd name="connsiteY19" fmla="*/ 39826 h 109895"/>
              <a:gd name="connsiteX20" fmla="*/ 64988 w 624456"/>
              <a:gd name="connsiteY20" fmla="*/ 67020 h 109895"/>
              <a:gd name="connsiteX21" fmla="*/ 85306 w 624456"/>
              <a:gd name="connsiteY21" fmla="*/ 67020 h 109895"/>
              <a:gd name="connsiteX22" fmla="*/ 85306 w 624456"/>
              <a:gd name="connsiteY22" fmla="*/ 77475 h 109895"/>
              <a:gd name="connsiteX23" fmla="*/ 62747 w 624456"/>
              <a:gd name="connsiteY23" fmla="*/ 77475 h 109895"/>
              <a:gd name="connsiteX24" fmla="*/ 56472 w 624456"/>
              <a:gd name="connsiteY24" fmla="*/ 108402 h 109895"/>
              <a:gd name="connsiteX25" fmla="*/ 44520 w 624456"/>
              <a:gd name="connsiteY25" fmla="*/ 108402 h 109895"/>
              <a:gd name="connsiteX26" fmla="*/ 50795 w 624456"/>
              <a:gd name="connsiteY26" fmla="*/ 77475 h 109895"/>
              <a:gd name="connsiteX27" fmla="*/ 28386 w 624456"/>
              <a:gd name="connsiteY27" fmla="*/ 77475 h 109895"/>
              <a:gd name="connsiteX28" fmla="*/ 22111 w 624456"/>
              <a:gd name="connsiteY28" fmla="*/ 108402 h 109895"/>
              <a:gd name="connsiteX29" fmla="*/ 30626 w 624456"/>
              <a:gd name="connsiteY29" fmla="*/ 67020 h 109895"/>
              <a:gd name="connsiteX30" fmla="*/ 53036 w 624456"/>
              <a:gd name="connsiteY30" fmla="*/ 67020 h 109895"/>
              <a:gd name="connsiteX31" fmla="*/ 58564 w 624456"/>
              <a:gd name="connsiteY31" fmla="*/ 39826 h 109895"/>
              <a:gd name="connsiteX32" fmla="*/ 36154 w 624456"/>
              <a:gd name="connsiteY32" fmla="*/ 39826 h 109895"/>
              <a:gd name="connsiteX33" fmla="*/ 30626 w 624456"/>
              <a:gd name="connsiteY33" fmla="*/ 67020 h 109895"/>
              <a:gd name="connsiteX34" fmla="*/ 189691 w 624456"/>
              <a:gd name="connsiteY34" fmla="*/ 108402 h 109895"/>
              <a:gd name="connsiteX35" fmla="*/ 174751 w 624456"/>
              <a:gd name="connsiteY35" fmla="*/ 108402 h 109895"/>
              <a:gd name="connsiteX36" fmla="*/ 163696 w 624456"/>
              <a:gd name="connsiteY36" fmla="*/ 77786 h 109895"/>
              <a:gd name="connsiteX37" fmla="*/ 116337 w 624456"/>
              <a:gd name="connsiteY37" fmla="*/ 77786 h 109895"/>
              <a:gd name="connsiteX38" fmla="*/ 105431 w 624456"/>
              <a:gd name="connsiteY38" fmla="*/ 108402 h 109895"/>
              <a:gd name="connsiteX39" fmla="*/ 92284 w 624456"/>
              <a:gd name="connsiteY39" fmla="*/ 108402 h 109895"/>
              <a:gd name="connsiteX40" fmla="*/ 130380 w 624456"/>
              <a:gd name="connsiteY40" fmla="*/ 1307 h 109895"/>
              <a:gd name="connsiteX41" fmla="*/ 151296 w 624456"/>
              <a:gd name="connsiteY41" fmla="*/ 1307 h 109895"/>
              <a:gd name="connsiteX42" fmla="*/ 189691 w 624456"/>
              <a:gd name="connsiteY42" fmla="*/ 108402 h 109895"/>
              <a:gd name="connsiteX43" fmla="*/ 120968 w 624456"/>
              <a:gd name="connsiteY43" fmla="*/ 65091 h 109895"/>
              <a:gd name="connsiteX44" fmla="*/ 159214 w 624456"/>
              <a:gd name="connsiteY44" fmla="*/ 65091 h 109895"/>
              <a:gd name="connsiteX45" fmla="*/ 140091 w 624456"/>
              <a:gd name="connsiteY45" fmla="*/ 11761 h 109895"/>
              <a:gd name="connsiteX46" fmla="*/ 120968 w 624456"/>
              <a:gd name="connsiteY46" fmla="*/ 65091 h 109895"/>
              <a:gd name="connsiteX47" fmla="*/ 205284 w 624456"/>
              <a:gd name="connsiteY47" fmla="*/ 1307 h 109895"/>
              <a:gd name="connsiteX48" fmla="*/ 270721 w 624456"/>
              <a:gd name="connsiteY48" fmla="*/ 1307 h 109895"/>
              <a:gd name="connsiteX49" fmla="*/ 270721 w 624456"/>
              <a:gd name="connsiteY49" fmla="*/ 14188 h 109895"/>
              <a:gd name="connsiteX50" fmla="*/ 219328 w 624456"/>
              <a:gd name="connsiteY50" fmla="*/ 14188 h 109895"/>
              <a:gd name="connsiteX51" fmla="*/ 219328 w 624456"/>
              <a:gd name="connsiteY51" fmla="*/ 49720 h 109895"/>
              <a:gd name="connsiteX52" fmla="*/ 262952 w 624456"/>
              <a:gd name="connsiteY52" fmla="*/ 49720 h 109895"/>
              <a:gd name="connsiteX53" fmla="*/ 262952 w 624456"/>
              <a:gd name="connsiteY53" fmla="*/ 62415 h 109895"/>
              <a:gd name="connsiteX54" fmla="*/ 219328 w 624456"/>
              <a:gd name="connsiteY54" fmla="*/ 62415 h 109895"/>
              <a:gd name="connsiteX55" fmla="*/ 219328 w 624456"/>
              <a:gd name="connsiteY55" fmla="*/ 108402 h 109895"/>
              <a:gd name="connsiteX56" fmla="*/ 205284 w 624456"/>
              <a:gd name="connsiteY56" fmla="*/ 108402 h 109895"/>
              <a:gd name="connsiteX57" fmla="*/ 205284 w 624456"/>
              <a:gd name="connsiteY57" fmla="*/ 1307 h 109895"/>
              <a:gd name="connsiteX58" fmla="*/ 319026 w 624456"/>
              <a:gd name="connsiteY58" fmla="*/ 109896 h 109895"/>
              <a:gd name="connsiteX59" fmla="*/ 300799 w 624456"/>
              <a:gd name="connsiteY59" fmla="*/ 104047 h 109895"/>
              <a:gd name="connsiteX60" fmla="*/ 288100 w 624456"/>
              <a:gd name="connsiteY60" fmla="*/ 86125 h 109895"/>
              <a:gd name="connsiteX61" fmla="*/ 283618 w 624456"/>
              <a:gd name="connsiteY61" fmla="*/ 54761 h 109895"/>
              <a:gd name="connsiteX62" fmla="*/ 288100 w 624456"/>
              <a:gd name="connsiteY62" fmla="*/ 23398 h 109895"/>
              <a:gd name="connsiteX63" fmla="*/ 300799 w 624456"/>
              <a:gd name="connsiteY63" fmla="*/ 5663 h 109895"/>
              <a:gd name="connsiteX64" fmla="*/ 319026 w 624456"/>
              <a:gd name="connsiteY64" fmla="*/ 0 h 109895"/>
              <a:gd name="connsiteX65" fmla="*/ 337103 w 624456"/>
              <a:gd name="connsiteY65" fmla="*/ 5663 h 109895"/>
              <a:gd name="connsiteX66" fmla="*/ 349503 w 624456"/>
              <a:gd name="connsiteY66" fmla="*/ 23398 h 109895"/>
              <a:gd name="connsiteX67" fmla="*/ 353985 w 624456"/>
              <a:gd name="connsiteY67" fmla="*/ 54512 h 109895"/>
              <a:gd name="connsiteX68" fmla="*/ 349503 w 624456"/>
              <a:gd name="connsiteY68" fmla="*/ 85876 h 109895"/>
              <a:gd name="connsiteX69" fmla="*/ 337103 w 624456"/>
              <a:gd name="connsiteY69" fmla="*/ 104047 h 109895"/>
              <a:gd name="connsiteX70" fmla="*/ 319026 w 624456"/>
              <a:gd name="connsiteY70" fmla="*/ 109896 h 109895"/>
              <a:gd name="connsiteX71" fmla="*/ 318876 w 624456"/>
              <a:gd name="connsiteY71" fmla="*/ 98072 h 109895"/>
              <a:gd name="connsiteX72" fmla="*/ 330231 w 624456"/>
              <a:gd name="connsiteY72" fmla="*/ 94089 h 109895"/>
              <a:gd name="connsiteX73" fmla="*/ 337402 w 624456"/>
              <a:gd name="connsiteY73" fmla="*/ 80462 h 109895"/>
              <a:gd name="connsiteX74" fmla="*/ 339941 w 624456"/>
              <a:gd name="connsiteY74" fmla="*/ 54948 h 109895"/>
              <a:gd name="connsiteX75" fmla="*/ 337551 w 624456"/>
              <a:gd name="connsiteY75" fmla="*/ 29559 h 109895"/>
              <a:gd name="connsiteX76" fmla="*/ 330380 w 624456"/>
              <a:gd name="connsiteY76" fmla="*/ 15931 h 109895"/>
              <a:gd name="connsiteX77" fmla="*/ 319026 w 624456"/>
              <a:gd name="connsiteY77" fmla="*/ 11761 h 109895"/>
              <a:gd name="connsiteX78" fmla="*/ 307522 w 624456"/>
              <a:gd name="connsiteY78" fmla="*/ 15931 h 109895"/>
              <a:gd name="connsiteX79" fmla="*/ 300201 w 624456"/>
              <a:gd name="connsiteY79" fmla="*/ 29559 h 109895"/>
              <a:gd name="connsiteX80" fmla="*/ 297662 w 624456"/>
              <a:gd name="connsiteY80" fmla="*/ 54948 h 109895"/>
              <a:gd name="connsiteX81" fmla="*/ 300052 w 624456"/>
              <a:gd name="connsiteY81" fmla="*/ 80462 h 109895"/>
              <a:gd name="connsiteX82" fmla="*/ 307373 w 624456"/>
              <a:gd name="connsiteY82" fmla="*/ 94089 h 109895"/>
              <a:gd name="connsiteX83" fmla="*/ 318876 w 624456"/>
              <a:gd name="connsiteY83" fmla="*/ 98072 h 109895"/>
              <a:gd name="connsiteX84" fmla="*/ 401169 w 624456"/>
              <a:gd name="connsiteY84" fmla="*/ 109896 h 109895"/>
              <a:gd name="connsiteX85" fmla="*/ 382943 w 624456"/>
              <a:gd name="connsiteY85" fmla="*/ 104047 h 109895"/>
              <a:gd name="connsiteX86" fmla="*/ 370244 w 624456"/>
              <a:gd name="connsiteY86" fmla="*/ 86125 h 109895"/>
              <a:gd name="connsiteX87" fmla="*/ 365762 w 624456"/>
              <a:gd name="connsiteY87" fmla="*/ 54761 h 109895"/>
              <a:gd name="connsiteX88" fmla="*/ 370244 w 624456"/>
              <a:gd name="connsiteY88" fmla="*/ 23398 h 109895"/>
              <a:gd name="connsiteX89" fmla="*/ 382943 w 624456"/>
              <a:gd name="connsiteY89" fmla="*/ 5663 h 109895"/>
              <a:gd name="connsiteX90" fmla="*/ 401169 w 624456"/>
              <a:gd name="connsiteY90" fmla="*/ 0 h 109895"/>
              <a:gd name="connsiteX91" fmla="*/ 419247 w 624456"/>
              <a:gd name="connsiteY91" fmla="*/ 5663 h 109895"/>
              <a:gd name="connsiteX92" fmla="*/ 431647 w 624456"/>
              <a:gd name="connsiteY92" fmla="*/ 23398 h 109895"/>
              <a:gd name="connsiteX93" fmla="*/ 436128 w 624456"/>
              <a:gd name="connsiteY93" fmla="*/ 54512 h 109895"/>
              <a:gd name="connsiteX94" fmla="*/ 431647 w 624456"/>
              <a:gd name="connsiteY94" fmla="*/ 85876 h 109895"/>
              <a:gd name="connsiteX95" fmla="*/ 419247 w 624456"/>
              <a:gd name="connsiteY95" fmla="*/ 104047 h 109895"/>
              <a:gd name="connsiteX96" fmla="*/ 401169 w 624456"/>
              <a:gd name="connsiteY96" fmla="*/ 109896 h 109895"/>
              <a:gd name="connsiteX97" fmla="*/ 401020 w 624456"/>
              <a:gd name="connsiteY97" fmla="*/ 98072 h 109895"/>
              <a:gd name="connsiteX98" fmla="*/ 412374 w 624456"/>
              <a:gd name="connsiteY98" fmla="*/ 94089 h 109895"/>
              <a:gd name="connsiteX99" fmla="*/ 419545 w 624456"/>
              <a:gd name="connsiteY99" fmla="*/ 80462 h 109895"/>
              <a:gd name="connsiteX100" fmla="*/ 422085 w 624456"/>
              <a:gd name="connsiteY100" fmla="*/ 54948 h 109895"/>
              <a:gd name="connsiteX101" fmla="*/ 419695 w 624456"/>
              <a:gd name="connsiteY101" fmla="*/ 29559 h 109895"/>
              <a:gd name="connsiteX102" fmla="*/ 412524 w 624456"/>
              <a:gd name="connsiteY102" fmla="*/ 15931 h 109895"/>
              <a:gd name="connsiteX103" fmla="*/ 401169 w 624456"/>
              <a:gd name="connsiteY103" fmla="*/ 11761 h 109895"/>
              <a:gd name="connsiteX104" fmla="*/ 389666 w 624456"/>
              <a:gd name="connsiteY104" fmla="*/ 15931 h 109895"/>
              <a:gd name="connsiteX105" fmla="*/ 382345 w 624456"/>
              <a:gd name="connsiteY105" fmla="*/ 29559 h 109895"/>
              <a:gd name="connsiteX106" fmla="*/ 379806 w 624456"/>
              <a:gd name="connsiteY106" fmla="*/ 54948 h 109895"/>
              <a:gd name="connsiteX107" fmla="*/ 382196 w 624456"/>
              <a:gd name="connsiteY107" fmla="*/ 80462 h 109895"/>
              <a:gd name="connsiteX108" fmla="*/ 389516 w 624456"/>
              <a:gd name="connsiteY108" fmla="*/ 94089 h 109895"/>
              <a:gd name="connsiteX109" fmla="*/ 401020 w 624456"/>
              <a:gd name="connsiteY109" fmla="*/ 98072 h 109895"/>
              <a:gd name="connsiteX110" fmla="*/ 478377 w 624456"/>
              <a:gd name="connsiteY110" fmla="*/ 109896 h 109895"/>
              <a:gd name="connsiteX111" fmla="*/ 449842 w 624456"/>
              <a:gd name="connsiteY111" fmla="*/ 102304 h 109895"/>
              <a:gd name="connsiteX112" fmla="*/ 449842 w 624456"/>
              <a:gd name="connsiteY112" fmla="*/ 87618 h 109895"/>
              <a:gd name="connsiteX113" fmla="*/ 462989 w 624456"/>
              <a:gd name="connsiteY113" fmla="*/ 95272 h 109895"/>
              <a:gd name="connsiteX114" fmla="*/ 478377 w 624456"/>
              <a:gd name="connsiteY114" fmla="*/ 97637 h 109895"/>
              <a:gd name="connsiteX115" fmla="*/ 495408 w 624456"/>
              <a:gd name="connsiteY115" fmla="*/ 90916 h 109895"/>
              <a:gd name="connsiteX116" fmla="*/ 501533 w 624456"/>
              <a:gd name="connsiteY116" fmla="*/ 73305 h 109895"/>
              <a:gd name="connsiteX117" fmla="*/ 495558 w 624456"/>
              <a:gd name="connsiteY117" fmla="*/ 56255 h 109895"/>
              <a:gd name="connsiteX118" fmla="*/ 480469 w 624456"/>
              <a:gd name="connsiteY118" fmla="*/ 50903 h 109895"/>
              <a:gd name="connsiteX119" fmla="*/ 469861 w 624456"/>
              <a:gd name="connsiteY119" fmla="*/ 53143 h 109895"/>
              <a:gd name="connsiteX120" fmla="*/ 463736 w 624456"/>
              <a:gd name="connsiteY120" fmla="*/ 57624 h 109895"/>
              <a:gd name="connsiteX121" fmla="*/ 452830 w 624456"/>
              <a:gd name="connsiteY121" fmla="*/ 57624 h 109895"/>
              <a:gd name="connsiteX122" fmla="*/ 452830 w 624456"/>
              <a:gd name="connsiteY122" fmla="*/ 1307 h 109895"/>
              <a:gd name="connsiteX123" fmla="*/ 510796 w 624456"/>
              <a:gd name="connsiteY123" fmla="*/ 1307 h 109895"/>
              <a:gd name="connsiteX124" fmla="*/ 510796 w 624456"/>
              <a:gd name="connsiteY124" fmla="*/ 14188 h 109895"/>
              <a:gd name="connsiteX125" fmla="*/ 465080 w 624456"/>
              <a:gd name="connsiteY125" fmla="*/ 14188 h 109895"/>
              <a:gd name="connsiteX126" fmla="*/ 465080 w 624456"/>
              <a:gd name="connsiteY126" fmla="*/ 44805 h 109895"/>
              <a:gd name="connsiteX127" fmla="*/ 472401 w 624456"/>
              <a:gd name="connsiteY127" fmla="*/ 40885 h 109895"/>
              <a:gd name="connsiteX128" fmla="*/ 482709 w 624456"/>
              <a:gd name="connsiteY128" fmla="*/ 39080 h 109895"/>
              <a:gd name="connsiteX129" fmla="*/ 499442 w 624456"/>
              <a:gd name="connsiteY129" fmla="*/ 43000 h 109895"/>
              <a:gd name="connsiteX130" fmla="*/ 511244 w 624456"/>
              <a:gd name="connsiteY130" fmla="*/ 54326 h 109895"/>
              <a:gd name="connsiteX131" fmla="*/ 515726 w 624456"/>
              <a:gd name="connsiteY131" fmla="*/ 72995 h 109895"/>
              <a:gd name="connsiteX132" fmla="*/ 511095 w 624456"/>
              <a:gd name="connsiteY132" fmla="*/ 92410 h 109895"/>
              <a:gd name="connsiteX133" fmla="*/ 498247 w 624456"/>
              <a:gd name="connsiteY133" fmla="*/ 105415 h 109895"/>
              <a:gd name="connsiteX134" fmla="*/ 478377 w 624456"/>
              <a:gd name="connsiteY134" fmla="*/ 109896 h 109895"/>
              <a:gd name="connsiteX135" fmla="*/ 624456 w 624456"/>
              <a:gd name="connsiteY135" fmla="*/ 108402 h 109895"/>
              <a:gd name="connsiteX136" fmla="*/ 609517 w 624456"/>
              <a:gd name="connsiteY136" fmla="*/ 108402 h 109895"/>
              <a:gd name="connsiteX137" fmla="*/ 598461 w 624456"/>
              <a:gd name="connsiteY137" fmla="*/ 77786 h 109895"/>
              <a:gd name="connsiteX138" fmla="*/ 551102 w 624456"/>
              <a:gd name="connsiteY138" fmla="*/ 77786 h 109895"/>
              <a:gd name="connsiteX139" fmla="*/ 540196 w 624456"/>
              <a:gd name="connsiteY139" fmla="*/ 108402 h 109895"/>
              <a:gd name="connsiteX140" fmla="*/ 527049 w 624456"/>
              <a:gd name="connsiteY140" fmla="*/ 108402 h 109895"/>
              <a:gd name="connsiteX141" fmla="*/ 565146 w 624456"/>
              <a:gd name="connsiteY141" fmla="*/ 1307 h 109895"/>
              <a:gd name="connsiteX142" fmla="*/ 586061 w 624456"/>
              <a:gd name="connsiteY142" fmla="*/ 1307 h 109895"/>
              <a:gd name="connsiteX143" fmla="*/ 624456 w 624456"/>
              <a:gd name="connsiteY143" fmla="*/ 108402 h 109895"/>
              <a:gd name="connsiteX144" fmla="*/ 555734 w 624456"/>
              <a:gd name="connsiteY144" fmla="*/ 65091 h 109895"/>
              <a:gd name="connsiteX145" fmla="*/ 593979 w 624456"/>
              <a:gd name="connsiteY145" fmla="*/ 65091 h 109895"/>
              <a:gd name="connsiteX146" fmla="*/ 574856 w 624456"/>
              <a:gd name="connsiteY146" fmla="*/ 11761 h 109895"/>
              <a:gd name="connsiteX147" fmla="*/ 555734 w 624456"/>
              <a:gd name="connsiteY147" fmla="*/ 65091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24456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89691" y="108402"/>
                </a:moveTo>
                <a:lnTo>
                  <a:pt x="174751" y="108402"/>
                </a:lnTo>
                <a:lnTo>
                  <a:pt x="163696" y="77786"/>
                </a:lnTo>
                <a:lnTo>
                  <a:pt x="116337" y="77786"/>
                </a:lnTo>
                <a:lnTo>
                  <a:pt x="105431" y="108402"/>
                </a:lnTo>
                <a:lnTo>
                  <a:pt x="92284" y="108402"/>
                </a:lnTo>
                <a:lnTo>
                  <a:pt x="130380" y="1307"/>
                </a:lnTo>
                <a:lnTo>
                  <a:pt x="151296" y="1307"/>
                </a:lnTo>
                <a:lnTo>
                  <a:pt x="189691" y="108402"/>
                </a:lnTo>
                <a:close/>
                <a:moveTo>
                  <a:pt x="120968" y="65091"/>
                </a:moveTo>
                <a:lnTo>
                  <a:pt x="159214" y="65091"/>
                </a:lnTo>
                <a:lnTo>
                  <a:pt x="140091" y="11761"/>
                </a:lnTo>
                <a:lnTo>
                  <a:pt x="120968" y="65091"/>
                </a:lnTo>
                <a:close/>
                <a:moveTo>
                  <a:pt x="205284" y="1307"/>
                </a:moveTo>
                <a:lnTo>
                  <a:pt x="270721" y="1307"/>
                </a:lnTo>
                <a:lnTo>
                  <a:pt x="270721" y="14188"/>
                </a:lnTo>
                <a:lnTo>
                  <a:pt x="219328" y="14188"/>
                </a:lnTo>
                <a:lnTo>
                  <a:pt x="219328" y="49720"/>
                </a:lnTo>
                <a:lnTo>
                  <a:pt x="262952" y="49720"/>
                </a:lnTo>
                <a:lnTo>
                  <a:pt x="262952" y="62415"/>
                </a:lnTo>
                <a:lnTo>
                  <a:pt x="219328" y="62415"/>
                </a:lnTo>
                <a:lnTo>
                  <a:pt x="219328" y="108402"/>
                </a:lnTo>
                <a:lnTo>
                  <a:pt x="205284" y="108402"/>
                </a:lnTo>
                <a:lnTo>
                  <a:pt x="205284" y="1307"/>
                </a:lnTo>
                <a:close/>
                <a:moveTo>
                  <a:pt x="319026" y="109896"/>
                </a:moveTo>
                <a:cubicBezTo>
                  <a:pt x="312253" y="109896"/>
                  <a:pt x="306178" y="107967"/>
                  <a:pt x="300799" y="104047"/>
                </a:cubicBezTo>
                <a:cubicBezTo>
                  <a:pt x="295421" y="100188"/>
                  <a:pt x="291188" y="94214"/>
                  <a:pt x="288100" y="86125"/>
                </a:cubicBezTo>
                <a:cubicBezTo>
                  <a:pt x="285113" y="77972"/>
                  <a:pt x="283618" y="67518"/>
                  <a:pt x="283618" y="54761"/>
                </a:cubicBezTo>
                <a:cubicBezTo>
                  <a:pt x="283618" y="41942"/>
                  <a:pt x="285113" y="31488"/>
                  <a:pt x="288100" y="23398"/>
                </a:cubicBezTo>
                <a:cubicBezTo>
                  <a:pt x="291188" y="15371"/>
                  <a:pt x="295421" y="9459"/>
                  <a:pt x="300799" y="5663"/>
                </a:cubicBezTo>
                <a:cubicBezTo>
                  <a:pt x="306178" y="1867"/>
                  <a:pt x="312253" y="0"/>
                  <a:pt x="319026" y="0"/>
                </a:cubicBezTo>
                <a:cubicBezTo>
                  <a:pt x="325798" y="0"/>
                  <a:pt x="331824" y="1867"/>
                  <a:pt x="337103" y="5663"/>
                </a:cubicBezTo>
                <a:cubicBezTo>
                  <a:pt x="342381" y="9459"/>
                  <a:pt x="346515" y="15371"/>
                  <a:pt x="349503" y="23398"/>
                </a:cubicBezTo>
                <a:cubicBezTo>
                  <a:pt x="352491" y="31363"/>
                  <a:pt x="353985" y="41756"/>
                  <a:pt x="353985" y="54512"/>
                </a:cubicBezTo>
                <a:cubicBezTo>
                  <a:pt x="353985" y="67145"/>
                  <a:pt x="352491" y="77599"/>
                  <a:pt x="349503" y="85876"/>
                </a:cubicBezTo>
                <a:cubicBezTo>
                  <a:pt x="346515" y="94027"/>
                  <a:pt x="342381" y="100064"/>
                  <a:pt x="337103" y="104047"/>
                </a:cubicBezTo>
                <a:cubicBezTo>
                  <a:pt x="331824" y="107967"/>
                  <a:pt x="325798" y="109896"/>
                  <a:pt x="319026" y="109896"/>
                </a:cubicBezTo>
                <a:close/>
                <a:moveTo>
                  <a:pt x="318876" y="98072"/>
                </a:moveTo>
                <a:cubicBezTo>
                  <a:pt x="323358" y="98072"/>
                  <a:pt x="327143" y="96766"/>
                  <a:pt x="330231" y="94089"/>
                </a:cubicBezTo>
                <a:cubicBezTo>
                  <a:pt x="333418" y="91289"/>
                  <a:pt x="335808" y="86747"/>
                  <a:pt x="337402" y="80462"/>
                </a:cubicBezTo>
                <a:cubicBezTo>
                  <a:pt x="339095" y="74114"/>
                  <a:pt x="339941" y="65589"/>
                  <a:pt x="339941" y="54948"/>
                </a:cubicBezTo>
                <a:cubicBezTo>
                  <a:pt x="339941" y="44307"/>
                  <a:pt x="339145" y="35844"/>
                  <a:pt x="337551" y="29559"/>
                </a:cubicBezTo>
                <a:cubicBezTo>
                  <a:pt x="335957" y="23150"/>
                  <a:pt x="333567" y="18669"/>
                  <a:pt x="330380" y="15931"/>
                </a:cubicBezTo>
                <a:cubicBezTo>
                  <a:pt x="327293" y="13192"/>
                  <a:pt x="323508" y="11761"/>
                  <a:pt x="319026" y="11761"/>
                </a:cubicBezTo>
                <a:cubicBezTo>
                  <a:pt x="314544" y="11761"/>
                  <a:pt x="310709" y="13192"/>
                  <a:pt x="307522" y="15931"/>
                </a:cubicBezTo>
                <a:cubicBezTo>
                  <a:pt x="304335" y="18669"/>
                  <a:pt x="301895" y="23150"/>
                  <a:pt x="300201" y="29559"/>
                </a:cubicBezTo>
                <a:cubicBezTo>
                  <a:pt x="298508" y="35844"/>
                  <a:pt x="297662" y="44307"/>
                  <a:pt x="297662" y="54948"/>
                </a:cubicBezTo>
                <a:cubicBezTo>
                  <a:pt x="297662" y="65589"/>
                  <a:pt x="298459" y="74114"/>
                  <a:pt x="300052" y="80462"/>
                </a:cubicBezTo>
                <a:cubicBezTo>
                  <a:pt x="301746" y="86747"/>
                  <a:pt x="304186" y="91289"/>
                  <a:pt x="307373" y="94089"/>
                </a:cubicBezTo>
                <a:cubicBezTo>
                  <a:pt x="310560" y="96766"/>
                  <a:pt x="314394" y="98072"/>
                  <a:pt x="318876" y="98072"/>
                </a:cubicBezTo>
                <a:close/>
                <a:moveTo>
                  <a:pt x="401169" y="109896"/>
                </a:moveTo>
                <a:cubicBezTo>
                  <a:pt x="394397" y="109896"/>
                  <a:pt x="388321" y="107967"/>
                  <a:pt x="382943" y="104047"/>
                </a:cubicBezTo>
                <a:cubicBezTo>
                  <a:pt x="377565" y="100188"/>
                  <a:pt x="373332" y="94214"/>
                  <a:pt x="370244" y="86125"/>
                </a:cubicBezTo>
                <a:cubicBezTo>
                  <a:pt x="367256" y="77972"/>
                  <a:pt x="365762" y="67518"/>
                  <a:pt x="365762" y="54761"/>
                </a:cubicBezTo>
                <a:cubicBezTo>
                  <a:pt x="365762" y="41942"/>
                  <a:pt x="367256" y="31488"/>
                  <a:pt x="370244" y="23398"/>
                </a:cubicBezTo>
                <a:cubicBezTo>
                  <a:pt x="373332" y="15371"/>
                  <a:pt x="377565" y="9459"/>
                  <a:pt x="382943" y="5663"/>
                </a:cubicBezTo>
                <a:cubicBezTo>
                  <a:pt x="388321" y="1867"/>
                  <a:pt x="394397" y="0"/>
                  <a:pt x="401169" y="0"/>
                </a:cubicBezTo>
                <a:cubicBezTo>
                  <a:pt x="407942" y="0"/>
                  <a:pt x="413968" y="1867"/>
                  <a:pt x="419247" y="5663"/>
                </a:cubicBezTo>
                <a:cubicBezTo>
                  <a:pt x="424525" y="9459"/>
                  <a:pt x="428659" y="15371"/>
                  <a:pt x="431647" y="23398"/>
                </a:cubicBezTo>
                <a:cubicBezTo>
                  <a:pt x="434634" y="31363"/>
                  <a:pt x="436128" y="41756"/>
                  <a:pt x="436128" y="54512"/>
                </a:cubicBezTo>
                <a:cubicBezTo>
                  <a:pt x="436128" y="67145"/>
                  <a:pt x="434634" y="77599"/>
                  <a:pt x="431647" y="85876"/>
                </a:cubicBezTo>
                <a:cubicBezTo>
                  <a:pt x="428659" y="94027"/>
                  <a:pt x="424525" y="100064"/>
                  <a:pt x="419247" y="104047"/>
                </a:cubicBezTo>
                <a:cubicBezTo>
                  <a:pt x="413968" y="107967"/>
                  <a:pt x="407942" y="109896"/>
                  <a:pt x="401169" y="109896"/>
                </a:cubicBezTo>
                <a:close/>
                <a:moveTo>
                  <a:pt x="401020" y="98072"/>
                </a:moveTo>
                <a:cubicBezTo>
                  <a:pt x="405502" y="98072"/>
                  <a:pt x="409287" y="96766"/>
                  <a:pt x="412374" y="94089"/>
                </a:cubicBezTo>
                <a:cubicBezTo>
                  <a:pt x="415562" y="91289"/>
                  <a:pt x="417952" y="86747"/>
                  <a:pt x="419545" y="80462"/>
                </a:cubicBezTo>
                <a:cubicBezTo>
                  <a:pt x="421239" y="74114"/>
                  <a:pt x="422085" y="65589"/>
                  <a:pt x="422085" y="54948"/>
                </a:cubicBezTo>
                <a:cubicBezTo>
                  <a:pt x="422085" y="44307"/>
                  <a:pt x="421288" y="35844"/>
                  <a:pt x="419695" y="29559"/>
                </a:cubicBezTo>
                <a:cubicBezTo>
                  <a:pt x="418101" y="23150"/>
                  <a:pt x="415711" y="18669"/>
                  <a:pt x="412524" y="15931"/>
                </a:cubicBezTo>
                <a:cubicBezTo>
                  <a:pt x="409436" y="13192"/>
                  <a:pt x="405651" y="11761"/>
                  <a:pt x="401169" y="11761"/>
                </a:cubicBezTo>
                <a:cubicBezTo>
                  <a:pt x="396687" y="11761"/>
                  <a:pt x="392853" y="13192"/>
                  <a:pt x="389666" y="15931"/>
                </a:cubicBezTo>
                <a:cubicBezTo>
                  <a:pt x="386479" y="18669"/>
                  <a:pt x="384038" y="23150"/>
                  <a:pt x="382345" y="29559"/>
                </a:cubicBezTo>
                <a:cubicBezTo>
                  <a:pt x="380652" y="35844"/>
                  <a:pt x="379806" y="44307"/>
                  <a:pt x="379806" y="54948"/>
                </a:cubicBezTo>
                <a:cubicBezTo>
                  <a:pt x="379806" y="65589"/>
                  <a:pt x="380602" y="74114"/>
                  <a:pt x="382196" y="80462"/>
                </a:cubicBezTo>
                <a:cubicBezTo>
                  <a:pt x="383889" y="86747"/>
                  <a:pt x="386329" y="91289"/>
                  <a:pt x="389516" y="94089"/>
                </a:cubicBezTo>
                <a:cubicBezTo>
                  <a:pt x="392704" y="96766"/>
                  <a:pt x="396538" y="98072"/>
                  <a:pt x="401020" y="98072"/>
                </a:cubicBezTo>
                <a:close/>
                <a:moveTo>
                  <a:pt x="478377" y="109896"/>
                </a:moveTo>
                <a:cubicBezTo>
                  <a:pt x="466425" y="109896"/>
                  <a:pt x="456914" y="107344"/>
                  <a:pt x="449842" y="102304"/>
                </a:cubicBezTo>
                <a:lnTo>
                  <a:pt x="449842" y="87618"/>
                </a:lnTo>
                <a:cubicBezTo>
                  <a:pt x="454025" y="91040"/>
                  <a:pt x="458407" y="93592"/>
                  <a:pt x="462989" y="95272"/>
                </a:cubicBezTo>
                <a:cubicBezTo>
                  <a:pt x="467570" y="96828"/>
                  <a:pt x="472700" y="97637"/>
                  <a:pt x="478377" y="97637"/>
                </a:cubicBezTo>
                <a:cubicBezTo>
                  <a:pt x="485747" y="97637"/>
                  <a:pt x="491424" y="95397"/>
                  <a:pt x="495408" y="90916"/>
                </a:cubicBezTo>
                <a:cubicBezTo>
                  <a:pt x="499492" y="86435"/>
                  <a:pt x="501533" y="80586"/>
                  <a:pt x="501533" y="73305"/>
                </a:cubicBezTo>
                <a:cubicBezTo>
                  <a:pt x="501533" y="65527"/>
                  <a:pt x="499541" y="59864"/>
                  <a:pt x="495558" y="56255"/>
                </a:cubicBezTo>
                <a:cubicBezTo>
                  <a:pt x="491574" y="52708"/>
                  <a:pt x="486544" y="50903"/>
                  <a:pt x="480469" y="50903"/>
                </a:cubicBezTo>
                <a:cubicBezTo>
                  <a:pt x="476086" y="50903"/>
                  <a:pt x="472550" y="51650"/>
                  <a:pt x="469861" y="53143"/>
                </a:cubicBezTo>
                <a:cubicBezTo>
                  <a:pt x="467172" y="54512"/>
                  <a:pt x="465130" y="56006"/>
                  <a:pt x="463736" y="57624"/>
                </a:cubicBezTo>
                <a:lnTo>
                  <a:pt x="452830" y="57624"/>
                </a:lnTo>
                <a:lnTo>
                  <a:pt x="452830" y="1307"/>
                </a:lnTo>
                <a:lnTo>
                  <a:pt x="510796" y="1307"/>
                </a:lnTo>
                <a:lnTo>
                  <a:pt x="510796" y="14188"/>
                </a:lnTo>
                <a:lnTo>
                  <a:pt x="465080" y="14188"/>
                </a:lnTo>
                <a:lnTo>
                  <a:pt x="465080" y="44805"/>
                </a:lnTo>
                <a:cubicBezTo>
                  <a:pt x="467072" y="43312"/>
                  <a:pt x="469513" y="42004"/>
                  <a:pt x="472401" y="40885"/>
                </a:cubicBezTo>
                <a:cubicBezTo>
                  <a:pt x="475289" y="39702"/>
                  <a:pt x="478725" y="39080"/>
                  <a:pt x="482709" y="39080"/>
                </a:cubicBezTo>
                <a:cubicBezTo>
                  <a:pt x="488884" y="39080"/>
                  <a:pt x="494462" y="40386"/>
                  <a:pt x="499442" y="43000"/>
                </a:cubicBezTo>
                <a:cubicBezTo>
                  <a:pt x="504422" y="45489"/>
                  <a:pt x="508356" y="49285"/>
                  <a:pt x="511244" y="54326"/>
                </a:cubicBezTo>
                <a:cubicBezTo>
                  <a:pt x="514232" y="59304"/>
                  <a:pt x="515726" y="65527"/>
                  <a:pt x="515726" y="72995"/>
                </a:cubicBezTo>
                <a:cubicBezTo>
                  <a:pt x="515726" y="80399"/>
                  <a:pt x="514182" y="86871"/>
                  <a:pt x="511095" y="92410"/>
                </a:cubicBezTo>
                <a:cubicBezTo>
                  <a:pt x="508107" y="98010"/>
                  <a:pt x="503824" y="102304"/>
                  <a:pt x="498247" y="105415"/>
                </a:cubicBezTo>
                <a:cubicBezTo>
                  <a:pt x="492669" y="108402"/>
                  <a:pt x="486046" y="109896"/>
                  <a:pt x="478377" y="109896"/>
                </a:cubicBezTo>
                <a:close/>
                <a:moveTo>
                  <a:pt x="624456" y="108402"/>
                </a:moveTo>
                <a:lnTo>
                  <a:pt x="609517" y="108402"/>
                </a:lnTo>
                <a:lnTo>
                  <a:pt x="598461" y="77786"/>
                </a:lnTo>
                <a:lnTo>
                  <a:pt x="551102" y="77786"/>
                </a:lnTo>
                <a:lnTo>
                  <a:pt x="540196" y="108402"/>
                </a:lnTo>
                <a:lnTo>
                  <a:pt x="527049" y="108402"/>
                </a:lnTo>
                <a:lnTo>
                  <a:pt x="565146" y="1307"/>
                </a:lnTo>
                <a:lnTo>
                  <a:pt x="586061" y="1307"/>
                </a:lnTo>
                <a:lnTo>
                  <a:pt x="624456" y="108402"/>
                </a:lnTo>
                <a:close/>
                <a:moveTo>
                  <a:pt x="555734" y="65091"/>
                </a:moveTo>
                <a:lnTo>
                  <a:pt x="593979" y="65091"/>
                </a:lnTo>
                <a:lnTo>
                  <a:pt x="574856" y="11761"/>
                </a:lnTo>
                <a:lnTo>
                  <a:pt x="555734" y="65091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7" name="Полилиния 1066">
            <a:extLst>
              <a:ext uri="{FF2B5EF4-FFF2-40B4-BE49-F238E27FC236}">
                <a16:creationId xmlns:a16="http://schemas.microsoft.com/office/drawing/2014/main" id="{B6D2753C-94C7-BD9C-65A7-C273E4683F4D}"/>
              </a:ext>
            </a:extLst>
          </p:cNvPr>
          <p:cNvSpPr/>
          <p:nvPr userDrawn="1"/>
        </p:nvSpPr>
        <p:spPr>
          <a:xfrm>
            <a:off x="16903366" y="5966300"/>
            <a:ext cx="1398954" cy="726227"/>
          </a:xfrm>
          <a:custGeom>
            <a:avLst/>
            <a:gdLst>
              <a:gd name="connsiteX0" fmla="*/ 638 w 1198727"/>
              <a:gd name="connsiteY0" fmla="*/ 1322 h 622284"/>
              <a:gd name="connsiteX1" fmla="*/ 1199366 w 1198727"/>
              <a:gd name="connsiteY1" fmla="*/ 1322 h 622284"/>
              <a:gd name="connsiteX2" fmla="*/ 1199366 w 1198727"/>
              <a:gd name="connsiteY2" fmla="*/ 623606 h 622284"/>
              <a:gd name="connsiteX3" fmla="*/ 638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322"/>
                </a:moveTo>
                <a:lnTo>
                  <a:pt x="1199366" y="1322"/>
                </a:lnTo>
                <a:lnTo>
                  <a:pt x="1199366" y="623606"/>
                </a:lnTo>
                <a:lnTo>
                  <a:pt x="638" y="623606"/>
                </a:lnTo>
                <a:close/>
              </a:path>
            </a:pathLst>
          </a:custGeom>
          <a:solidFill>
            <a:srgbClr val="CD0069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8" name="Полилиния 1067">
            <a:extLst>
              <a:ext uri="{FF2B5EF4-FFF2-40B4-BE49-F238E27FC236}">
                <a16:creationId xmlns:a16="http://schemas.microsoft.com/office/drawing/2014/main" id="{B51E6D79-B597-9006-A5EC-7357E43B6BC9}"/>
              </a:ext>
            </a:extLst>
          </p:cNvPr>
          <p:cNvSpPr/>
          <p:nvPr userDrawn="1"/>
        </p:nvSpPr>
        <p:spPr>
          <a:xfrm>
            <a:off x="17026576" y="6268047"/>
            <a:ext cx="729851" cy="128468"/>
          </a:xfrm>
          <a:custGeom>
            <a:avLst/>
            <a:gdLst>
              <a:gd name="connsiteX0" fmla="*/ 22111 w 625390"/>
              <a:gd name="connsiteY0" fmla="*/ 108588 h 110081"/>
              <a:gd name="connsiteX1" fmla="*/ 10159 w 625390"/>
              <a:gd name="connsiteY1" fmla="*/ 108588 h 110081"/>
              <a:gd name="connsiteX2" fmla="*/ 16433 w 625390"/>
              <a:gd name="connsiteY2" fmla="*/ 77661 h 110081"/>
              <a:gd name="connsiteX3" fmla="*/ 0 w 625390"/>
              <a:gd name="connsiteY3" fmla="*/ 77661 h 110081"/>
              <a:gd name="connsiteX4" fmla="*/ 0 w 625390"/>
              <a:gd name="connsiteY4" fmla="*/ 67206 h 110081"/>
              <a:gd name="connsiteX5" fmla="*/ 18675 w 625390"/>
              <a:gd name="connsiteY5" fmla="*/ 67206 h 110081"/>
              <a:gd name="connsiteX6" fmla="*/ 24202 w 625390"/>
              <a:gd name="connsiteY6" fmla="*/ 40012 h 110081"/>
              <a:gd name="connsiteX7" fmla="*/ 4033 w 625390"/>
              <a:gd name="connsiteY7" fmla="*/ 40012 h 110081"/>
              <a:gd name="connsiteX8" fmla="*/ 4033 w 625390"/>
              <a:gd name="connsiteY8" fmla="*/ 29559 h 110081"/>
              <a:gd name="connsiteX9" fmla="*/ 26294 w 625390"/>
              <a:gd name="connsiteY9" fmla="*/ 29559 h 110081"/>
              <a:gd name="connsiteX10" fmla="*/ 32120 w 625390"/>
              <a:gd name="connsiteY10" fmla="*/ 1493 h 110081"/>
              <a:gd name="connsiteX11" fmla="*/ 44072 w 625390"/>
              <a:gd name="connsiteY11" fmla="*/ 1493 h 110081"/>
              <a:gd name="connsiteX12" fmla="*/ 38246 w 625390"/>
              <a:gd name="connsiteY12" fmla="*/ 29559 h 110081"/>
              <a:gd name="connsiteX13" fmla="*/ 60655 w 625390"/>
              <a:gd name="connsiteY13" fmla="*/ 29559 h 110081"/>
              <a:gd name="connsiteX14" fmla="*/ 66482 w 625390"/>
              <a:gd name="connsiteY14" fmla="*/ 1493 h 110081"/>
              <a:gd name="connsiteX15" fmla="*/ 78434 w 625390"/>
              <a:gd name="connsiteY15" fmla="*/ 1493 h 110081"/>
              <a:gd name="connsiteX16" fmla="*/ 72607 w 625390"/>
              <a:gd name="connsiteY16" fmla="*/ 29559 h 110081"/>
              <a:gd name="connsiteX17" fmla="*/ 89340 w 625390"/>
              <a:gd name="connsiteY17" fmla="*/ 29559 h 110081"/>
              <a:gd name="connsiteX18" fmla="*/ 89340 w 625390"/>
              <a:gd name="connsiteY18" fmla="*/ 40012 h 110081"/>
              <a:gd name="connsiteX19" fmla="*/ 70516 w 625390"/>
              <a:gd name="connsiteY19" fmla="*/ 40012 h 110081"/>
              <a:gd name="connsiteX20" fmla="*/ 64988 w 625390"/>
              <a:gd name="connsiteY20" fmla="*/ 67206 h 110081"/>
              <a:gd name="connsiteX21" fmla="*/ 85306 w 625390"/>
              <a:gd name="connsiteY21" fmla="*/ 67206 h 110081"/>
              <a:gd name="connsiteX22" fmla="*/ 85306 w 625390"/>
              <a:gd name="connsiteY22" fmla="*/ 77661 h 110081"/>
              <a:gd name="connsiteX23" fmla="*/ 62747 w 625390"/>
              <a:gd name="connsiteY23" fmla="*/ 77661 h 110081"/>
              <a:gd name="connsiteX24" fmla="*/ 56472 w 625390"/>
              <a:gd name="connsiteY24" fmla="*/ 108588 h 110081"/>
              <a:gd name="connsiteX25" fmla="*/ 44520 w 625390"/>
              <a:gd name="connsiteY25" fmla="*/ 108588 h 110081"/>
              <a:gd name="connsiteX26" fmla="*/ 50795 w 625390"/>
              <a:gd name="connsiteY26" fmla="*/ 77661 h 110081"/>
              <a:gd name="connsiteX27" fmla="*/ 28386 w 625390"/>
              <a:gd name="connsiteY27" fmla="*/ 77661 h 110081"/>
              <a:gd name="connsiteX28" fmla="*/ 22111 w 625390"/>
              <a:gd name="connsiteY28" fmla="*/ 108588 h 110081"/>
              <a:gd name="connsiteX29" fmla="*/ 30626 w 625390"/>
              <a:gd name="connsiteY29" fmla="*/ 67206 h 110081"/>
              <a:gd name="connsiteX30" fmla="*/ 53036 w 625390"/>
              <a:gd name="connsiteY30" fmla="*/ 67206 h 110081"/>
              <a:gd name="connsiteX31" fmla="*/ 58564 w 625390"/>
              <a:gd name="connsiteY31" fmla="*/ 40012 h 110081"/>
              <a:gd name="connsiteX32" fmla="*/ 36154 w 625390"/>
              <a:gd name="connsiteY32" fmla="*/ 40012 h 110081"/>
              <a:gd name="connsiteX33" fmla="*/ 30626 w 625390"/>
              <a:gd name="connsiteY33" fmla="*/ 67206 h 110081"/>
              <a:gd name="connsiteX34" fmla="*/ 154290 w 625390"/>
              <a:gd name="connsiteY34" fmla="*/ 110082 h 110081"/>
              <a:gd name="connsiteX35" fmla="*/ 126502 w 625390"/>
              <a:gd name="connsiteY35" fmla="*/ 103486 h 110081"/>
              <a:gd name="connsiteX36" fmla="*/ 108126 w 625390"/>
              <a:gd name="connsiteY36" fmla="*/ 84693 h 110081"/>
              <a:gd name="connsiteX37" fmla="*/ 101553 w 625390"/>
              <a:gd name="connsiteY37" fmla="*/ 55134 h 110081"/>
              <a:gd name="connsiteX38" fmla="*/ 115148 w 625390"/>
              <a:gd name="connsiteY38" fmla="*/ 14810 h 110081"/>
              <a:gd name="connsiteX39" fmla="*/ 153991 w 625390"/>
              <a:gd name="connsiteY39" fmla="*/ 186 h 110081"/>
              <a:gd name="connsiteX40" fmla="*/ 171919 w 625390"/>
              <a:gd name="connsiteY40" fmla="*/ 2240 h 110081"/>
              <a:gd name="connsiteX41" fmla="*/ 186560 w 625390"/>
              <a:gd name="connsiteY41" fmla="*/ 7902 h 110081"/>
              <a:gd name="connsiteX42" fmla="*/ 186560 w 625390"/>
              <a:gd name="connsiteY42" fmla="*/ 21344 h 110081"/>
              <a:gd name="connsiteX43" fmla="*/ 171471 w 625390"/>
              <a:gd name="connsiteY43" fmla="*/ 15121 h 110081"/>
              <a:gd name="connsiteX44" fmla="*/ 153842 w 625390"/>
              <a:gd name="connsiteY44" fmla="*/ 12881 h 110081"/>
              <a:gd name="connsiteX45" fmla="*/ 125904 w 625390"/>
              <a:gd name="connsiteY45" fmla="*/ 23459 h 110081"/>
              <a:gd name="connsiteX46" fmla="*/ 116791 w 625390"/>
              <a:gd name="connsiteY46" fmla="*/ 55134 h 110081"/>
              <a:gd name="connsiteX47" fmla="*/ 126652 w 625390"/>
              <a:gd name="connsiteY47" fmla="*/ 86933 h 110081"/>
              <a:gd name="connsiteX48" fmla="*/ 155485 w 625390"/>
              <a:gd name="connsiteY48" fmla="*/ 97387 h 110081"/>
              <a:gd name="connsiteX49" fmla="*/ 186560 w 625390"/>
              <a:gd name="connsiteY49" fmla="*/ 87555 h 110081"/>
              <a:gd name="connsiteX50" fmla="*/ 186560 w 625390"/>
              <a:gd name="connsiteY50" fmla="*/ 100997 h 110081"/>
              <a:gd name="connsiteX51" fmla="*/ 172666 w 625390"/>
              <a:gd name="connsiteY51" fmla="*/ 107717 h 110081"/>
              <a:gd name="connsiteX52" fmla="*/ 154290 w 625390"/>
              <a:gd name="connsiteY52" fmla="*/ 110082 h 110081"/>
              <a:gd name="connsiteX53" fmla="*/ 208055 w 625390"/>
              <a:gd name="connsiteY53" fmla="*/ 1493 h 110081"/>
              <a:gd name="connsiteX54" fmla="*/ 244059 w 625390"/>
              <a:gd name="connsiteY54" fmla="*/ 1493 h 110081"/>
              <a:gd name="connsiteX55" fmla="*/ 264079 w 625390"/>
              <a:gd name="connsiteY55" fmla="*/ 4044 h 110081"/>
              <a:gd name="connsiteX56" fmla="*/ 280213 w 625390"/>
              <a:gd name="connsiteY56" fmla="*/ 12383 h 110081"/>
              <a:gd name="connsiteX57" fmla="*/ 290970 w 625390"/>
              <a:gd name="connsiteY57" fmla="*/ 27629 h 110081"/>
              <a:gd name="connsiteX58" fmla="*/ 294855 w 625390"/>
              <a:gd name="connsiteY58" fmla="*/ 51401 h 110081"/>
              <a:gd name="connsiteX59" fmla="*/ 287982 w 625390"/>
              <a:gd name="connsiteY59" fmla="*/ 83075 h 110081"/>
              <a:gd name="connsiteX60" fmla="*/ 269457 w 625390"/>
              <a:gd name="connsiteY60" fmla="*/ 102179 h 110081"/>
              <a:gd name="connsiteX61" fmla="*/ 242416 w 625390"/>
              <a:gd name="connsiteY61" fmla="*/ 108588 h 110081"/>
              <a:gd name="connsiteX62" fmla="*/ 208055 w 625390"/>
              <a:gd name="connsiteY62" fmla="*/ 108588 h 110081"/>
              <a:gd name="connsiteX63" fmla="*/ 208055 w 625390"/>
              <a:gd name="connsiteY63" fmla="*/ 1493 h 110081"/>
              <a:gd name="connsiteX64" fmla="*/ 242416 w 625390"/>
              <a:gd name="connsiteY64" fmla="*/ 95893 h 110081"/>
              <a:gd name="connsiteX65" fmla="*/ 261838 w 625390"/>
              <a:gd name="connsiteY65" fmla="*/ 91413 h 110081"/>
              <a:gd name="connsiteX66" fmla="*/ 274835 w 625390"/>
              <a:gd name="connsiteY66" fmla="*/ 77225 h 110081"/>
              <a:gd name="connsiteX67" fmla="*/ 279616 w 625390"/>
              <a:gd name="connsiteY67" fmla="*/ 52458 h 110081"/>
              <a:gd name="connsiteX68" fmla="*/ 274985 w 625390"/>
              <a:gd name="connsiteY68" fmla="*/ 29122 h 110081"/>
              <a:gd name="connsiteX69" fmla="*/ 262286 w 625390"/>
              <a:gd name="connsiteY69" fmla="*/ 17610 h 110081"/>
              <a:gd name="connsiteX70" fmla="*/ 244059 w 625390"/>
              <a:gd name="connsiteY70" fmla="*/ 14374 h 110081"/>
              <a:gd name="connsiteX71" fmla="*/ 222098 w 625390"/>
              <a:gd name="connsiteY71" fmla="*/ 14374 h 110081"/>
              <a:gd name="connsiteX72" fmla="*/ 222098 w 625390"/>
              <a:gd name="connsiteY72" fmla="*/ 95893 h 110081"/>
              <a:gd name="connsiteX73" fmla="*/ 242416 w 625390"/>
              <a:gd name="connsiteY73" fmla="*/ 95893 h 110081"/>
              <a:gd name="connsiteX74" fmla="*/ 342369 w 625390"/>
              <a:gd name="connsiteY74" fmla="*/ 110082 h 110081"/>
              <a:gd name="connsiteX75" fmla="*/ 324142 w 625390"/>
              <a:gd name="connsiteY75" fmla="*/ 104233 h 110081"/>
              <a:gd name="connsiteX76" fmla="*/ 311444 w 625390"/>
              <a:gd name="connsiteY76" fmla="*/ 86311 h 110081"/>
              <a:gd name="connsiteX77" fmla="*/ 306962 w 625390"/>
              <a:gd name="connsiteY77" fmla="*/ 54947 h 110081"/>
              <a:gd name="connsiteX78" fmla="*/ 311444 w 625390"/>
              <a:gd name="connsiteY78" fmla="*/ 23584 h 110081"/>
              <a:gd name="connsiteX79" fmla="*/ 324142 w 625390"/>
              <a:gd name="connsiteY79" fmla="*/ 5849 h 110081"/>
              <a:gd name="connsiteX80" fmla="*/ 342369 w 625390"/>
              <a:gd name="connsiteY80" fmla="*/ 186 h 110081"/>
              <a:gd name="connsiteX81" fmla="*/ 360446 w 625390"/>
              <a:gd name="connsiteY81" fmla="*/ 5849 h 110081"/>
              <a:gd name="connsiteX82" fmla="*/ 372846 w 625390"/>
              <a:gd name="connsiteY82" fmla="*/ 23584 h 110081"/>
              <a:gd name="connsiteX83" fmla="*/ 377328 w 625390"/>
              <a:gd name="connsiteY83" fmla="*/ 54698 h 110081"/>
              <a:gd name="connsiteX84" fmla="*/ 372846 w 625390"/>
              <a:gd name="connsiteY84" fmla="*/ 86062 h 110081"/>
              <a:gd name="connsiteX85" fmla="*/ 360446 w 625390"/>
              <a:gd name="connsiteY85" fmla="*/ 104233 h 110081"/>
              <a:gd name="connsiteX86" fmla="*/ 342369 w 625390"/>
              <a:gd name="connsiteY86" fmla="*/ 110082 h 110081"/>
              <a:gd name="connsiteX87" fmla="*/ 342220 w 625390"/>
              <a:gd name="connsiteY87" fmla="*/ 98258 h 110081"/>
              <a:gd name="connsiteX88" fmla="*/ 353574 w 625390"/>
              <a:gd name="connsiteY88" fmla="*/ 94275 h 110081"/>
              <a:gd name="connsiteX89" fmla="*/ 360745 w 625390"/>
              <a:gd name="connsiteY89" fmla="*/ 80648 h 110081"/>
              <a:gd name="connsiteX90" fmla="*/ 363285 w 625390"/>
              <a:gd name="connsiteY90" fmla="*/ 55134 h 110081"/>
              <a:gd name="connsiteX91" fmla="*/ 360894 w 625390"/>
              <a:gd name="connsiteY91" fmla="*/ 29745 h 110081"/>
              <a:gd name="connsiteX92" fmla="*/ 353723 w 625390"/>
              <a:gd name="connsiteY92" fmla="*/ 16117 h 110081"/>
              <a:gd name="connsiteX93" fmla="*/ 342369 w 625390"/>
              <a:gd name="connsiteY93" fmla="*/ 11947 h 110081"/>
              <a:gd name="connsiteX94" fmla="*/ 330865 w 625390"/>
              <a:gd name="connsiteY94" fmla="*/ 16117 h 110081"/>
              <a:gd name="connsiteX95" fmla="*/ 323545 w 625390"/>
              <a:gd name="connsiteY95" fmla="*/ 29745 h 110081"/>
              <a:gd name="connsiteX96" fmla="*/ 321005 w 625390"/>
              <a:gd name="connsiteY96" fmla="*/ 55134 h 110081"/>
              <a:gd name="connsiteX97" fmla="*/ 323396 w 625390"/>
              <a:gd name="connsiteY97" fmla="*/ 80648 h 110081"/>
              <a:gd name="connsiteX98" fmla="*/ 330716 w 625390"/>
              <a:gd name="connsiteY98" fmla="*/ 94275 h 110081"/>
              <a:gd name="connsiteX99" fmla="*/ 342220 w 625390"/>
              <a:gd name="connsiteY99" fmla="*/ 98258 h 110081"/>
              <a:gd name="connsiteX100" fmla="*/ 424513 w 625390"/>
              <a:gd name="connsiteY100" fmla="*/ 110082 h 110081"/>
              <a:gd name="connsiteX101" fmla="*/ 406286 w 625390"/>
              <a:gd name="connsiteY101" fmla="*/ 104233 h 110081"/>
              <a:gd name="connsiteX102" fmla="*/ 393587 w 625390"/>
              <a:gd name="connsiteY102" fmla="*/ 86311 h 110081"/>
              <a:gd name="connsiteX103" fmla="*/ 389106 w 625390"/>
              <a:gd name="connsiteY103" fmla="*/ 54947 h 110081"/>
              <a:gd name="connsiteX104" fmla="*/ 393587 w 625390"/>
              <a:gd name="connsiteY104" fmla="*/ 23584 h 110081"/>
              <a:gd name="connsiteX105" fmla="*/ 406286 w 625390"/>
              <a:gd name="connsiteY105" fmla="*/ 5849 h 110081"/>
              <a:gd name="connsiteX106" fmla="*/ 424513 w 625390"/>
              <a:gd name="connsiteY106" fmla="*/ 186 h 110081"/>
              <a:gd name="connsiteX107" fmla="*/ 442590 w 625390"/>
              <a:gd name="connsiteY107" fmla="*/ 5849 h 110081"/>
              <a:gd name="connsiteX108" fmla="*/ 454990 w 625390"/>
              <a:gd name="connsiteY108" fmla="*/ 23584 h 110081"/>
              <a:gd name="connsiteX109" fmla="*/ 459472 w 625390"/>
              <a:gd name="connsiteY109" fmla="*/ 54698 h 110081"/>
              <a:gd name="connsiteX110" fmla="*/ 454990 w 625390"/>
              <a:gd name="connsiteY110" fmla="*/ 86062 h 110081"/>
              <a:gd name="connsiteX111" fmla="*/ 442590 w 625390"/>
              <a:gd name="connsiteY111" fmla="*/ 104233 h 110081"/>
              <a:gd name="connsiteX112" fmla="*/ 424513 w 625390"/>
              <a:gd name="connsiteY112" fmla="*/ 110082 h 110081"/>
              <a:gd name="connsiteX113" fmla="*/ 424364 w 625390"/>
              <a:gd name="connsiteY113" fmla="*/ 98258 h 110081"/>
              <a:gd name="connsiteX114" fmla="*/ 435718 w 625390"/>
              <a:gd name="connsiteY114" fmla="*/ 94275 h 110081"/>
              <a:gd name="connsiteX115" fmla="*/ 442889 w 625390"/>
              <a:gd name="connsiteY115" fmla="*/ 80648 h 110081"/>
              <a:gd name="connsiteX116" fmla="*/ 445428 w 625390"/>
              <a:gd name="connsiteY116" fmla="*/ 55134 h 110081"/>
              <a:gd name="connsiteX117" fmla="*/ 443038 w 625390"/>
              <a:gd name="connsiteY117" fmla="*/ 29745 h 110081"/>
              <a:gd name="connsiteX118" fmla="*/ 435867 w 625390"/>
              <a:gd name="connsiteY118" fmla="*/ 16117 h 110081"/>
              <a:gd name="connsiteX119" fmla="*/ 424513 w 625390"/>
              <a:gd name="connsiteY119" fmla="*/ 11947 h 110081"/>
              <a:gd name="connsiteX120" fmla="*/ 413009 w 625390"/>
              <a:gd name="connsiteY120" fmla="*/ 16117 h 110081"/>
              <a:gd name="connsiteX121" fmla="*/ 405689 w 625390"/>
              <a:gd name="connsiteY121" fmla="*/ 29745 h 110081"/>
              <a:gd name="connsiteX122" fmla="*/ 403149 w 625390"/>
              <a:gd name="connsiteY122" fmla="*/ 55134 h 110081"/>
              <a:gd name="connsiteX123" fmla="*/ 405539 w 625390"/>
              <a:gd name="connsiteY123" fmla="*/ 80648 h 110081"/>
              <a:gd name="connsiteX124" fmla="*/ 412860 w 625390"/>
              <a:gd name="connsiteY124" fmla="*/ 94275 h 110081"/>
              <a:gd name="connsiteX125" fmla="*/ 424364 w 625390"/>
              <a:gd name="connsiteY125" fmla="*/ 98258 h 110081"/>
              <a:gd name="connsiteX126" fmla="*/ 543253 w 625390"/>
              <a:gd name="connsiteY126" fmla="*/ 73491 h 110081"/>
              <a:gd name="connsiteX127" fmla="*/ 538472 w 625390"/>
              <a:gd name="connsiteY127" fmla="*/ 92782 h 110081"/>
              <a:gd name="connsiteX128" fmla="*/ 525773 w 625390"/>
              <a:gd name="connsiteY128" fmla="*/ 105601 h 110081"/>
              <a:gd name="connsiteX129" fmla="*/ 507696 w 625390"/>
              <a:gd name="connsiteY129" fmla="*/ 110082 h 110081"/>
              <a:gd name="connsiteX130" fmla="*/ 486033 w 625390"/>
              <a:gd name="connsiteY130" fmla="*/ 104108 h 110081"/>
              <a:gd name="connsiteX131" fmla="*/ 473932 w 625390"/>
              <a:gd name="connsiteY131" fmla="*/ 87555 h 110081"/>
              <a:gd name="connsiteX132" fmla="*/ 470197 w 625390"/>
              <a:gd name="connsiteY132" fmla="*/ 63161 h 110081"/>
              <a:gd name="connsiteX133" fmla="*/ 474679 w 625390"/>
              <a:gd name="connsiteY133" fmla="*/ 30181 h 110081"/>
              <a:gd name="connsiteX134" fmla="*/ 488723 w 625390"/>
              <a:gd name="connsiteY134" fmla="*/ 8089 h 110081"/>
              <a:gd name="connsiteX135" fmla="*/ 513224 w 625390"/>
              <a:gd name="connsiteY135" fmla="*/ 0 h 110081"/>
              <a:gd name="connsiteX136" fmla="*/ 535783 w 625390"/>
              <a:gd name="connsiteY136" fmla="*/ 5538 h 110081"/>
              <a:gd name="connsiteX137" fmla="*/ 535783 w 625390"/>
              <a:gd name="connsiteY137" fmla="*/ 18855 h 110081"/>
              <a:gd name="connsiteX138" fmla="*/ 513224 w 625390"/>
              <a:gd name="connsiteY138" fmla="*/ 12259 h 110081"/>
              <a:gd name="connsiteX139" fmla="*/ 497687 w 625390"/>
              <a:gd name="connsiteY139" fmla="*/ 17361 h 110081"/>
              <a:gd name="connsiteX140" fmla="*/ 487826 w 625390"/>
              <a:gd name="connsiteY140" fmla="*/ 31238 h 110081"/>
              <a:gd name="connsiteX141" fmla="*/ 483643 w 625390"/>
              <a:gd name="connsiteY141" fmla="*/ 50778 h 110081"/>
              <a:gd name="connsiteX142" fmla="*/ 494997 w 625390"/>
              <a:gd name="connsiteY142" fmla="*/ 40759 h 110081"/>
              <a:gd name="connsiteX143" fmla="*/ 509041 w 625390"/>
              <a:gd name="connsiteY143" fmla="*/ 37523 h 110081"/>
              <a:gd name="connsiteX144" fmla="*/ 526371 w 625390"/>
              <a:gd name="connsiteY144" fmla="*/ 41693 h 110081"/>
              <a:gd name="connsiteX145" fmla="*/ 538621 w 625390"/>
              <a:gd name="connsiteY145" fmla="*/ 53952 h 110081"/>
              <a:gd name="connsiteX146" fmla="*/ 543253 w 625390"/>
              <a:gd name="connsiteY146" fmla="*/ 73491 h 110081"/>
              <a:gd name="connsiteX147" fmla="*/ 507248 w 625390"/>
              <a:gd name="connsiteY147" fmla="*/ 98134 h 110081"/>
              <a:gd name="connsiteX148" fmla="*/ 518004 w 625390"/>
              <a:gd name="connsiteY148" fmla="*/ 95458 h 110081"/>
              <a:gd name="connsiteX149" fmla="*/ 525923 w 625390"/>
              <a:gd name="connsiteY149" fmla="*/ 87244 h 110081"/>
              <a:gd name="connsiteX150" fmla="*/ 529060 w 625390"/>
              <a:gd name="connsiteY150" fmla="*/ 73803 h 110081"/>
              <a:gd name="connsiteX151" fmla="*/ 526072 w 625390"/>
              <a:gd name="connsiteY151" fmla="*/ 60174 h 110081"/>
              <a:gd name="connsiteX152" fmla="*/ 518453 w 625390"/>
              <a:gd name="connsiteY152" fmla="*/ 51961 h 110081"/>
              <a:gd name="connsiteX153" fmla="*/ 508742 w 625390"/>
              <a:gd name="connsiteY153" fmla="*/ 49160 h 110081"/>
              <a:gd name="connsiteX154" fmla="*/ 492159 w 625390"/>
              <a:gd name="connsiteY154" fmla="*/ 55570 h 110081"/>
              <a:gd name="connsiteX155" fmla="*/ 485585 w 625390"/>
              <a:gd name="connsiteY155" fmla="*/ 74114 h 110081"/>
              <a:gd name="connsiteX156" fmla="*/ 491412 w 625390"/>
              <a:gd name="connsiteY156" fmla="*/ 91538 h 110081"/>
              <a:gd name="connsiteX157" fmla="*/ 507248 w 625390"/>
              <a:gd name="connsiteY157" fmla="*/ 98134 h 110081"/>
              <a:gd name="connsiteX158" fmla="*/ 552335 w 625390"/>
              <a:gd name="connsiteY158" fmla="*/ 35844 h 110081"/>
              <a:gd name="connsiteX159" fmla="*/ 556966 w 625390"/>
              <a:gd name="connsiteY159" fmla="*/ 17051 h 110081"/>
              <a:gd name="connsiteX160" fmla="*/ 569814 w 625390"/>
              <a:gd name="connsiteY160" fmla="*/ 4480 h 110081"/>
              <a:gd name="connsiteX161" fmla="*/ 587891 w 625390"/>
              <a:gd name="connsiteY161" fmla="*/ 0 h 110081"/>
              <a:gd name="connsiteX162" fmla="*/ 609554 w 625390"/>
              <a:gd name="connsiteY162" fmla="*/ 5849 h 110081"/>
              <a:gd name="connsiteX163" fmla="*/ 621655 w 625390"/>
              <a:gd name="connsiteY163" fmla="*/ 21842 h 110081"/>
              <a:gd name="connsiteX164" fmla="*/ 625390 w 625390"/>
              <a:gd name="connsiteY164" fmla="*/ 45426 h 110081"/>
              <a:gd name="connsiteX165" fmla="*/ 620759 w 625390"/>
              <a:gd name="connsiteY165" fmla="*/ 80088 h 110081"/>
              <a:gd name="connsiteX166" fmla="*/ 606417 w 625390"/>
              <a:gd name="connsiteY166" fmla="*/ 102303 h 110081"/>
              <a:gd name="connsiteX167" fmla="*/ 581916 w 625390"/>
              <a:gd name="connsiteY167" fmla="*/ 110082 h 110081"/>
              <a:gd name="connsiteX168" fmla="*/ 558908 w 625390"/>
              <a:gd name="connsiteY168" fmla="*/ 104543 h 110081"/>
              <a:gd name="connsiteX169" fmla="*/ 558908 w 625390"/>
              <a:gd name="connsiteY169" fmla="*/ 91413 h 110081"/>
              <a:gd name="connsiteX170" fmla="*/ 581916 w 625390"/>
              <a:gd name="connsiteY170" fmla="*/ 98010 h 110081"/>
              <a:gd name="connsiteX171" fmla="*/ 597453 w 625390"/>
              <a:gd name="connsiteY171" fmla="*/ 92907 h 110081"/>
              <a:gd name="connsiteX172" fmla="*/ 607164 w 625390"/>
              <a:gd name="connsiteY172" fmla="*/ 79154 h 110081"/>
              <a:gd name="connsiteX173" fmla="*/ 611496 w 625390"/>
              <a:gd name="connsiteY173" fmla="*/ 59739 h 110081"/>
              <a:gd name="connsiteX174" fmla="*/ 600441 w 625390"/>
              <a:gd name="connsiteY174" fmla="*/ 68389 h 110081"/>
              <a:gd name="connsiteX175" fmla="*/ 586547 w 625390"/>
              <a:gd name="connsiteY175" fmla="*/ 71127 h 110081"/>
              <a:gd name="connsiteX176" fmla="*/ 569217 w 625390"/>
              <a:gd name="connsiteY176" fmla="*/ 67082 h 110081"/>
              <a:gd name="connsiteX177" fmla="*/ 556817 w 625390"/>
              <a:gd name="connsiteY177" fmla="*/ 55134 h 110081"/>
              <a:gd name="connsiteX178" fmla="*/ 552335 w 625390"/>
              <a:gd name="connsiteY178" fmla="*/ 35844 h 110081"/>
              <a:gd name="connsiteX179" fmla="*/ 588340 w 625390"/>
              <a:gd name="connsiteY179" fmla="*/ 12134 h 110081"/>
              <a:gd name="connsiteX180" fmla="*/ 577583 w 625390"/>
              <a:gd name="connsiteY180" fmla="*/ 14810 h 110081"/>
              <a:gd name="connsiteX181" fmla="*/ 569516 w 625390"/>
              <a:gd name="connsiteY181" fmla="*/ 22589 h 110081"/>
              <a:gd name="connsiteX182" fmla="*/ 566528 w 625390"/>
              <a:gd name="connsiteY182" fmla="*/ 35532 h 110081"/>
              <a:gd name="connsiteX183" fmla="*/ 569516 w 625390"/>
              <a:gd name="connsiteY183" fmla="*/ 48725 h 110081"/>
              <a:gd name="connsiteX184" fmla="*/ 577135 w 625390"/>
              <a:gd name="connsiteY184" fmla="*/ 56752 h 110081"/>
              <a:gd name="connsiteX185" fmla="*/ 586846 w 625390"/>
              <a:gd name="connsiteY185" fmla="*/ 59428 h 110081"/>
              <a:gd name="connsiteX186" fmla="*/ 603279 w 625390"/>
              <a:gd name="connsiteY186" fmla="*/ 53329 h 110081"/>
              <a:gd name="connsiteX187" fmla="*/ 610002 w 625390"/>
              <a:gd name="connsiteY187" fmla="*/ 35283 h 110081"/>
              <a:gd name="connsiteX188" fmla="*/ 604176 w 625390"/>
              <a:gd name="connsiteY188" fmla="*/ 18544 h 110081"/>
              <a:gd name="connsiteX189" fmla="*/ 588340 w 625390"/>
              <a:gd name="connsiteY189" fmla="*/ 12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625390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54290" y="110082"/>
                </a:moveTo>
                <a:cubicBezTo>
                  <a:pt x="143733" y="110082"/>
                  <a:pt x="134470" y="107904"/>
                  <a:pt x="126502" y="103486"/>
                </a:cubicBezTo>
                <a:cubicBezTo>
                  <a:pt x="118634" y="99129"/>
                  <a:pt x="112509" y="92844"/>
                  <a:pt x="108126" y="84693"/>
                </a:cubicBezTo>
                <a:cubicBezTo>
                  <a:pt x="103744" y="76416"/>
                  <a:pt x="101553" y="66584"/>
                  <a:pt x="101553" y="55134"/>
                </a:cubicBezTo>
                <a:cubicBezTo>
                  <a:pt x="101553" y="37897"/>
                  <a:pt x="106085" y="24455"/>
                  <a:pt x="115148" y="14810"/>
                </a:cubicBezTo>
                <a:cubicBezTo>
                  <a:pt x="124211" y="5040"/>
                  <a:pt x="137159" y="186"/>
                  <a:pt x="153991" y="186"/>
                </a:cubicBezTo>
                <a:cubicBezTo>
                  <a:pt x="160266" y="186"/>
                  <a:pt x="166242" y="871"/>
                  <a:pt x="171919" y="2240"/>
                </a:cubicBezTo>
                <a:cubicBezTo>
                  <a:pt x="177696" y="3547"/>
                  <a:pt x="182576" y="5414"/>
                  <a:pt x="186560" y="7902"/>
                </a:cubicBezTo>
                <a:lnTo>
                  <a:pt x="186560" y="21344"/>
                </a:lnTo>
                <a:cubicBezTo>
                  <a:pt x="182277" y="18669"/>
                  <a:pt x="177248" y="16615"/>
                  <a:pt x="171471" y="15121"/>
                </a:cubicBezTo>
                <a:cubicBezTo>
                  <a:pt x="165794" y="13628"/>
                  <a:pt x="159918" y="12881"/>
                  <a:pt x="153842" y="12881"/>
                </a:cubicBezTo>
                <a:cubicBezTo>
                  <a:pt x="141293" y="12881"/>
                  <a:pt x="131980" y="16366"/>
                  <a:pt x="125904" y="23459"/>
                </a:cubicBezTo>
                <a:cubicBezTo>
                  <a:pt x="119829" y="30554"/>
                  <a:pt x="116791" y="41071"/>
                  <a:pt x="116791" y="55134"/>
                </a:cubicBezTo>
                <a:cubicBezTo>
                  <a:pt x="116791" y="69260"/>
                  <a:pt x="120078" y="79839"/>
                  <a:pt x="126652" y="86933"/>
                </a:cubicBezTo>
                <a:cubicBezTo>
                  <a:pt x="133225" y="93902"/>
                  <a:pt x="142836" y="97387"/>
                  <a:pt x="155485" y="97387"/>
                </a:cubicBezTo>
                <a:cubicBezTo>
                  <a:pt x="167437" y="97387"/>
                  <a:pt x="177795" y="94089"/>
                  <a:pt x="186560" y="87555"/>
                </a:cubicBezTo>
                <a:lnTo>
                  <a:pt x="186560" y="100997"/>
                </a:lnTo>
                <a:cubicBezTo>
                  <a:pt x="183074" y="103734"/>
                  <a:pt x="178443" y="105974"/>
                  <a:pt x="172666" y="107717"/>
                </a:cubicBezTo>
                <a:cubicBezTo>
                  <a:pt x="166889" y="109273"/>
                  <a:pt x="160764" y="110082"/>
                  <a:pt x="154290" y="110082"/>
                </a:cubicBezTo>
                <a:close/>
                <a:moveTo>
                  <a:pt x="208055" y="1493"/>
                </a:moveTo>
                <a:lnTo>
                  <a:pt x="244059" y="1493"/>
                </a:lnTo>
                <a:cubicBezTo>
                  <a:pt x="251231" y="1493"/>
                  <a:pt x="257903" y="2365"/>
                  <a:pt x="264079" y="4044"/>
                </a:cubicBezTo>
                <a:cubicBezTo>
                  <a:pt x="270254" y="5725"/>
                  <a:pt x="275632" y="8525"/>
                  <a:pt x="280213" y="12383"/>
                </a:cubicBezTo>
                <a:cubicBezTo>
                  <a:pt x="284795" y="16179"/>
                  <a:pt x="288381" y="21282"/>
                  <a:pt x="290970" y="27629"/>
                </a:cubicBezTo>
                <a:cubicBezTo>
                  <a:pt x="293560" y="34039"/>
                  <a:pt x="294855" y="41942"/>
                  <a:pt x="294855" y="51401"/>
                </a:cubicBezTo>
                <a:cubicBezTo>
                  <a:pt x="294855" y="63908"/>
                  <a:pt x="292564" y="74487"/>
                  <a:pt x="287982" y="83075"/>
                </a:cubicBezTo>
                <a:cubicBezTo>
                  <a:pt x="283500" y="91538"/>
                  <a:pt x="277325" y="97885"/>
                  <a:pt x="269457" y="102179"/>
                </a:cubicBezTo>
                <a:cubicBezTo>
                  <a:pt x="261588" y="106473"/>
                  <a:pt x="252575" y="108588"/>
                  <a:pt x="242416" y="108588"/>
                </a:cubicBezTo>
                <a:lnTo>
                  <a:pt x="208055" y="108588"/>
                </a:lnTo>
                <a:lnTo>
                  <a:pt x="208055" y="1493"/>
                </a:lnTo>
                <a:close/>
                <a:moveTo>
                  <a:pt x="242416" y="95893"/>
                </a:moveTo>
                <a:cubicBezTo>
                  <a:pt x="249786" y="95893"/>
                  <a:pt x="256260" y="94400"/>
                  <a:pt x="261838" y="91413"/>
                </a:cubicBezTo>
                <a:cubicBezTo>
                  <a:pt x="267415" y="88302"/>
                  <a:pt x="271748" y="83572"/>
                  <a:pt x="274835" y="77225"/>
                </a:cubicBezTo>
                <a:cubicBezTo>
                  <a:pt x="278022" y="70754"/>
                  <a:pt x="279616" y="62477"/>
                  <a:pt x="279616" y="52458"/>
                </a:cubicBezTo>
                <a:cubicBezTo>
                  <a:pt x="279616" y="42377"/>
                  <a:pt x="278072" y="34599"/>
                  <a:pt x="274985" y="29122"/>
                </a:cubicBezTo>
                <a:cubicBezTo>
                  <a:pt x="271897" y="23646"/>
                  <a:pt x="267664" y="19851"/>
                  <a:pt x="262286" y="17610"/>
                </a:cubicBezTo>
                <a:cubicBezTo>
                  <a:pt x="257007" y="15433"/>
                  <a:pt x="250932" y="14374"/>
                  <a:pt x="244059" y="14374"/>
                </a:cubicBezTo>
                <a:lnTo>
                  <a:pt x="222098" y="14374"/>
                </a:lnTo>
                <a:lnTo>
                  <a:pt x="222098" y="95893"/>
                </a:lnTo>
                <a:lnTo>
                  <a:pt x="242416" y="95893"/>
                </a:lnTo>
                <a:close/>
                <a:moveTo>
                  <a:pt x="342369" y="110082"/>
                </a:moveTo>
                <a:cubicBezTo>
                  <a:pt x="335596" y="110082"/>
                  <a:pt x="329521" y="108153"/>
                  <a:pt x="324142" y="104233"/>
                </a:cubicBezTo>
                <a:cubicBezTo>
                  <a:pt x="318764" y="100374"/>
                  <a:pt x="314531" y="94400"/>
                  <a:pt x="311444" y="86311"/>
                </a:cubicBezTo>
                <a:cubicBezTo>
                  <a:pt x="308456" y="78159"/>
                  <a:pt x="306962" y="67705"/>
                  <a:pt x="306962" y="54947"/>
                </a:cubicBezTo>
                <a:cubicBezTo>
                  <a:pt x="306962" y="42128"/>
                  <a:pt x="308456" y="31674"/>
                  <a:pt x="311444" y="23584"/>
                </a:cubicBezTo>
                <a:cubicBezTo>
                  <a:pt x="314531" y="15557"/>
                  <a:pt x="318764" y="9645"/>
                  <a:pt x="324142" y="5849"/>
                </a:cubicBezTo>
                <a:cubicBezTo>
                  <a:pt x="329521" y="2053"/>
                  <a:pt x="335596" y="186"/>
                  <a:pt x="342369" y="186"/>
                </a:cubicBezTo>
                <a:cubicBezTo>
                  <a:pt x="349142" y="186"/>
                  <a:pt x="355167" y="2053"/>
                  <a:pt x="360446" y="5849"/>
                </a:cubicBezTo>
                <a:cubicBezTo>
                  <a:pt x="365725" y="9645"/>
                  <a:pt x="369858" y="15557"/>
                  <a:pt x="372846" y="23584"/>
                </a:cubicBezTo>
                <a:cubicBezTo>
                  <a:pt x="375834" y="31549"/>
                  <a:pt x="377328" y="41942"/>
                  <a:pt x="377328" y="54698"/>
                </a:cubicBezTo>
                <a:cubicBezTo>
                  <a:pt x="377328" y="67331"/>
                  <a:pt x="375834" y="77786"/>
                  <a:pt x="372846" y="86062"/>
                </a:cubicBezTo>
                <a:cubicBezTo>
                  <a:pt x="369858" y="94213"/>
                  <a:pt x="365725" y="100250"/>
                  <a:pt x="360446" y="104233"/>
                </a:cubicBezTo>
                <a:cubicBezTo>
                  <a:pt x="355167" y="108153"/>
                  <a:pt x="349142" y="110082"/>
                  <a:pt x="342369" y="110082"/>
                </a:cubicBezTo>
                <a:close/>
                <a:moveTo>
                  <a:pt x="342220" y="98258"/>
                </a:moveTo>
                <a:cubicBezTo>
                  <a:pt x="346702" y="98258"/>
                  <a:pt x="350486" y="96952"/>
                  <a:pt x="353574" y="94275"/>
                </a:cubicBezTo>
                <a:cubicBezTo>
                  <a:pt x="356761" y="91475"/>
                  <a:pt x="359151" y="86933"/>
                  <a:pt x="360745" y="80648"/>
                </a:cubicBezTo>
                <a:cubicBezTo>
                  <a:pt x="362438" y="74300"/>
                  <a:pt x="363285" y="65775"/>
                  <a:pt x="363285" y="55134"/>
                </a:cubicBezTo>
                <a:cubicBezTo>
                  <a:pt x="363285" y="44493"/>
                  <a:pt x="362488" y="36030"/>
                  <a:pt x="360894" y="29745"/>
                </a:cubicBezTo>
                <a:cubicBezTo>
                  <a:pt x="359301" y="23336"/>
                  <a:pt x="356911" y="18855"/>
                  <a:pt x="353723" y="16117"/>
                </a:cubicBezTo>
                <a:cubicBezTo>
                  <a:pt x="350636" y="13379"/>
                  <a:pt x="346851" y="11947"/>
                  <a:pt x="342369" y="11947"/>
                </a:cubicBezTo>
                <a:cubicBezTo>
                  <a:pt x="337887" y="11947"/>
                  <a:pt x="334053" y="13379"/>
                  <a:pt x="330865" y="16117"/>
                </a:cubicBezTo>
                <a:cubicBezTo>
                  <a:pt x="327678" y="18855"/>
                  <a:pt x="325238" y="23336"/>
                  <a:pt x="323545" y="29745"/>
                </a:cubicBezTo>
                <a:cubicBezTo>
                  <a:pt x="321852" y="36030"/>
                  <a:pt x="321005" y="44493"/>
                  <a:pt x="321005" y="55134"/>
                </a:cubicBezTo>
                <a:cubicBezTo>
                  <a:pt x="321005" y="65775"/>
                  <a:pt x="321802" y="74300"/>
                  <a:pt x="323396" y="80648"/>
                </a:cubicBezTo>
                <a:cubicBezTo>
                  <a:pt x="325089" y="86933"/>
                  <a:pt x="327529" y="91475"/>
                  <a:pt x="330716" y="94275"/>
                </a:cubicBezTo>
                <a:cubicBezTo>
                  <a:pt x="333903" y="96952"/>
                  <a:pt x="337738" y="98258"/>
                  <a:pt x="342220" y="98258"/>
                </a:cubicBezTo>
                <a:close/>
                <a:moveTo>
                  <a:pt x="424513" y="110082"/>
                </a:moveTo>
                <a:cubicBezTo>
                  <a:pt x="417740" y="110082"/>
                  <a:pt x="411664" y="108153"/>
                  <a:pt x="406286" y="104233"/>
                </a:cubicBezTo>
                <a:cubicBezTo>
                  <a:pt x="400908" y="100374"/>
                  <a:pt x="396675" y="94400"/>
                  <a:pt x="393587" y="86311"/>
                </a:cubicBezTo>
                <a:cubicBezTo>
                  <a:pt x="390600" y="78159"/>
                  <a:pt x="389106" y="67705"/>
                  <a:pt x="389106" y="54947"/>
                </a:cubicBezTo>
                <a:cubicBezTo>
                  <a:pt x="389106" y="42128"/>
                  <a:pt x="390600" y="31674"/>
                  <a:pt x="393587" y="23584"/>
                </a:cubicBezTo>
                <a:cubicBezTo>
                  <a:pt x="396675" y="15557"/>
                  <a:pt x="400908" y="9645"/>
                  <a:pt x="406286" y="5849"/>
                </a:cubicBezTo>
                <a:cubicBezTo>
                  <a:pt x="411664" y="2053"/>
                  <a:pt x="417740" y="186"/>
                  <a:pt x="424513" y="186"/>
                </a:cubicBezTo>
                <a:cubicBezTo>
                  <a:pt x="431286" y="186"/>
                  <a:pt x="437311" y="2053"/>
                  <a:pt x="442590" y="5849"/>
                </a:cubicBezTo>
                <a:cubicBezTo>
                  <a:pt x="447869" y="9645"/>
                  <a:pt x="452002" y="15557"/>
                  <a:pt x="454990" y="23584"/>
                </a:cubicBezTo>
                <a:cubicBezTo>
                  <a:pt x="457978" y="31549"/>
                  <a:pt x="459472" y="41942"/>
                  <a:pt x="459472" y="54698"/>
                </a:cubicBezTo>
                <a:cubicBezTo>
                  <a:pt x="459472" y="67331"/>
                  <a:pt x="457978" y="77786"/>
                  <a:pt x="454990" y="86062"/>
                </a:cubicBezTo>
                <a:cubicBezTo>
                  <a:pt x="452002" y="94213"/>
                  <a:pt x="447869" y="100250"/>
                  <a:pt x="442590" y="104233"/>
                </a:cubicBezTo>
                <a:cubicBezTo>
                  <a:pt x="437311" y="108153"/>
                  <a:pt x="431286" y="110082"/>
                  <a:pt x="424513" y="110082"/>
                </a:cubicBezTo>
                <a:close/>
                <a:moveTo>
                  <a:pt x="424364" y="98258"/>
                </a:moveTo>
                <a:cubicBezTo>
                  <a:pt x="428845" y="98258"/>
                  <a:pt x="432630" y="96952"/>
                  <a:pt x="435718" y="94275"/>
                </a:cubicBezTo>
                <a:cubicBezTo>
                  <a:pt x="438905" y="91475"/>
                  <a:pt x="441295" y="86933"/>
                  <a:pt x="442889" y="80648"/>
                </a:cubicBezTo>
                <a:cubicBezTo>
                  <a:pt x="444582" y="74300"/>
                  <a:pt x="445428" y="65775"/>
                  <a:pt x="445428" y="55134"/>
                </a:cubicBezTo>
                <a:cubicBezTo>
                  <a:pt x="445428" y="44493"/>
                  <a:pt x="444632" y="36030"/>
                  <a:pt x="443038" y="29745"/>
                </a:cubicBezTo>
                <a:cubicBezTo>
                  <a:pt x="441444" y="23336"/>
                  <a:pt x="439054" y="18855"/>
                  <a:pt x="435867" y="16117"/>
                </a:cubicBezTo>
                <a:cubicBezTo>
                  <a:pt x="432780" y="13379"/>
                  <a:pt x="428995" y="11947"/>
                  <a:pt x="424513" y="11947"/>
                </a:cubicBezTo>
                <a:cubicBezTo>
                  <a:pt x="420031" y="11947"/>
                  <a:pt x="416196" y="13379"/>
                  <a:pt x="413009" y="16117"/>
                </a:cubicBezTo>
                <a:cubicBezTo>
                  <a:pt x="409822" y="18855"/>
                  <a:pt x="407382" y="23336"/>
                  <a:pt x="405689" y="29745"/>
                </a:cubicBezTo>
                <a:cubicBezTo>
                  <a:pt x="403995" y="36030"/>
                  <a:pt x="403149" y="44493"/>
                  <a:pt x="403149" y="55134"/>
                </a:cubicBezTo>
                <a:cubicBezTo>
                  <a:pt x="403149" y="65775"/>
                  <a:pt x="403946" y="74300"/>
                  <a:pt x="405539" y="80648"/>
                </a:cubicBezTo>
                <a:cubicBezTo>
                  <a:pt x="407233" y="86933"/>
                  <a:pt x="409672" y="91475"/>
                  <a:pt x="412860" y="94275"/>
                </a:cubicBezTo>
                <a:cubicBezTo>
                  <a:pt x="416047" y="96952"/>
                  <a:pt x="419881" y="98258"/>
                  <a:pt x="424364" y="98258"/>
                </a:cubicBezTo>
                <a:close/>
                <a:moveTo>
                  <a:pt x="543253" y="73491"/>
                </a:moveTo>
                <a:cubicBezTo>
                  <a:pt x="543253" y="80772"/>
                  <a:pt x="541659" y="87182"/>
                  <a:pt x="538472" y="92782"/>
                </a:cubicBezTo>
                <a:cubicBezTo>
                  <a:pt x="535384" y="98258"/>
                  <a:pt x="531151" y="102490"/>
                  <a:pt x="525773" y="105601"/>
                </a:cubicBezTo>
                <a:cubicBezTo>
                  <a:pt x="520395" y="108588"/>
                  <a:pt x="514369" y="110082"/>
                  <a:pt x="507696" y="110082"/>
                </a:cubicBezTo>
                <a:cubicBezTo>
                  <a:pt x="498732" y="110082"/>
                  <a:pt x="491511" y="108091"/>
                  <a:pt x="486033" y="104108"/>
                </a:cubicBezTo>
                <a:cubicBezTo>
                  <a:pt x="480556" y="100125"/>
                  <a:pt x="476522" y="94587"/>
                  <a:pt x="473932" y="87555"/>
                </a:cubicBezTo>
                <a:cubicBezTo>
                  <a:pt x="471442" y="80461"/>
                  <a:pt x="470197" y="72372"/>
                  <a:pt x="470197" y="63161"/>
                </a:cubicBezTo>
                <a:cubicBezTo>
                  <a:pt x="470197" y="50653"/>
                  <a:pt x="471691" y="39639"/>
                  <a:pt x="474679" y="30181"/>
                </a:cubicBezTo>
                <a:cubicBezTo>
                  <a:pt x="477767" y="20722"/>
                  <a:pt x="482448" y="13379"/>
                  <a:pt x="488723" y="8089"/>
                </a:cubicBezTo>
                <a:cubicBezTo>
                  <a:pt x="495097" y="2675"/>
                  <a:pt x="503264" y="0"/>
                  <a:pt x="513224" y="0"/>
                </a:cubicBezTo>
                <a:cubicBezTo>
                  <a:pt x="521789" y="0"/>
                  <a:pt x="529309" y="1866"/>
                  <a:pt x="535783" y="5538"/>
                </a:cubicBezTo>
                <a:lnTo>
                  <a:pt x="535783" y="18855"/>
                </a:lnTo>
                <a:cubicBezTo>
                  <a:pt x="529309" y="14437"/>
                  <a:pt x="521789" y="12259"/>
                  <a:pt x="513224" y="12259"/>
                </a:cubicBezTo>
                <a:cubicBezTo>
                  <a:pt x="507049" y="12259"/>
                  <a:pt x="501870" y="13939"/>
                  <a:pt x="497687" y="17361"/>
                </a:cubicBezTo>
                <a:cubicBezTo>
                  <a:pt x="493503" y="20722"/>
                  <a:pt x="490217" y="25327"/>
                  <a:pt x="487826" y="31238"/>
                </a:cubicBezTo>
                <a:cubicBezTo>
                  <a:pt x="485535" y="37026"/>
                  <a:pt x="484141" y="43498"/>
                  <a:pt x="483643" y="50778"/>
                </a:cubicBezTo>
                <a:cubicBezTo>
                  <a:pt x="486930" y="46298"/>
                  <a:pt x="490715" y="42999"/>
                  <a:pt x="494997" y="40759"/>
                </a:cubicBezTo>
                <a:cubicBezTo>
                  <a:pt x="499280" y="38581"/>
                  <a:pt x="503961" y="37523"/>
                  <a:pt x="509041" y="37523"/>
                </a:cubicBezTo>
                <a:cubicBezTo>
                  <a:pt x="515515" y="37523"/>
                  <a:pt x="521291" y="38893"/>
                  <a:pt x="526371" y="41693"/>
                </a:cubicBezTo>
                <a:cubicBezTo>
                  <a:pt x="531550" y="44493"/>
                  <a:pt x="535634" y="48538"/>
                  <a:pt x="538621" y="53952"/>
                </a:cubicBezTo>
                <a:cubicBezTo>
                  <a:pt x="541709" y="59179"/>
                  <a:pt x="543253" y="65713"/>
                  <a:pt x="543253" y="73491"/>
                </a:cubicBezTo>
                <a:close/>
                <a:moveTo>
                  <a:pt x="507248" y="98134"/>
                </a:moveTo>
                <a:cubicBezTo>
                  <a:pt x="511132" y="98134"/>
                  <a:pt x="514718" y="97263"/>
                  <a:pt x="518004" y="95458"/>
                </a:cubicBezTo>
                <a:cubicBezTo>
                  <a:pt x="521291" y="93529"/>
                  <a:pt x="523931" y="90791"/>
                  <a:pt x="525923" y="87244"/>
                </a:cubicBezTo>
                <a:cubicBezTo>
                  <a:pt x="528014" y="83635"/>
                  <a:pt x="529060" y="79154"/>
                  <a:pt x="529060" y="73803"/>
                </a:cubicBezTo>
                <a:cubicBezTo>
                  <a:pt x="529060" y="68389"/>
                  <a:pt x="528064" y="63908"/>
                  <a:pt x="526072" y="60174"/>
                </a:cubicBezTo>
                <a:cubicBezTo>
                  <a:pt x="524080" y="56503"/>
                  <a:pt x="521540" y="53765"/>
                  <a:pt x="518453" y="51961"/>
                </a:cubicBezTo>
                <a:cubicBezTo>
                  <a:pt x="515365" y="50093"/>
                  <a:pt x="512128" y="49160"/>
                  <a:pt x="508742" y="49160"/>
                </a:cubicBezTo>
                <a:cubicBezTo>
                  <a:pt x="502168" y="49160"/>
                  <a:pt x="496641" y="51276"/>
                  <a:pt x="492159" y="55570"/>
                </a:cubicBezTo>
                <a:cubicBezTo>
                  <a:pt x="487777" y="59739"/>
                  <a:pt x="485585" y="65900"/>
                  <a:pt x="485585" y="74114"/>
                </a:cubicBezTo>
                <a:cubicBezTo>
                  <a:pt x="485585" y="81270"/>
                  <a:pt x="487527" y="87058"/>
                  <a:pt x="491412" y="91538"/>
                </a:cubicBezTo>
                <a:cubicBezTo>
                  <a:pt x="495296" y="95956"/>
                  <a:pt x="500575" y="98134"/>
                  <a:pt x="507248" y="98134"/>
                </a:cubicBezTo>
                <a:close/>
                <a:moveTo>
                  <a:pt x="552335" y="35844"/>
                </a:moveTo>
                <a:cubicBezTo>
                  <a:pt x="552335" y="28687"/>
                  <a:pt x="553879" y="22402"/>
                  <a:pt x="556966" y="17051"/>
                </a:cubicBezTo>
                <a:cubicBezTo>
                  <a:pt x="560153" y="11637"/>
                  <a:pt x="564436" y="7467"/>
                  <a:pt x="569814" y="4480"/>
                </a:cubicBezTo>
                <a:cubicBezTo>
                  <a:pt x="575193" y="1493"/>
                  <a:pt x="581218" y="0"/>
                  <a:pt x="587891" y="0"/>
                </a:cubicBezTo>
                <a:cubicBezTo>
                  <a:pt x="596855" y="0"/>
                  <a:pt x="604076" y="1929"/>
                  <a:pt x="609554" y="5849"/>
                </a:cubicBezTo>
                <a:cubicBezTo>
                  <a:pt x="615132" y="9645"/>
                  <a:pt x="619165" y="14934"/>
                  <a:pt x="621655" y="21842"/>
                </a:cubicBezTo>
                <a:cubicBezTo>
                  <a:pt x="624145" y="28563"/>
                  <a:pt x="625390" y="36466"/>
                  <a:pt x="625390" y="45426"/>
                </a:cubicBezTo>
                <a:cubicBezTo>
                  <a:pt x="625390" y="58868"/>
                  <a:pt x="623846" y="70380"/>
                  <a:pt x="620759" y="80088"/>
                </a:cubicBezTo>
                <a:cubicBezTo>
                  <a:pt x="617671" y="89733"/>
                  <a:pt x="612891" y="97138"/>
                  <a:pt x="606417" y="102303"/>
                </a:cubicBezTo>
                <a:cubicBezTo>
                  <a:pt x="600042" y="107468"/>
                  <a:pt x="591875" y="110082"/>
                  <a:pt x="581916" y="110082"/>
                </a:cubicBezTo>
                <a:cubicBezTo>
                  <a:pt x="572952" y="110082"/>
                  <a:pt x="565283" y="108215"/>
                  <a:pt x="558908" y="104543"/>
                </a:cubicBezTo>
                <a:lnTo>
                  <a:pt x="558908" y="91413"/>
                </a:lnTo>
                <a:cubicBezTo>
                  <a:pt x="565681" y="95769"/>
                  <a:pt x="573350" y="98010"/>
                  <a:pt x="581916" y="98010"/>
                </a:cubicBezTo>
                <a:cubicBezTo>
                  <a:pt x="588091" y="98010"/>
                  <a:pt x="593270" y="96267"/>
                  <a:pt x="597453" y="92907"/>
                </a:cubicBezTo>
                <a:cubicBezTo>
                  <a:pt x="601636" y="89546"/>
                  <a:pt x="604873" y="84941"/>
                  <a:pt x="607164" y="79154"/>
                </a:cubicBezTo>
                <a:cubicBezTo>
                  <a:pt x="609554" y="73367"/>
                  <a:pt x="610998" y="66896"/>
                  <a:pt x="611496" y="59739"/>
                </a:cubicBezTo>
                <a:cubicBezTo>
                  <a:pt x="608409" y="63660"/>
                  <a:pt x="604724" y="66522"/>
                  <a:pt x="600441" y="68389"/>
                </a:cubicBezTo>
                <a:cubicBezTo>
                  <a:pt x="596158" y="70193"/>
                  <a:pt x="591527" y="71127"/>
                  <a:pt x="586547" y="71127"/>
                </a:cubicBezTo>
                <a:cubicBezTo>
                  <a:pt x="580172" y="71127"/>
                  <a:pt x="574396" y="69758"/>
                  <a:pt x="569217" y="67082"/>
                </a:cubicBezTo>
                <a:cubicBezTo>
                  <a:pt x="564038" y="64406"/>
                  <a:pt x="559904" y="60424"/>
                  <a:pt x="556817" y="55134"/>
                </a:cubicBezTo>
                <a:cubicBezTo>
                  <a:pt x="553829" y="49845"/>
                  <a:pt x="552335" y="43435"/>
                  <a:pt x="552335" y="35844"/>
                </a:cubicBezTo>
                <a:close/>
                <a:moveTo>
                  <a:pt x="588340" y="12134"/>
                </a:moveTo>
                <a:cubicBezTo>
                  <a:pt x="584555" y="12134"/>
                  <a:pt x="580969" y="13006"/>
                  <a:pt x="577583" y="14810"/>
                </a:cubicBezTo>
                <a:cubicBezTo>
                  <a:pt x="574296" y="16490"/>
                  <a:pt x="571607" y="19104"/>
                  <a:pt x="569516" y="22589"/>
                </a:cubicBezTo>
                <a:cubicBezTo>
                  <a:pt x="567524" y="25949"/>
                  <a:pt x="566528" y="30305"/>
                  <a:pt x="566528" y="35532"/>
                </a:cubicBezTo>
                <a:cubicBezTo>
                  <a:pt x="566528" y="40759"/>
                  <a:pt x="567524" y="45116"/>
                  <a:pt x="569516" y="48725"/>
                </a:cubicBezTo>
                <a:cubicBezTo>
                  <a:pt x="571508" y="52271"/>
                  <a:pt x="574047" y="54947"/>
                  <a:pt x="577135" y="56752"/>
                </a:cubicBezTo>
                <a:cubicBezTo>
                  <a:pt x="580222" y="58556"/>
                  <a:pt x="583459" y="59428"/>
                  <a:pt x="586846" y="59428"/>
                </a:cubicBezTo>
                <a:cubicBezTo>
                  <a:pt x="593419" y="59428"/>
                  <a:pt x="598897" y="57437"/>
                  <a:pt x="603279" y="53329"/>
                </a:cubicBezTo>
                <a:cubicBezTo>
                  <a:pt x="607761" y="49160"/>
                  <a:pt x="610002" y="43124"/>
                  <a:pt x="610002" y="35283"/>
                </a:cubicBezTo>
                <a:cubicBezTo>
                  <a:pt x="610002" y="28313"/>
                  <a:pt x="608060" y="22713"/>
                  <a:pt x="604176" y="18544"/>
                </a:cubicBezTo>
                <a:cubicBezTo>
                  <a:pt x="600291" y="14250"/>
                  <a:pt x="595013" y="12134"/>
                  <a:pt x="588340" y="12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9" name="Полилиния 1068">
            <a:extLst>
              <a:ext uri="{FF2B5EF4-FFF2-40B4-BE49-F238E27FC236}">
                <a16:creationId xmlns:a16="http://schemas.microsoft.com/office/drawing/2014/main" id="{1D0DC3B2-D5E4-230A-0638-301BC95EBC4C}"/>
              </a:ext>
            </a:extLst>
          </p:cNvPr>
          <p:cNvSpPr/>
          <p:nvPr userDrawn="1"/>
        </p:nvSpPr>
        <p:spPr>
          <a:xfrm>
            <a:off x="16903366" y="6692525"/>
            <a:ext cx="1398954" cy="726227"/>
          </a:xfrm>
          <a:custGeom>
            <a:avLst/>
            <a:gdLst>
              <a:gd name="connsiteX0" fmla="*/ 638 w 1198727"/>
              <a:gd name="connsiteY0" fmla="*/ 1422 h 622284"/>
              <a:gd name="connsiteX1" fmla="*/ 1199366 w 1198727"/>
              <a:gd name="connsiteY1" fmla="*/ 1422 h 622284"/>
              <a:gd name="connsiteX2" fmla="*/ 1199366 w 1198727"/>
              <a:gd name="connsiteY2" fmla="*/ 623706 h 622284"/>
              <a:gd name="connsiteX3" fmla="*/ 638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422"/>
                </a:moveTo>
                <a:lnTo>
                  <a:pt x="1199366" y="1422"/>
                </a:lnTo>
                <a:lnTo>
                  <a:pt x="1199366" y="623706"/>
                </a:lnTo>
                <a:lnTo>
                  <a:pt x="638" y="623706"/>
                </a:lnTo>
                <a:close/>
              </a:path>
            </a:pathLst>
          </a:custGeom>
          <a:solidFill>
            <a:srgbClr val="FF0F8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0" name="Полилиния 1069">
            <a:extLst>
              <a:ext uri="{FF2B5EF4-FFF2-40B4-BE49-F238E27FC236}">
                <a16:creationId xmlns:a16="http://schemas.microsoft.com/office/drawing/2014/main" id="{70C71351-24EC-435E-EE62-D985008B9D44}"/>
              </a:ext>
            </a:extLst>
          </p:cNvPr>
          <p:cNvSpPr/>
          <p:nvPr userDrawn="1"/>
        </p:nvSpPr>
        <p:spPr>
          <a:xfrm>
            <a:off x="17026576" y="6994491"/>
            <a:ext cx="688413" cy="128252"/>
          </a:xfrm>
          <a:custGeom>
            <a:avLst/>
            <a:gdLst>
              <a:gd name="connsiteX0" fmla="*/ 22111 w 589883"/>
              <a:gd name="connsiteY0" fmla="*/ 108402 h 109895"/>
              <a:gd name="connsiteX1" fmla="*/ 10159 w 589883"/>
              <a:gd name="connsiteY1" fmla="*/ 108402 h 109895"/>
              <a:gd name="connsiteX2" fmla="*/ 16433 w 589883"/>
              <a:gd name="connsiteY2" fmla="*/ 77475 h 109895"/>
              <a:gd name="connsiteX3" fmla="*/ 0 w 589883"/>
              <a:gd name="connsiteY3" fmla="*/ 77475 h 109895"/>
              <a:gd name="connsiteX4" fmla="*/ 0 w 589883"/>
              <a:gd name="connsiteY4" fmla="*/ 67020 h 109895"/>
              <a:gd name="connsiteX5" fmla="*/ 18675 w 589883"/>
              <a:gd name="connsiteY5" fmla="*/ 67020 h 109895"/>
              <a:gd name="connsiteX6" fmla="*/ 24202 w 589883"/>
              <a:gd name="connsiteY6" fmla="*/ 39826 h 109895"/>
              <a:gd name="connsiteX7" fmla="*/ 4033 w 589883"/>
              <a:gd name="connsiteY7" fmla="*/ 39826 h 109895"/>
              <a:gd name="connsiteX8" fmla="*/ 4033 w 589883"/>
              <a:gd name="connsiteY8" fmla="*/ 29372 h 109895"/>
              <a:gd name="connsiteX9" fmla="*/ 26294 w 589883"/>
              <a:gd name="connsiteY9" fmla="*/ 29372 h 109895"/>
              <a:gd name="connsiteX10" fmla="*/ 32120 w 589883"/>
              <a:gd name="connsiteY10" fmla="*/ 1307 h 109895"/>
              <a:gd name="connsiteX11" fmla="*/ 44072 w 589883"/>
              <a:gd name="connsiteY11" fmla="*/ 1307 h 109895"/>
              <a:gd name="connsiteX12" fmla="*/ 38246 w 589883"/>
              <a:gd name="connsiteY12" fmla="*/ 29372 h 109895"/>
              <a:gd name="connsiteX13" fmla="*/ 60655 w 589883"/>
              <a:gd name="connsiteY13" fmla="*/ 29372 h 109895"/>
              <a:gd name="connsiteX14" fmla="*/ 66482 w 589883"/>
              <a:gd name="connsiteY14" fmla="*/ 1307 h 109895"/>
              <a:gd name="connsiteX15" fmla="*/ 78434 w 589883"/>
              <a:gd name="connsiteY15" fmla="*/ 1307 h 109895"/>
              <a:gd name="connsiteX16" fmla="*/ 72607 w 589883"/>
              <a:gd name="connsiteY16" fmla="*/ 29372 h 109895"/>
              <a:gd name="connsiteX17" fmla="*/ 89340 w 589883"/>
              <a:gd name="connsiteY17" fmla="*/ 29372 h 109895"/>
              <a:gd name="connsiteX18" fmla="*/ 89340 w 589883"/>
              <a:gd name="connsiteY18" fmla="*/ 39826 h 109895"/>
              <a:gd name="connsiteX19" fmla="*/ 70516 w 589883"/>
              <a:gd name="connsiteY19" fmla="*/ 39826 h 109895"/>
              <a:gd name="connsiteX20" fmla="*/ 64988 w 589883"/>
              <a:gd name="connsiteY20" fmla="*/ 67020 h 109895"/>
              <a:gd name="connsiteX21" fmla="*/ 85306 w 589883"/>
              <a:gd name="connsiteY21" fmla="*/ 67020 h 109895"/>
              <a:gd name="connsiteX22" fmla="*/ 85306 w 589883"/>
              <a:gd name="connsiteY22" fmla="*/ 77475 h 109895"/>
              <a:gd name="connsiteX23" fmla="*/ 62747 w 589883"/>
              <a:gd name="connsiteY23" fmla="*/ 77475 h 109895"/>
              <a:gd name="connsiteX24" fmla="*/ 56472 w 589883"/>
              <a:gd name="connsiteY24" fmla="*/ 108402 h 109895"/>
              <a:gd name="connsiteX25" fmla="*/ 44520 w 589883"/>
              <a:gd name="connsiteY25" fmla="*/ 108402 h 109895"/>
              <a:gd name="connsiteX26" fmla="*/ 50795 w 589883"/>
              <a:gd name="connsiteY26" fmla="*/ 77475 h 109895"/>
              <a:gd name="connsiteX27" fmla="*/ 28386 w 589883"/>
              <a:gd name="connsiteY27" fmla="*/ 77475 h 109895"/>
              <a:gd name="connsiteX28" fmla="*/ 22111 w 589883"/>
              <a:gd name="connsiteY28" fmla="*/ 108402 h 109895"/>
              <a:gd name="connsiteX29" fmla="*/ 30626 w 589883"/>
              <a:gd name="connsiteY29" fmla="*/ 67020 h 109895"/>
              <a:gd name="connsiteX30" fmla="*/ 53036 w 589883"/>
              <a:gd name="connsiteY30" fmla="*/ 67020 h 109895"/>
              <a:gd name="connsiteX31" fmla="*/ 58564 w 589883"/>
              <a:gd name="connsiteY31" fmla="*/ 39826 h 109895"/>
              <a:gd name="connsiteX32" fmla="*/ 36154 w 589883"/>
              <a:gd name="connsiteY32" fmla="*/ 39826 h 109895"/>
              <a:gd name="connsiteX33" fmla="*/ 30626 w 589883"/>
              <a:gd name="connsiteY33" fmla="*/ 67020 h 109895"/>
              <a:gd name="connsiteX34" fmla="*/ 107827 w 589883"/>
              <a:gd name="connsiteY34" fmla="*/ 1307 h 109895"/>
              <a:gd name="connsiteX35" fmla="*/ 173264 w 589883"/>
              <a:gd name="connsiteY35" fmla="*/ 1307 h 109895"/>
              <a:gd name="connsiteX36" fmla="*/ 173264 w 589883"/>
              <a:gd name="connsiteY36" fmla="*/ 14188 h 109895"/>
              <a:gd name="connsiteX37" fmla="*/ 121871 w 589883"/>
              <a:gd name="connsiteY37" fmla="*/ 14188 h 109895"/>
              <a:gd name="connsiteX38" fmla="*/ 121871 w 589883"/>
              <a:gd name="connsiteY38" fmla="*/ 49720 h 109895"/>
              <a:gd name="connsiteX39" fmla="*/ 165495 w 589883"/>
              <a:gd name="connsiteY39" fmla="*/ 49720 h 109895"/>
              <a:gd name="connsiteX40" fmla="*/ 165495 w 589883"/>
              <a:gd name="connsiteY40" fmla="*/ 62415 h 109895"/>
              <a:gd name="connsiteX41" fmla="*/ 121871 w 589883"/>
              <a:gd name="connsiteY41" fmla="*/ 62415 h 109895"/>
              <a:gd name="connsiteX42" fmla="*/ 121871 w 589883"/>
              <a:gd name="connsiteY42" fmla="*/ 108402 h 109895"/>
              <a:gd name="connsiteX43" fmla="*/ 107827 w 589883"/>
              <a:gd name="connsiteY43" fmla="*/ 108402 h 109895"/>
              <a:gd name="connsiteX44" fmla="*/ 107827 w 589883"/>
              <a:gd name="connsiteY44" fmla="*/ 1307 h 109895"/>
              <a:gd name="connsiteX45" fmla="*/ 192735 w 589883"/>
              <a:gd name="connsiteY45" fmla="*/ 1307 h 109895"/>
              <a:gd name="connsiteX46" fmla="*/ 258171 w 589883"/>
              <a:gd name="connsiteY46" fmla="*/ 1307 h 109895"/>
              <a:gd name="connsiteX47" fmla="*/ 258171 w 589883"/>
              <a:gd name="connsiteY47" fmla="*/ 14188 h 109895"/>
              <a:gd name="connsiteX48" fmla="*/ 206778 w 589883"/>
              <a:gd name="connsiteY48" fmla="*/ 14188 h 109895"/>
              <a:gd name="connsiteX49" fmla="*/ 206778 w 589883"/>
              <a:gd name="connsiteY49" fmla="*/ 49720 h 109895"/>
              <a:gd name="connsiteX50" fmla="*/ 250402 w 589883"/>
              <a:gd name="connsiteY50" fmla="*/ 49720 h 109895"/>
              <a:gd name="connsiteX51" fmla="*/ 250402 w 589883"/>
              <a:gd name="connsiteY51" fmla="*/ 62415 h 109895"/>
              <a:gd name="connsiteX52" fmla="*/ 206778 w 589883"/>
              <a:gd name="connsiteY52" fmla="*/ 62415 h 109895"/>
              <a:gd name="connsiteX53" fmla="*/ 206778 w 589883"/>
              <a:gd name="connsiteY53" fmla="*/ 108402 h 109895"/>
              <a:gd name="connsiteX54" fmla="*/ 192735 w 589883"/>
              <a:gd name="connsiteY54" fmla="*/ 108402 h 109895"/>
              <a:gd name="connsiteX55" fmla="*/ 192735 w 589883"/>
              <a:gd name="connsiteY55" fmla="*/ 1307 h 109895"/>
              <a:gd name="connsiteX56" fmla="*/ 306483 w 589883"/>
              <a:gd name="connsiteY56" fmla="*/ 109896 h 109895"/>
              <a:gd name="connsiteX57" fmla="*/ 288256 w 589883"/>
              <a:gd name="connsiteY57" fmla="*/ 104047 h 109895"/>
              <a:gd name="connsiteX58" fmla="*/ 275557 w 589883"/>
              <a:gd name="connsiteY58" fmla="*/ 86125 h 109895"/>
              <a:gd name="connsiteX59" fmla="*/ 271075 w 589883"/>
              <a:gd name="connsiteY59" fmla="*/ 54761 h 109895"/>
              <a:gd name="connsiteX60" fmla="*/ 275557 w 589883"/>
              <a:gd name="connsiteY60" fmla="*/ 23398 h 109895"/>
              <a:gd name="connsiteX61" fmla="*/ 288256 w 589883"/>
              <a:gd name="connsiteY61" fmla="*/ 5663 h 109895"/>
              <a:gd name="connsiteX62" fmla="*/ 306483 w 589883"/>
              <a:gd name="connsiteY62" fmla="*/ 0 h 109895"/>
              <a:gd name="connsiteX63" fmla="*/ 324560 w 589883"/>
              <a:gd name="connsiteY63" fmla="*/ 5663 h 109895"/>
              <a:gd name="connsiteX64" fmla="*/ 336960 w 589883"/>
              <a:gd name="connsiteY64" fmla="*/ 23398 h 109895"/>
              <a:gd name="connsiteX65" fmla="*/ 341441 w 589883"/>
              <a:gd name="connsiteY65" fmla="*/ 54512 h 109895"/>
              <a:gd name="connsiteX66" fmla="*/ 336960 w 589883"/>
              <a:gd name="connsiteY66" fmla="*/ 85876 h 109895"/>
              <a:gd name="connsiteX67" fmla="*/ 324560 w 589883"/>
              <a:gd name="connsiteY67" fmla="*/ 104047 h 109895"/>
              <a:gd name="connsiteX68" fmla="*/ 306483 w 589883"/>
              <a:gd name="connsiteY68" fmla="*/ 109896 h 109895"/>
              <a:gd name="connsiteX69" fmla="*/ 306333 w 589883"/>
              <a:gd name="connsiteY69" fmla="*/ 98072 h 109895"/>
              <a:gd name="connsiteX70" fmla="*/ 317687 w 589883"/>
              <a:gd name="connsiteY70" fmla="*/ 94089 h 109895"/>
              <a:gd name="connsiteX71" fmla="*/ 324858 w 589883"/>
              <a:gd name="connsiteY71" fmla="*/ 80462 h 109895"/>
              <a:gd name="connsiteX72" fmla="*/ 327398 w 589883"/>
              <a:gd name="connsiteY72" fmla="*/ 54948 h 109895"/>
              <a:gd name="connsiteX73" fmla="*/ 325008 w 589883"/>
              <a:gd name="connsiteY73" fmla="*/ 29559 h 109895"/>
              <a:gd name="connsiteX74" fmla="*/ 317837 w 589883"/>
              <a:gd name="connsiteY74" fmla="*/ 15931 h 109895"/>
              <a:gd name="connsiteX75" fmla="*/ 306483 w 589883"/>
              <a:gd name="connsiteY75" fmla="*/ 11761 h 109895"/>
              <a:gd name="connsiteX76" fmla="*/ 294979 w 589883"/>
              <a:gd name="connsiteY76" fmla="*/ 15931 h 109895"/>
              <a:gd name="connsiteX77" fmla="*/ 287659 w 589883"/>
              <a:gd name="connsiteY77" fmla="*/ 29559 h 109895"/>
              <a:gd name="connsiteX78" fmla="*/ 285119 w 589883"/>
              <a:gd name="connsiteY78" fmla="*/ 54948 h 109895"/>
              <a:gd name="connsiteX79" fmla="*/ 287509 w 589883"/>
              <a:gd name="connsiteY79" fmla="*/ 80462 h 109895"/>
              <a:gd name="connsiteX80" fmla="*/ 294830 w 589883"/>
              <a:gd name="connsiteY80" fmla="*/ 94089 h 109895"/>
              <a:gd name="connsiteX81" fmla="*/ 306333 w 589883"/>
              <a:gd name="connsiteY81" fmla="*/ 98072 h 109895"/>
              <a:gd name="connsiteX82" fmla="*/ 359786 w 589883"/>
              <a:gd name="connsiteY82" fmla="*/ 1307 h 109895"/>
              <a:gd name="connsiteX83" fmla="*/ 425223 w 589883"/>
              <a:gd name="connsiteY83" fmla="*/ 1307 h 109895"/>
              <a:gd name="connsiteX84" fmla="*/ 425223 w 589883"/>
              <a:gd name="connsiteY84" fmla="*/ 14188 h 109895"/>
              <a:gd name="connsiteX85" fmla="*/ 373830 w 589883"/>
              <a:gd name="connsiteY85" fmla="*/ 14188 h 109895"/>
              <a:gd name="connsiteX86" fmla="*/ 373830 w 589883"/>
              <a:gd name="connsiteY86" fmla="*/ 49720 h 109895"/>
              <a:gd name="connsiteX87" fmla="*/ 417454 w 589883"/>
              <a:gd name="connsiteY87" fmla="*/ 49720 h 109895"/>
              <a:gd name="connsiteX88" fmla="*/ 417454 w 589883"/>
              <a:gd name="connsiteY88" fmla="*/ 62415 h 109895"/>
              <a:gd name="connsiteX89" fmla="*/ 373830 w 589883"/>
              <a:gd name="connsiteY89" fmla="*/ 62415 h 109895"/>
              <a:gd name="connsiteX90" fmla="*/ 373830 w 589883"/>
              <a:gd name="connsiteY90" fmla="*/ 108402 h 109895"/>
              <a:gd name="connsiteX91" fmla="*/ 359786 w 589883"/>
              <a:gd name="connsiteY91" fmla="*/ 108402 h 109895"/>
              <a:gd name="connsiteX92" fmla="*/ 359786 w 589883"/>
              <a:gd name="connsiteY92" fmla="*/ 1307 h 109895"/>
              <a:gd name="connsiteX93" fmla="*/ 473683 w 589883"/>
              <a:gd name="connsiteY93" fmla="*/ 109896 h 109895"/>
              <a:gd name="connsiteX94" fmla="*/ 455009 w 589883"/>
              <a:gd name="connsiteY94" fmla="*/ 106287 h 109895"/>
              <a:gd name="connsiteX95" fmla="*/ 442310 w 589883"/>
              <a:gd name="connsiteY95" fmla="*/ 96019 h 109895"/>
              <a:gd name="connsiteX96" fmla="*/ 437678 w 589883"/>
              <a:gd name="connsiteY96" fmla="*/ 79590 h 109895"/>
              <a:gd name="connsiteX97" fmla="*/ 443057 w 589883"/>
              <a:gd name="connsiteY97" fmla="*/ 62105 h 109895"/>
              <a:gd name="connsiteX98" fmla="*/ 457847 w 589883"/>
              <a:gd name="connsiteY98" fmla="*/ 51525 h 109895"/>
              <a:gd name="connsiteX99" fmla="*/ 445895 w 589883"/>
              <a:gd name="connsiteY99" fmla="*/ 42378 h 109895"/>
              <a:gd name="connsiteX100" fmla="*/ 441563 w 589883"/>
              <a:gd name="connsiteY100" fmla="*/ 27318 h 109895"/>
              <a:gd name="connsiteX101" fmla="*/ 445746 w 589883"/>
              <a:gd name="connsiteY101" fmla="*/ 12383 h 109895"/>
              <a:gd name="connsiteX102" fmla="*/ 457249 w 589883"/>
              <a:gd name="connsiteY102" fmla="*/ 3111 h 109895"/>
              <a:gd name="connsiteX103" fmla="*/ 473683 w 589883"/>
              <a:gd name="connsiteY103" fmla="*/ 0 h 109895"/>
              <a:gd name="connsiteX104" fmla="*/ 489818 w 589883"/>
              <a:gd name="connsiteY104" fmla="*/ 3111 h 109895"/>
              <a:gd name="connsiteX105" fmla="*/ 501172 w 589883"/>
              <a:gd name="connsiteY105" fmla="*/ 12073 h 109895"/>
              <a:gd name="connsiteX106" fmla="*/ 505505 w 589883"/>
              <a:gd name="connsiteY106" fmla="*/ 27008 h 109895"/>
              <a:gd name="connsiteX107" fmla="*/ 501023 w 589883"/>
              <a:gd name="connsiteY107" fmla="*/ 42253 h 109895"/>
              <a:gd name="connsiteX108" fmla="*/ 489221 w 589883"/>
              <a:gd name="connsiteY108" fmla="*/ 51525 h 109895"/>
              <a:gd name="connsiteX109" fmla="*/ 503563 w 589883"/>
              <a:gd name="connsiteY109" fmla="*/ 61669 h 109895"/>
              <a:gd name="connsiteX110" fmla="*/ 509090 w 589883"/>
              <a:gd name="connsiteY110" fmla="*/ 79155 h 109895"/>
              <a:gd name="connsiteX111" fmla="*/ 504459 w 589883"/>
              <a:gd name="connsiteY111" fmla="*/ 95707 h 109895"/>
              <a:gd name="connsiteX112" fmla="*/ 491760 w 589883"/>
              <a:gd name="connsiteY112" fmla="*/ 106287 h 109895"/>
              <a:gd name="connsiteX113" fmla="*/ 473683 w 589883"/>
              <a:gd name="connsiteY113" fmla="*/ 109896 h 109895"/>
              <a:gd name="connsiteX114" fmla="*/ 473683 w 589883"/>
              <a:gd name="connsiteY114" fmla="*/ 46111 h 109895"/>
              <a:gd name="connsiteX115" fmla="*/ 486681 w 589883"/>
              <a:gd name="connsiteY115" fmla="*/ 41631 h 109895"/>
              <a:gd name="connsiteX116" fmla="*/ 491910 w 589883"/>
              <a:gd name="connsiteY116" fmla="*/ 28936 h 109895"/>
              <a:gd name="connsiteX117" fmla="*/ 486681 w 589883"/>
              <a:gd name="connsiteY117" fmla="*/ 16428 h 109895"/>
              <a:gd name="connsiteX118" fmla="*/ 473683 w 589883"/>
              <a:gd name="connsiteY118" fmla="*/ 11761 h 109895"/>
              <a:gd name="connsiteX119" fmla="*/ 460387 w 589883"/>
              <a:gd name="connsiteY119" fmla="*/ 16428 h 109895"/>
              <a:gd name="connsiteX120" fmla="*/ 455158 w 589883"/>
              <a:gd name="connsiteY120" fmla="*/ 28936 h 109895"/>
              <a:gd name="connsiteX121" fmla="*/ 460387 w 589883"/>
              <a:gd name="connsiteY121" fmla="*/ 41631 h 109895"/>
              <a:gd name="connsiteX122" fmla="*/ 473683 w 589883"/>
              <a:gd name="connsiteY122" fmla="*/ 46111 h 109895"/>
              <a:gd name="connsiteX123" fmla="*/ 473683 w 589883"/>
              <a:gd name="connsiteY123" fmla="*/ 98072 h 109895"/>
              <a:gd name="connsiteX124" fmla="*/ 489071 w 589883"/>
              <a:gd name="connsiteY124" fmla="*/ 92721 h 109895"/>
              <a:gd name="connsiteX125" fmla="*/ 495346 w 589883"/>
              <a:gd name="connsiteY125" fmla="*/ 77350 h 109895"/>
              <a:gd name="connsiteX126" fmla="*/ 489071 w 589883"/>
              <a:gd name="connsiteY126" fmla="*/ 62105 h 109895"/>
              <a:gd name="connsiteX127" fmla="*/ 473683 w 589883"/>
              <a:gd name="connsiteY127" fmla="*/ 56566 h 109895"/>
              <a:gd name="connsiteX128" fmla="*/ 457698 w 589883"/>
              <a:gd name="connsiteY128" fmla="*/ 62105 h 109895"/>
              <a:gd name="connsiteX129" fmla="*/ 451423 w 589883"/>
              <a:gd name="connsiteY129" fmla="*/ 77350 h 109895"/>
              <a:gd name="connsiteX130" fmla="*/ 457698 w 589883"/>
              <a:gd name="connsiteY130" fmla="*/ 92721 h 109895"/>
              <a:gd name="connsiteX131" fmla="*/ 473683 w 589883"/>
              <a:gd name="connsiteY131" fmla="*/ 98072 h 109895"/>
              <a:gd name="connsiteX132" fmla="*/ 589883 w 589883"/>
              <a:gd name="connsiteY132" fmla="*/ 13442 h 109895"/>
              <a:gd name="connsiteX133" fmla="*/ 544467 w 589883"/>
              <a:gd name="connsiteY133" fmla="*/ 108402 h 109895"/>
              <a:gd name="connsiteX134" fmla="*/ 529825 w 589883"/>
              <a:gd name="connsiteY134" fmla="*/ 108402 h 109895"/>
              <a:gd name="connsiteX135" fmla="*/ 575541 w 589883"/>
              <a:gd name="connsiteY135" fmla="*/ 14188 h 109895"/>
              <a:gd name="connsiteX136" fmla="*/ 521011 w 589883"/>
              <a:gd name="connsiteY136" fmla="*/ 14188 h 109895"/>
              <a:gd name="connsiteX137" fmla="*/ 521011 w 589883"/>
              <a:gd name="connsiteY137" fmla="*/ 1307 h 109895"/>
              <a:gd name="connsiteX138" fmla="*/ 589883 w 589883"/>
              <a:gd name="connsiteY138" fmla="*/ 1307 h 109895"/>
              <a:gd name="connsiteX139" fmla="*/ 589883 w 589883"/>
              <a:gd name="connsiteY139" fmla="*/ 1344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589883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306483" y="109896"/>
                </a:moveTo>
                <a:cubicBezTo>
                  <a:pt x="299710" y="109896"/>
                  <a:pt x="293634" y="107967"/>
                  <a:pt x="288256" y="104047"/>
                </a:cubicBezTo>
                <a:cubicBezTo>
                  <a:pt x="282878" y="100188"/>
                  <a:pt x="278645" y="94214"/>
                  <a:pt x="275557" y="86125"/>
                </a:cubicBezTo>
                <a:cubicBezTo>
                  <a:pt x="272569" y="77972"/>
                  <a:pt x="271075" y="67518"/>
                  <a:pt x="271075" y="54761"/>
                </a:cubicBezTo>
                <a:cubicBezTo>
                  <a:pt x="271075" y="41942"/>
                  <a:pt x="272569" y="31488"/>
                  <a:pt x="275557" y="23398"/>
                </a:cubicBezTo>
                <a:cubicBezTo>
                  <a:pt x="278645" y="15371"/>
                  <a:pt x="282878" y="9459"/>
                  <a:pt x="288256" y="5663"/>
                </a:cubicBezTo>
                <a:cubicBezTo>
                  <a:pt x="293634" y="1867"/>
                  <a:pt x="299710" y="0"/>
                  <a:pt x="306483" y="0"/>
                </a:cubicBezTo>
                <a:cubicBezTo>
                  <a:pt x="313255" y="0"/>
                  <a:pt x="319281" y="1867"/>
                  <a:pt x="324560" y="5663"/>
                </a:cubicBezTo>
                <a:cubicBezTo>
                  <a:pt x="329839" y="9459"/>
                  <a:pt x="333972" y="15371"/>
                  <a:pt x="336960" y="23398"/>
                </a:cubicBezTo>
                <a:cubicBezTo>
                  <a:pt x="339948" y="31363"/>
                  <a:pt x="341441" y="41756"/>
                  <a:pt x="341441" y="54512"/>
                </a:cubicBezTo>
                <a:cubicBezTo>
                  <a:pt x="341441" y="67145"/>
                  <a:pt x="339948" y="77599"/>
                  <a:pt x="336960" y="85876"/>
                </a:cubicBezTo>
                <a:cubicBezTo>
                  <a:pt x="333972" y="94027"/>
                  <a:pt x="329839" y="100064"/>
                  <a:pt x="324560" y="104047"/>
                </a:cubicBezTo>
                <a:cubicBezTo>
                  <a:pt x="319281" y="107967"/>
                  <a:pt x="313255" y="109896"/>
                  <a:pt x="306483" y="109896"/>
                </a:cubicBezTo>
                <a:close/>
                <a:moveTo>
                  <a:pt x="306333" y="98072"/>
                </a:moveTo>
                <a:cubicBezTo>
                  <a:pt x="310815" y="98072"/>
                  <a:pt x="314600" y="96766"/>
                  <a:pt x="317687" y="94089"/>
                </a:cubicBezTo>
                <a:cubicBezTo>
                  <a:pt x="320875" y="91289"/>
                  <a:pt x="323265" y="86747"/>
                  <a:pt x="324858" y="80462"/>
                </a:cubicBezTo>
                <a:cubicBezTo>
                  <a:pt x="326552" y="74114"/>
                  <a:pt x="327398" y="65589"/>
                  <a:pt x="327398" y="54948"/>
                </a:cubicBezTo>
                <a:cubicBezTo>
                  <a:pt x="327398" y="44307"/>
                  <a:pt x="326601" y="35844"/>
                  <a:pt x="325008" y="29559"/>
                </a:cubicBezTo>
                <a:cubicBezTo>
                  <a:pt x="323414" y="23150"/>
                  <a:pt x="321024" y="18669"/>
                  <a:pt x="317837" y="15931"/>
                </a:cubicBezTo>
                <a:cubicBezTo>
                  <a:pt x="314749" y="13192"/>
                  <a:pt x="310964" y="11761"/>
                  <a:pt x="306483" y="11761"/>
                </a:cubicBezTo>
                <a:cubicBezTo>
                  <a:pt x="302000" y="11761"/>
                  <a:pt x="298166" y="13192"/>
                  <a:pt x="294979" y="15931"/>
                </a:cubicBezTo>
                <a:cubicBezTo>
                  <a:pt x="291792" y="18669"/>
                  <a:pt x="289352" y="23150"/>
                  <a:pt x="287659" y="29559"/>
                </a:cubicBezTo>
                <a:cubicBezTo>
                  <a:pt x="285965" y="35844"/>
                  <a:pt x="285119" y="44307"/>
                  <a:pt x="285119" y="54948"/>
                </a:cubicBezTo>
                <a:cubicBezTo>
                  <a:pt x="285119" y="65589"/>
                  <a:pt x="285915" y="74114"/>
                  <a:pt x="287509" y="80462"/>
                </a:cubicBezTo>
                <a:cubicBezTo>
                  <a:pt x="289202" y="86747"/>
                  <a:pt x="291642" y="91289"/>
                  <a:pt x="294830" y="94089"/>
                </a:cubicBezTo>
                <a:cubicBezTo>
                  <a:pt x="298017" y="96766"/>
                  <a:pt x="301851" y="98072"/>
                  <a:pt x="306333" y="98072"/>
                </a:cubicBezTo>
                <a:close/>
                <a:moveTo>
                  <a:pt x="359786" y="1307"/>
                </a:moveTo>
                <a:lnTo>
                  <a:pt x="425223" y="1307"/>
                </a:lnTo>
                <a:lnTo>
                  <a:pt x="425223" y="14188"/>
                </a:lnTo>
                <a:lnTo>
                  <a:pt x="373830" y="14188"/>
                </a:lnTo>
                <a:lnTo>
                  <a:pt x="373830" y="49720"/>
                </a:lnTo>
                <a:lnTo>
                  <a:pt x="417454" y="49720"/>
                </a:lnTo>
                <a:lnTo>
                  <a:pt x="417454" y="62415"/>
                </a:lnTo>
                <a:lnTo>
                  <a:pt x="373830" y="62415"/>
                </a:lnTo>
                <a:lnTo>
                  <a:pt x="373830" y="108402"/>
                </a:lnTo>
                <a:lnTo>
                  <a:pt x="359786" y="108402"/>
                </a:lnTo>
                <a:lnTo>
                  <a:pt x="359786" y="1307"/>
                </a:lnTo>
                <a:close/>
                <a:moveTo>
                  <a:pt x="473683" y="109896"/>
                </a:moveTo>
                <a:cubicBezTo>
                  <a:pt x="466711" y="109896"/>
                  <a:pt x="460486" y="108714"/>
                  <a:pt x="455009" y="106287"/>
                </a:cubicBezTo>
                <a:cubicBezTo>
                  <a:pt x="449630" y="103922"/>
                  <a:pt x="445397" y="100499"/>
                  <a:pt x="442310" y="96019"/>
                </a:cubicBezTo>
                <a:cubicBezTo>
                  <a:pt x="439222" y="91414"/>
                  <a:pt x="437678" y="85938"/>
                  <a:pt x="437678" y="79590"/>
                </a:cubicBezTo>
                <a:cubicBezTo>
                  <a:pt x="437678" y="72683"/>
                  <a:pt x="439471" y="66896"/>
                  <a:pt x="443057" y="62105"/>
                </a:cubicBezTo>
                <a:cubicBezTo>
                  <a:pt x="446742" y="57251"/>
                  <a:pt x="451672" y="53703"/>
                  <a:pt x="457847" y="51525"/>
                </a:cubicBezTo>
                <a:cubicBezTo>
                  <a:pt x="452867" y="49534"/>
                  <a:pt x="448883" y="46485"/>
                  <a:pt x="445895" y="42378"/>
                </a:cubicBezTo>
                <a:cubicBezTo>
                  <a:pt x="443007" y="38333"/>
                  <a:pt x="441563" y="33293"/>
                  <a:pt x="441563" y="27318"/>
                </a:cubicBezTo>
                <a:cubicBezTo>
                  <a:pt x="441563" y="21407"/>
                  <a:pt x="442957" y="16428"/>
                  <a:pt x="445746" y="12383"/>
                </a:cubicBezTo>
                <a:cubicBezTo>
                  <a:pt x="448535" y="8277"/>
                  <a:pt x="452369" y="5228"/>
                  <a:pt x="457249" y="3111"/>
                </a:cubicBezTo>
                <a:cubicBezTo>
                  <a:pt x="462130" y="996"/>
                  <a:pt x="467608" y="0"/>
                  <a:pt x="473683" y="0"/>
                </a:cubicBezTo>
                <a:cubicBezTo>
                  <a:pt x="479659" y="0"/>
                  <a:pt x="485038" y="996"/>
                  <a:pt x="489818" y="3111"/>
                </a:cubicBezTo>
                <a:cubicBezTo>
                  <a:pt x="494599" y="5103"/>
                  <a:pt x="498384" y="8090"/>
                  <a:pt x="501172" y="12073"/>
                </a:cubicBezTo>
                <a:cubicBezTo>
                  <a:pt x="504061" y="16055"/>
                  <a:pt x="505505" y="21033"/>
                  <a:pt x="505505" y="27008"/>
                </a:cubicBezTo>
                <a:cubicBezTo>
                  <a:pt x="505505" y="33106"/>
                  <a:pt x="504011" y="38146"/>
                  <a:pt x="501023" y="42253"/>
                </a:cubicBezTo>
                <a:cubicBezTo>
                  <a:pt x="498035" y="46298"/>
                  <a:pt x="494101" y="49410"/>
                  <a:pt x="489221" y="51525"/>
                </a:cubicBezTo>
                <a:cubicBezTo>
                  <a:pt x="495196" y="53579"/>
                  <a:pt x="499977" y="57001"/>
                  <a:pt x="503563" y="61669"/>
                </a:cubicBezTo>
                <a:cubicBezTo>
                  <a:pt x="507248" y="66336"/>
                  <a:pt x="509090" y="72186"/>
                  <a:pt x="509090" y="79155"/>
                </a:cubicBezTo>
                <a:cubicBezTo>
                  <a:pt x="509090" y="85502"/>
                  <a:pt x="507547" y="91040"/>
                  <a:pt x="504459" y="95707"/>
                </a:cubicBezTo>
                <a:cubicBezTo>
                  <a:pt x="501372" y="100312"/>
                  <a:pt x="497139" y="103797"/>
                  <a:pt x="491760" y="106287"/>
                </a:cubicBezTo>
                <a:cubicBezTo>
                  <a:pt x="486482" y="108714"/>
                  <a:pt x="480456" y="109896"/>
                  <a:pt x="473683" y="109896"/>
                </a:cubicBezTo>
                <a:close/>
                <a:moveTo>
                  <a:pt x="473683" y="46111"/>
                </a:moveTo>
                <a:cubicBezTo>
                  <a:pt x="478962" y="46111"/>
                  <a:pt x="483294" y="44618"/>
                  <a:pt x="486681" y="41631"/>
                </a:cubicBezTo>
                <a:cubicBezTo>
                  <a:pt x="490167" y="38582"/>
                  <a:pt x="491910" y="34350"/>
                  <a:pt x="491910" y="28936"/>
                </a:cubicBezTo>
                <a:cubicBezTo>
                  <a:pt x="491910" y="23585"/>
                  <a:pt x="490167" y="19415"/>
                  <a:pt x="486681" y="16428"/>
                </a:cubicBezTo>
                <a:cubicBezTo>
                  <a:pt x="483294" y="13317"/>
                  <a:pt x="478962" y="11761"/>
                  <a:pt x="473683" y="11761"/>
                </a:cubicBezTo>
                <a:cubicBezTo>
                  <a:pt x="468405" y="11761"/>
                  <a:pt x="463972" y="13317"/>
                  <a:pt x="460387" y="16428"/>
                </a:cubicBezTo>
                <a:cubicBezTo>
                  <a:pt x="456901" y="19415"/>
                  <a:pt x="455158" y="23585"/>
                  <a:pt x="455158" y="28936"/>
                </a:cubicBezTo>
                <a:cubicBezTo>
                  <a:pt x="455158" y="34350"/>
                  <a:pt x="456901" y="38582"/>
                  <a:pt x="460387" y="41631"/>
                </a:cubicBezTo>
                <a:cubicBezTo>
                  <a:pt x="463972" y="44618"/>
                  <a:pt x="468405" y="46111"/>
                  <a:pt x="473683" y="46111"/>
                </a:cubicBezTo>
                <a:close/>
                <a:moveTo>
                  <a:pt x="473683" y="98072"/>
                </a:moveTo>
                <a:cubicBezTo>
                  <a:pt x="479858" y="98072"/>
                  <a:pt x="484987" y="96330"/>
                  <a:pt x="489071" y="92721"/>
                </a:cubicBezTo>
                <a:cubicBezTo>
                  <a:pt x="493254" y="89049"/>
                  <a:pt x="495346" y="83885"/>
                  <a:pt x="495346" y="77350"/>
                </a:cubicBezTo>
                <a:cubicBezTo>
                  <a:pt x="495346" y="70754"/>
                  <a:pt x="493254" y="65714"/>
                  <a:pt x="489071" y="62105"/>
                </a:cubicBezTo>
                <a:cubicBezTo>
                  <a:pt x="484987" y="58433"/>
                  <a:pt x="479858" y="56566"/>
                  <a:pt x="473683" y="56566"/>
                </a:cubicBezTo>
                <a:cubicBezTo>
                  <a:pt x="467309" y="56566"/>
                  <a:pt x="461980" y="58433"/>
                  <a:pt x="457698" y="62105"/>
                </a:cubicBezTo>
                <a:cubicBezTo>
                  <a:pt x="453515" y="65714"/>
                  <a:pt x="451423" y="70754"/>
                  <a:pt x="451423" y="77350"/>
                </a:cubicBezTo>
                <a:cubicBezTo>
                  <a:pt x="451423" y="83885"/>
                  <a:pt x="453515" y="89049"/>
                  <a:pt x="457698" y="92721"/>
                </a:cubicBezTo>
                <a:cubicBezTo>
                  <a:pt x="461980" y="96330"/>
                  <a:pt x="467309" y="98072"/>
                  <a:pt x="473683" y="98072"/>
                </a:cubicBezTo>
                <a:close/>
                <a:moveTo>
                  <a:pt x="589883" y="13442"/>
                </a:moveTo>
                <a:lnTo>
                  <a:pt x="544467" y="108402"/>
                </a:lnTo>
                <a:lnTo>
                  <a:pt x="529825" y="108402"/>
                </a:lnTo>
                <a:lnTo>
                  <a:pt x="575541" y="14188"/>
                </a:lnTo>
                <a:lnTo>
                  <a:pt x="521011" y="14188"/>
                </a:lnTo>
                <a:lnTo>
                  <a:pt x="521011" y="1307"/>
                </a:lnTo>
                <a:lnTo>
                  <a:pt x="589883" y="1307"/>
                </a:lnTo>
                <a:lnTo>
                  <a:pt x="589883" y="1344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1" name="Полилиния 1070">
            <a:extLst>
              <a:ext uri="{FF2B5EF4-FFF2-40B4-BE49-F238E27FC236}">
                <a16:creationId xmlns:a16="http://schemas.microsoft.com/office/drawing/2014/main" id="{484322D5-3751-1149-E249-53C2EBA1CE5C}"/>
              </a:ext>
            </a:extLst>
          </p:cNvPr>
          <p:cNvSpPr/>
          <p:nvPr userDrawn="1"/>
        </p:nvSpPr>
        <p:spPr>
          <a:xfrm>
            <a:off x="16903366" y="7418752"/>
            <a:ext cx="1398954" cy="726227"/>
          </a:xfrm>
          <a:custGeom>
            <a:avLst/>
            <a:gdLst>
              <a:gd name="connsiteX0" fmla="*/ 638 w 1198727"/>
              <a:gd name="connsiteY0" fmla="*/ 1522 h 622284"/>
              <a:gd name="connsiteX1" fmla="*/ 1199366 w 1198727"/>
              <a:gd name="connsiteY1" fmla="*/ 1522 h 622284"/>
              <a:gd name="connsiteX2" fmla="*/ 1199366 w 1198727"/>
              <a:gd name="connsiteY2" fmla="*/ 623806 h 622284"/>
              <a:gd name="connsiteX3" fmla="*/ 638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522"/>
                </a:moveTo>
                <a:lnTo>
                  <a:pt x="1199366" y="1522"/>
                </a:lnTo>
                <a:lnTo>
                  <a:pt x="1199366" y="623806"/>
                </a:lnTo>
                <a:lnTo>
                  <a:pt x="638" y="623806"/>
                </a:lnTo>
                <a:close/>
              </a:path>
            </a:pathLst>
          </a:custGeom>
          <a:solidFill>
            <a:srgbClr val="FF32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2" name="Полилиния 1071">
            <a:extLst>
              <a:ext uri="{FF2B5EF4-FFF2-40B4-BE49-F238E27FC236}">
                <a16:creationId xmlns:a16="http://schemas.microsoft.com/office/drawing/2014/main" id="{94783F3B-6ED1-B01F-6AE5-EF956365D2D0}"/>
              </a:ext>
            </a:extLst>
          </p:cNvPr>
          <p:cNvSpPr/>
          <p:nvPr userDrawn="1"/>
        </p:nvSpPr>
        <p:spPr>
          <a:xfrm>
            <a:off x="17026576" y="7720500"/>
            <a:ext cx="687970" cy="128468"/>
          </a:xfrm>
          <a:custGeom>
            <a:avLst/>
            <a:gdLst>
              <a:gd name="connsiteX0" fmla="*/ 22111 w 589503"/>
              <a:gd name="connsiteY0" fmla="*/ 108588 h 110081"/>
              <a:gd name="connsiteX1" fmla="*/ 10159 w 589503"/>
              <a:gd name="connsiteY1" fmla="*/ 108588 h 110081"/>
              <a:gd name="connsiteX2" fmla="*/ 16433 w 589503"/>
              <a:gd name="connsiteY2" fmla="*/ 77661 h 110081"/>
              <a:gd name="connsiteX3" fmla="*/ 0 w 589503"/>
              <a:gd name="connsiteY3" fmla="*/ 77661 h 110081"/>
              <a:gd name="connsiteX4" fmla="*/ 0 w 589503"/>
              <a:gd name="connsiteY4" fmla="*/ 67206 h 110081"/>
              <a:gd name="connsiteX5" fmla="*/ 18675 w 589503"/>
              <a:gd name="connsiteY5" fmla="*/ 67206 h 110081"/>
              <a:gd name="connsiteX6" fmla="*/ 24202 w 589503"/>
              <a:gd name="connsiteY6" fmla="*/ 40012 h 110081"/>
              <a:gd name="connsiteX7" fmla="*/ 4033 w 589503"/>
              <a:gd name="connsiteY7" fmla="*/ 40012 h 110081"/>
              <a:gd name="connsiteX8" fmla="*/ 4033 w 589503"/>
              <a:gd name="connsiteY8" fmla="*/ 29559 h 110081"/>
              <a:gd name="connsiteX9" fmla="*/ 26294 w 589503"/>
              <a:gd name="connsiteY9" fmla="*/ 29559 h 110081"/>
              <a:gd name="connsiteX10" fmla="*/ 32120 w 589503"/>
              <a:gd name="connsiteY10" fmla="*/ 1493 h 110081"/>
              <a:gd name="connsiteX11" fmla="*/ 44072 w 589503"/>
              <a:gd name="connsiteY11" fmla="*/ 1493 h 110081"/>
              <a:gd name="connsiteX12" fmla="*/ 38246 w 589503"/>
              <a:gd name="connsiteY12" fmla="*/ 29559 h 110081"/>
              <a:gd name="connsiteX13" fmla="*/ 60655 w 589503"/>
              <a:gd name="connsiteY13" fmla="*/ 29559 h 110081"/>
              <a:gd name="connsiteX14" fmla="*/ 66482 w 589503"/>
              <a:gd name="connsiteY14" fmla="*/ 1493 h 110081"/>
              <a:gd name="connsiteX15" fmla="*/ 78434 w 589503"/>
              <a:gd name="connsiteY15" fmla="*/ 1493 h 110081"/>
              <a:gd name="connsiteX16" fmla="*/ 72607 w 589503"/>
              <a:gd name="connsiteY16" fmla="*/ 29559 h 110081"/>
              <a:gd name="connsiteX17" fmla="*/ 89340 w 589503"/>
              <a:gd name="connsiteY17" fmla="*/ 29559 h 110081"/>
              <a:gd name="connsiteX18" fmla="*/ 89340 w 589503"/>
              <a:gd name="connsiteY18" fmla="*/ 40012 h 110081"/>
              <a:gd name="connsiteX19" fmla="*/ 70516 w 589503"/>
              <a:gd name="connsiteY19" fmla="*/ 40012 h 110081"/>
              <a:gd name="connsiteX20" fmla="*/ 64988 w 589503"/>
              <a:gd name="connsiteY20" fmla="*/ 67206 h 110081"/>
              <a:gd name="connsiteX21" fmla="*/ 85306 w 589503"/>
              <a:gd name="connsiteY21" fmla="*/ 67206 h 110081"/>
              <a:gd name="connsiteX22" fmla="*/ 85306 w 589503"/>
              <a:gd name="connsiteY22" fmla="*/ 77661 h 110081"/>
              <a:gd name="connsiteX23" fmla="*/ 62747 w 589503"/>
              <a:gd name="connsiteY23" fmla="*/ 77661 h 110081"/>
              <a:gd name="connsiteX24" fmla="*/ 56472 w 589503"/>
              <a:gd name="connsiteY24" fmla="*/ 108588 h 110081"/>
              <a:gd name="connsiteX25" fmla="*/ 44520 w 589503"/>
              <a:gd name="connsiteY25" fmla="*/ 108588 h 110081"/>
              <a:gd name="connsiteX26" fmla="*/ 50795 w 589503"/>
              <a:gd name="connsiteY26" fmla="*/ 77661 h 110081"/>
              <a:gd name="connsiteX27" fmla="*/ 28386 w 589503"/>
              <a:gd name="connsiteY27" fmla="*/ 77661 h 110081"/>
              <a:gd name="connsiteX28" fmla="*/ 22111 w 589503"/>
              <a:gd name="connsiteY28" fmla="*/ 108588 h 110081"/>
              <a:gd name="connsiteX29" fmla="*/ 30626 w 589503"/>
              <a:gd name="connsiteY29" fmla="*/ 67206 h 110081"/>
              <a:gd name="connsiteX30" fmla="*/ 53036 w 589503"/>
              <a:gd name="connsiteY30" fmla="*/ 67206 h 110081"/>
              <a:gd name="connsiteX31" fmla="*/ 58564 w 589503"/>
              <a:gd name="connsiteY31" fmla="*/ 40012 h 110081"/>
              <a:gd name="connsiteX32" fmla="*/ 36154 w 589503"/>
              <a:gd name="connsiteY32" fmla="*/ 40012 h 110081"/>
              <a:gd name="connsiteX33" fmla="*/ 30626 w 589503"/>
              <a:gd name="connsiteY33" fmla="*/ 67206 h 110081"/>
              <a:gd name="connsiteX34" fmla="*/ 107827 w 589503"/>
              <a:gd name="connsiteY34" fmla="*/ 1493 h 110081"/>
              <a:gd name="connsiteX35" fmla="*/ 173264 w 589503"/>
              <a:gd name="connsiteY35" fmla="*/ 1493 h 110081"/>
              <a:gd name="connsiteX36" fmla="*/ 173264 w 589503"/>
              <a:gd name="connsiteY36" fmla="*/ 14374 h 110081"/>
              <a:gd name="connsiteX37" fmla="*/ 121871 w 589503"/>
              <a:gd name="connsiteY37" fmla="*/ 14374 h 110081"/>
              <a:gd name="connsiteX38" fmla="*/ 121871 w 589503"/>
              <a:gd name="connsiteY38" fmla="*/ 49907 h 110081"/>
              <a:gd name="connsiteX39" fmla="*/ 165495 w 589503"/>
              <a:gd name="connsiteY39" fmla="*/ 49907 h 110081"/>
              <a:gd name="connsiteX40" fmla="*/ 165495 w 589503"/>
              <a:gd name="connsiteY40" fmla="*/ 62601 h 110081"/>
              <a:gd name="connsiteX41" fmla="*/ 121871 w 589503"/>
              <a:gd name="connsiteY41" fmla="*/ 62601 h 110081"/>
              <a:gd name="connsiteX42" fmla="*/ 121871 w 589503"/>
              <a:gd name="connsiteY42" fmla="*/ 108588 h 110081"/>
              <a:gd name="connsiteX43" fmla="*/ 107827 w 589503"/>
              <a:gd name="connsiteY43" fmla="*/ 108588 h 110081"/>
              <a:gd name="connsiteX44" fmla="*/ 107827 w 589503"/>
              <a:gd name="connsiteY44" fmla="*/ 1493 h 110081"/>
              <a:gd name="connsiteX45" fmla="*/ 192735 w 589503"/>
              <a:gd name="connsiteY45" fmla="*/ 1493 h 110081"/>
              <a:gd name="connsiteX46" fmla="*/ 258171 w 589503"/>
              <a:gd name="connsiteY46" fmla="*/ 1493 h 110081"/>
              <a:gd name="connsiteX47" fmla="*/ 258171 w 589503"/>
              <a:gd name="connsiteY47" fmla="*/ 14374 h 110081"/>
              <a:gd name="connsiteX48" fmla="*/ 206778 w 589503"/>
              <a:gd name="connsiteY48" fmla="*/ 14374 h 110081"/>
              <a:gd name="connsiteX49" fmla="*/ 206778 w 589503"/>
              <a:gd name="connsiteY49" fmla="*/ 49907 h 110081"/>
              <a:gd name="connsiteX50" fmla="*/ 250402 w 589503"/>
              <a:gd name="connsiteY50" fmla="*/ 49907 h 110081"/>
              <a:gd name="connsiteX51" fmla="*/ 250402 w 589503"/>
              <a:gd name="connsiteY51" fmla="*/ 62601 h 110081"/>
              <a:gd name="connsiteX52" fmla="*/ 206778 w 589503"/>
              <a:gd name="connsiteY52" fmla="*/ 62601 h 110081"/>
              <a:gd name="connsiteX53" fmla="*/ 206778 w 589503"/>
              <a:gd name="connsiteY53" fmla="*/ 108588 h 110081"/>
              <a:gd name="connsiteX54" fmla="*/ 192735 w 589503"/>
              <a:gd name="connsiteY54" fmla="*/ 108588 h 110081"/>
              <a:gd name="connsiteX55" fmla="*/ 192735 w 589503"/>
              <a:gd name="connsiteY55" fmla="*/ 1493 h 110081"/>
              <a:gd name="connsiteX56" fmla="*/ 289899 w 589503"/>
              <a:gd name="connsiteY56" fmla="*/ 58992 h 110081"/>
              <a:gd name="connsiteX57" fmla="*/ 289899 w 589503"/>
              <a:gd name="connsiteY57" fmla="*/ 46298 h 110081"/>
              <a:gd name="connsiteX58" fmla="*/ 304242 w 589503"/>
              <a:gd name="connsiteY58" fmla="*/ 46298 h 110081"/>
              <a:gd name="connsiteX59" fmla="*/ 317837 w 589503"/>
              <a:gd name="connsiteY59" fmla="*/ 41817 h 110081"/>
              <a:gd name="connsiteX60" fmla="*/ 323215 w 589503"/>
              <a:gd name="connsiteY60" fmla="*/ 28812 h 110081"/>
              <a:gd name="connsiteX61" fmla="*/ 318285 w 589503"/>
              <a:gd name="connsiteY61" fmla="*/ 16864 h 110081"/>
              <a:gd name="connsiteX62" fmla="*/ 304092 w 589503"/>
              <a:gd name="connsiteY62" fmla="*/ 12383 h 110081"/>
              <a:gd name="connsiteX63" fmla="*/ 289451 w 589503"/>
              <a:gd name="connsiteY63" fmla="*/ 15246 h 110081"/>
              <a:gd name="connsiteX64" fmla="*/ 275408 w 589503"/>
              <a:gd name="connsiteY64" fmla="*/ 24331 h 110081"/>
              <a:gd name="connsiteX65" fmla="*/ 275408 w 589503"/>
              <a:gd name="connsiteY65" fmla="*/ 9707 h 110081"/>
              <a:gd name="connsiteX66" fmla="*/ 304242 w 589503"/>
              <a:gd name="connsiteY66" fmla="*/ 0 h 110081"/>
              <a:gd name="connsiteX67" fmla="*/ 328294 w 589503"/>
              <a:gd name="connsiteY67" fmla="*/ 7779 h 110081"/>
              <a:gd name="connsiteX68" fmla="*/ 337109 w 589503"/>
              <a:gd name="connsiteY68" fmla="*/ 28065 h 110081"/>
              <a:gd name="connsiteX69" fmla="*/ 331432 w 589503"/>
              <a:gd name="connsiteY69" fmla="*/ 44244 h 110081"/>
              <a:gd name="connsiteX70" fmla="*/ 318136 w 589503"/>
              <a:gd name="connsiteY70" fmla="*/ 52147 h 110081"/>
              <a:gd name="connsiteX71" fmla="*/ 329639 w 589503"/>
              <a:gd name="connsiteY71" fmla="*/ 56441 h 110081"/>
              <a:gd name="connsiteX72" fmla="*/ 338304 w 589503"/>
              <a:gd name="connsiteY72" fmla="*/ 65153 h 110081"/>
              <a:gd name="connsiteX73" fmla="*/ 341591 w 589503"/>
              <a:gd name="connsiteY73" fmla="*/ 77661 h 110081"/>
              <a:gd name="connsiteX74" fmla="*/ 336661 w 589503"/>
              <a:gd name="connsiteY74" fmla="*/ 94836 h 110081"/>
              <a:gd name="connsiteX75" fmla="*/ 323066 w 589503"/>
              <a:gd name="connsiteY75" fmla="*/ 106224 h 110081"/>
              <a:gd name="connsiteX76" fmla="*/ 303196 w 589503"/>
              <a:gd name="connsiteY76" fmla="*/ 110082 h 110081"/>
              <a:gd name="connsiteX77" fmla="*/ 272719 w 589503"/>
              <a:gd name="connsiteY77" fmla="*/ 100997 h 110081"/>
              <a:gd name="connsiteX78" fmla="*/ 272719 w 589503"/>
              <a:gd name="connsiteY78" fmla="*/ 86062 h 110081"/>
              <a:gd name="connsiteX79" fmla="*/ 286463 w 589503"/>
              <a:gd name="connsiteY79" fmla="*/ 94711 h 110081"/>
              <a:gd name="connsiteX80" fmla="*/ 303345 w 589503"/>
              <a:gd name="connsiteY80" fmla="*/ 97823 h 110081"/>
              <a:gd name="connsiteX81" fmla="*/ 320675 w 589503"/>
              <a:gd name="connsiteY81" fmla="*/ 92596 h 110081"/>
              <a:gd name="connsiteX82" fmla="*/ 327100 w 589503"/>
              <a:gd name="connsiteY82" fmla="*/ 77972 h 110081"/>
              <a:gd name="connsiteX83" fmla="*/ 321273 w 589503"/>
              <a:gd name="connsiteY83" fmla="*/ 64095 h 110081"/>
              <a:gd name="connsiteX84" fmla="*/ 303644 w 589503"/>
              <a:gd name="connsiteY84" fmla="*/ 58992 h 110081"/>
              <a:gd name="connsiteX85" fmla="*/ 289899 w 589503"/>
              <a:gd name="connsiteY85" fmla="*/ 58992 h 110081"/>
              <a:gd name="connsiteX86" fmla="*/ 422832 w 589503"/>
              <a:gd name="connsiteY86" fmla="*/ 108588 h 110081"/>
              <a:gd name="connsiteX87" fmla="*/ 354558 w 589503"/>
              <a:gd name="connsiteY87" fmla="*/ 108588 h 110081"/>
              <a:gd name="connsiteX88" fmla="*/ 354558 w 589503"/>
              <a:gd name="connsiteY88" fmla="*/ 94400 h 110081"/>
              <a:gd name="connsiteX89" fmla="*/ 380702 w 589503"/>
              <a:gd name="connsiteY89" fmla="*/ 72433 h 110081"/>
              <a:gd name="connsiteX90" fmla="*/ 396687 w 589503"/>
              <a:gd name="connsiteY90" fmla="*/ 56628 h 110081"/>
              <a:gd name="connsiteX91" fmla="*/ 404755 w 589503"/>
              <a:gd name="connsiteY91" fmla="*/ 43933 h 110081"/>
              <a:gd name="connsiteX92" fmla="*/ 407146 w 589503"/>
              <a:gd name="connsiteY92" fmla="*/ 32109 h 110081"/>
              <a:gd name="connsiteX93" fmla="*/ 401618 w 589503"/>
              <a:gd name="connsiteY93" fmla="*/ 17610 h 110081"/>
              <a:gd name="connsiteX94" fmla="*/ 386379 w 589503"/>
              <a:gd name="connsiteY94" fmla="*/ 12383 h 110081"/>
              <a:gd name="connsiteX95" fmla="*/ 357396 w 589503"/>
              <a:gd name="connsiteY95" fmla="*/ 27194 h 110081"/>
              <a:gd name="connsiteX96" fmla="*/ 357396 w 589503"/>
              <a:gd name="connsiteY96" fmla="*/ 12134 h 110081"/>
              <a:gd name="connsiteX97" fmla="*/ 386827 w 589503"/>
              <a:gd name="connsiteY97" fmla="*/ 0 h 110081"/>
              <a:gd name="connsiteX98" fmla="*/ 412225 w 589503"/>
              <a:gd name="connsiteY98" fmla="*/ 8401 h 110081"/>
              <a:gd name="connsiteX99" fmla="*/ 421637 w 589503"/>
              <a:gd name="connsiteY99" fmla="*/ 30803 h 110081"/>
              <a:gd name="connsiteX100" fmla="*/ 419247 w 589503"/>
              <a:gd name="connsiteY100" fmla="*/ 44804 h 110081"/>
              <a:gd name="connsiteX101" fmla="*/ 411179 w 589503"/>
              <a:gd name="connsiteY101" fmla="*/ 58681 h 110081"/>
              <a:gd name="connsiteX102" fmla="*/ 395492 w 589503"/>
              <a:gd name="connsiteY102" fmla="*/ 74860 h 110081"/>
              <a:gd name="connsiteX103" fmla="*/ 370095 w 589503"/>
              <a:gd name="connsiteY103" fmla="*/ 95769 h 110081"/>
              <a:gd name="connsiteX104" fmla="*/ 422832 w 589503"/>
              <a:gd name="connsiteY104" fmla="*/ 95769 h 110081"/>
              <a:gd name="connsiteX105" fmla="*/ 422832 w 589503"/>
              <a:gd name="connsiteY105" fmla="*/ 108588 h 110081"/>
              <a:gd name="connsiteX106" fmla="*/ 434305 w 589503"/>
              <a:gd name="connsiteY106" fmla="*/ 35844 h 110081"/>
              <a:gd name="connsiteX107" fmla="*/ 438936 w 589503"/>
              <a:gd name="connsiteY107" fmla="*/ 17051 h 110081"/>
              <a:gd name="connsiteX108" fmla="*/ 451784 w 589503"/>
              <a:gd name="connsiteY108" fmla="*/ 4480 h 110081"/>
              <a:gd name="connsiteX109" fmla="*/ 469861 w 589503"/>
              <a:gd name="connsiteY109" fmla="*/ 0 h 110081"/>
              <a:gd name="connsiteX110" fmla="*/ 491524 w 589503"/>
              <a:gd name="connsiteY110" fmla="*/ 5849 h 110081"/>
              <a:gd name="connsiteX111" fmla="*/ 503625 w 589503"/>
              <a:gd name="connsiteY111" fmla="*/ 21842 h 110081"/>
              <a:gd name="connsiteX112" fmla="*/ 507360 w 589503"/>
              <a:gd name="connsiteY112" fmla="*/ 45426 h 110081"/>
              <a:gd name="connsiteX113" fmla="*/ 502729 w 589503"/>
              <a:gd name="connsiteY113" fmla="*/ 80088 h 110081"/>
              <a:gd name="connsiteX114" fmla="*/ 488386 w 589503"/>
              <a:gd name="connsiteY114" fmla="*/ 102303 h 110081"/>
              <a:gd name="connsiteX115" fmla="*/ 463885 w 589503"/>
              <a:gd name="connsiteY115" fmla="*/ 110082 h 110081"/>
              <a:gd name="connsiteX116" fmla="*/ 440878 w 589503"/>
              <a:gd name="connsiteY116" fmla="*/ 104543 h 110081"/>
              <a:gd name="connsiteX117" fmla="*/ 440878 w 589503"/>
              <a:gd name="connsiteY117" fmla="*/ 91413 h 110081"/>
              <a:gd name="connsiteX118" fmla="*/ 463885 w 589503"/>
              <a:gd name="connsiteY118" fmla="*/ 98010 h 110081"/>
              <a:gd name="connsiteX119" fmla="*/ 479423 w 589503"/>
              <a:gd name="connsiteY119" fmla="*/ 92907 h 110081"/>
              <a:gd name="connsiteX120" fmla="*/ 489133 w 589503"/>
              <a:gd name="connsiteY120" fmla="*/ 79154 h 110081"/>
              <a:gd name="connsiteX121" fmla="*/ 493466 w 589503"/>
              <a:gd name="connsiteY121" fmla="*/ 59739 h 110081"/>
              <a:gd name="connsiteX122" fmla="*/ 482411 w 589503"/>
              <a:gd name="connsiteY122" fmla="*/ 68389 h 110081"/>
              <a:gd name="connsiteX123" fmla="*/ 468516 w 589503"/>
              <a:gd name="connsiteY123" fmla="*/ 71127 h 110081"/>
              <a:gd name="connsiteX124" fmla="*/ 451186 w 589503"/>
              <a:gd name="connsiteY124" fmla="*/ 67082 h 110081"/>
              <a:gd name="connsiteX125" fmla="*/ 438786 w 589503"/>
              <a:gd name="connsiteY125" fmla="*/ 55134 h 110081"/>
              <a:gd name="connsiteX126" fmla="*/ 434305 w 589503"/>
              <a:gd name="connsiteY126" fmla="*/ 35844 h 110081"/>
              <a:gd name="connsiteX127" fmla="*/ 470309 w 589503"/>
              <a:gd name="connsiteY127" fmla="*/ 12134 h 110081"/>
              <a:gd name="connsiteX128" fmla="*/ 459553 w 589503"/>
              <a:gd name="connsiteY128" fmla="*/ 14810 h 110081"/>
              <a:gd name="connsiteX129" fmla="*/ 451485 w 589503"/>
              <a:gd name="connsiteY129" fmla="*/ 22589 h 110081"/>
              <a:gd name="connsiteX130" fmla="*/ 448497 w 589503"/>
              <a:gd name="connsiteY130" fmla="*/ 35532 h 110081"/>
              <a:gd name="connsiteX131" fmla="*/ 451485 w 589503"/>
              <a:gd name="connsiteY131" fmla="*/ 48725 h 110081"/>
              <a:gd name="connsiteX132" fmla="*/ 459105 w 589503"/>
              <a:gd name="connsiteY132" fmla="*/ 56752 h 110081"/>
              <a:gd name="connsiteX133" fmla="*/ 468815 w 589503"/>
              <a:gd name="connsiteY133" fmla="*/ 59428 h 110081"/>
              <a:gd name="connsiteX134" fmla="*/ 485249 w 589503"/>
              <a:gd name="connsiteY134" fmla="*/ 53329 h 110081"/>
              <a:gd name="connsiteX135" fmla="*/ 491972 w 589503"/>
              <a:gd name="connsiteY135" fmla="*/ 35283 h 110081"/>
              <a:gd name="connsiteX136" fmla="*/ 486146 w 589503"/>
              <a:gd name="connsiteY136" fmla="*/ 18544 h 110081"/>
              <a:gd name="connsiteX137" fmla="*/ 470309 w 589503"/>
              <a:gd name="connsiteY137" fmla="*/ 12134 h 110081"/>
              <a:gd name="connsiteX138" fmla="*/ 589504 w 589503"/>
              <a:gd name="connsiteY138" fmla="*/ 73491 h 110081"/>
              <a:gd name="connsiteX139" fmla="*/ 584723 w 589503"/>
              <a:gd name="connsiteY139" fmla="*/ 92782 h 110081"/>
              <a:gd name="connsiteX140" fmla="*/ 572024 w 589503"/>
              <a:gd name="connsiteY140" fmla="*/ 105601 h 110081"/>
              <a:gd name="connsiteX141" fmla="*/ 553947 w 589503"/>
              <a:gd name="connsiteY141" fmla="*/ 110082 h 110081"/>
              <a:gd name="connsiteX142" fmla="*/ 532284 w 589503"/>
              <a:gd name="connsiteY142" fmla="*/ 104108 h 110081"/>
              <a:gd name="connsiteX143" fmla="*/ 520183 w 589503"/>
              <a:gd name="connsiteY143" fmla="*/ 87555 h 110081"/>
              <a:gd name="connsiteX144" fmla="*/ 516448 w 589503"/>
              <a:gd name="connsiteY144" fmla="*/ 63161 h 110081"/>
              <a:gd name="connsiteX145" fmla="*/ 520930 w 589503"/>
              <a:gd name="connsiteY145" fmla="*/ 30181 h 110081"/>
              <a:gd name="connsiteX146" fmla="*/ 534974 w 589503"/>
              <a:gd name="connsiteY146" fmla="*/ 8089 h 110081"/>
              <a:gd name="connsiteX147" fmla="*/ 559475 w 589503"/>
              <a:gd name="connsiteY147" fmla="*/ 0 h 110081"/>
              <a:gd name="connsiteX148" fmla="*/ 582034 w 589503"/>
              <a:gd name="connsiteY148" fmla="*/ 5538 h 110081"/>
              <a:gd name="connsiteX149" fmla="*/ 582034 w 589503"/>
              <a:gd name="connsiteY149" fmla="*/ 18855 h 110081"/>
              <a:gd name="connsiteX150" fmla="*/ 559475 w 589503"/>
              <a:gd name="connsiteY150" fmla="*/ 12259 h 110081"/>
              <a:gd name="connsiteX151" fmla="*/ 543937 w 589503"/>
              <a:gd name="connsiteY151" fmla="*/ 17361 h 110081"/>
              <a:gd name="connsiteX152" fmla="*/ 534077 w 589503"/>
              <a:gd name="connsiteY152" fmla="*/ 31238 h 110081"/>
              <a:gd name="connsiteX153" fmla="*/ 529894 w 589503"/>
              <a:gd name="connsiteY153" fmla="*/ 50778 h 110081"/>
              <a:gd name="connsiteX154" fmla="*/ 541248 w 589503"/>
              <a:gd name="connsiteY154" fmla="*/ 40759 h 110081"/>
              <a:gd name="connsiteX155" fmla="*/ 555291 w 589503"/>
              <a:gd name="connsiteY155" fmla="*/ 37523 h 110081"/>
              <a:gd name="connsiteX156" fmla="*/ 572622 w 589503"/>
              <a:gd name="connsiteY156" fmla="*/ 41693 h 110081"/>
              <a:gd name="connsiteX157" fmla="*/ 584872 w 589503"/>
              <a:gd name="connsiteY157" fmla="*/ 53952 h 110081"/>
              <a:gd name="connsiteX158" fmla="*/ 589504 w 589503"/>
              <a:gd name="connsiteY158" fmla="*/ 73491 h 110081"/>
              <a:gd name="connsiteX159" fmla="*/ 553499 w 589503"/>
              <a:gd name="connsiteY159" fmla="*/ 98134 h 110081"/>
              <a:gd name="connsiteX160" fmla="*/ 564255 w 589503"/>
              <a:gd name="connsiteY160" fmla="*/ 95458 h 110081"/>
              <a:gd name="connsiteX161" fmla="*/ 572174 w 589503"/>
              <a:gd name="connsiteY161" fmla="*/ 87244 h 110081"/>
              <a:gd name="connsiteX162" fmla="*/ 575311 w 589503"/>
              <a:gd name="connsiteY162" fmla="*/ 73803 h 110081"/>
              <a:gd name="connsiteX163" fmla="*/ 572323 w 589503"/>
              <a:gd name="connsiteY163" fmla="*/ 60174 h 110081"/>
              <a:gd name="connsiteX164" fmla="*/ 564704 w 589503"/>
              <a:gd name="connsiteY164" fmla="*/ 51961 h 110081"/>
              <a:gd name="connsiteX165" fmla="*/ 554993 w 589503"/>
              <a:gd name="connsiteY165" fmla="*/ 49160 h 110081"/>
              <a:gd name="connsiteX166" fmla="*/ 538410 w 589503"/>
              <a:gd name="connsiteY166" fmla="*/ 55570 h 110081"/>
              <a:gd name="connsiteX167" fmla="*/ 531836 w 589503"/>
              <a:gd name="connsiteY167" fmla="*/ 74114 h 110081"/>
              <a:gd name="connsiteX168" fmla="*/ 537663 w 589503"/>
              <a:gd name="connsiteY168" fmla="*/ 91538 h 110081"/>
              <a:gd name="connsiteX169" fmla="*/ 553499 w 589503"/>
              <a:gd name="connsiteY169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</a:cxnLst>
            <a:rect l="l" t="t" r="r" b="b"/>
            <a:pathLst>
              <a:path w="58950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89899" y="58992"/>
                </a:moveTo>
                <a:lnTo>
                  <a:pt x="289899" y="46298"/>
                </a:lnTo>
                <a:lnTo>
                  <a:pt x="304242" y="46298"/>
                </a:lnTo>
                <a:cubicBezTo>
                  <a:pt x="309819" y="46298"/>
                  <a:pt x="314351" y="44804"/>
                  <a:pt x="317837" y="41817"/>
                </a:cubicBezTo>
                <a:cubicBezTo>
                  <a:pt x="321423" y="38768"/>
                  <a:pt x="323215" y="34412"/>
                  <a:pt x="323215" y="28812"/>
                </a:cubicBezTo>
                <a:cubicBezTo>
                  <a:pt x="323215" y="23771"/>
                  <a:pt x="321572" y="19788"/>
                  <a:pt x="318285" y="16864"/>
                </a:cubicBezTo>
                <a:cubicBezTo>
                  <a:pt x="314998" y="13877"/>
                  <a:pt x="310267" y="12383"/>
                  <a:pt x="304092" y="12383"/>
                </a:cubicBezTo>
                <a:cubicBezTo>
                  <a:pt x="298913" y="12383"/>
                  <a:pt x="294033" y="13379"/>
                  <a:pt x="289451" y="15246"/>
                </a:cubicBezTo>
                <a:cubicBezTo>
                  <a:pt x="284969" y="17113"/>
                  <a:pt x="280288" y="20162"/>
                  <a:pt x="275408" y="24331"/>
                </a:cubicBezTo>
                <a:lnTo>
                  <a:pt x="275408" y="9707"/>
                </a:lnTo>
                <a:cubicBezTo>
                  <a:pt x="283376" y="3235"/>
                  <a:pt x="292987" y="0"/>
                  <a:pt x="304242" y="0"/>
                </a:cubicBezTo>
                <a:cubicBezTo>
                  <a:pt x="314500" y="0"/>
                  <a:pt x="322518" y="2613"/>
                  <a:pt x="328294" y="7779"/>
                </a:cubicBezTo>
                <a:cubicBezTo>
                  <a:pt x="334171" y="12943"/>
                  <a:pt x="337109" y="19726"/>
                  <a:pt x="337109" y="28065"/>
                </a:cubicBezTo>
                <a:cubicBezTo>
                  <a:pt x="337109" y="34848"/>
                  <a:pt x="335217" y="40262"/>
                  <a:pt x="331432" y="44244"/>
                </a:cubicBezTo>
                <a:cubicBezTo>
                  <a:pt x="327747" y="48227"/>
                  <a:pt x="323315" y="50840"/>
                  <a:pt x="318136" y="52147"/>
                </a:cubicBezTo>
                <a:cubicBezTo>
                  <a:pt x="322319" y="52707"/>
                  <a:pt x="326153" y="54201"/>
                  <a:pt x="329639" y="56441"/>
                </a:cubicBezTo>
                <a:cubicBezTo>
                  <a:pt x="333225" y="58681"/>
                  <a:pt x="336113" y="61543"/>
                  <a:pt x="338304" y="65153"/>
                </a:cubicBezTo>
                <a:cubicBezTo>
                  <a:pt x="340495" y="68700"/>
                  <a:pt x="341591" y="72869"/>
                  <a:pt x="341591" y="77661"/>
                </a:cubicBezTo>
                <a:cubicBezTo>
                  <a:pt x="341591" y="84257"/>
                  <a:pt x="339948" y="89982"/>
                  <a:pt x="336661" y="94836"/>
                </a:cubicBezTo>
                <a:cubicBezTo>
                  <a:pt x="333374" y="99752"/>
                  <a:pt x="328842" y="103486"/>
                  <a:pt x="323066" y="106224"/>
                </a:cubicBezTo>
                <a:cubicBezTo>
                  <a:pt x="317389" y="108775"/>
                  <a:pt x="310765" y="110082"/>
                  <a:pt x="303196" y="110082"/>
                </a:cubicBezTo>
                <a:cubicBezTo>
                  <a:pt x="290049" y="110082"/>
                  <a:pt x="279890" y="107033"/>
                  <a:pt x="272719" y="100997"/>
                </a:cubicBezTo>
                <a:lnTo>
                  <a:pt x="272719" y="86062"/>
                </a:lnTo>
                <a:cubicBezTo>
                  <a:pt x="276504" y="89733"/>
                  <a:pt x="281085" y="92596"/>
                  <a:pt x="286463" y="94711"/>
                </a:cubicBezTo>
                <a:cubicBezTo>
                  <a:pt x="291842" y="96765"/>
                  <a:pt x="297469" y="97823"/>
                  <a:pt x="303345" y="97823"/>
                </a:cubicBezTo>
                <a:cubicBezTo>
                  <a:pt x="310716" y="97823"/>
                  <a:pt x="316492" y="96080"/>
                  <a:pt x="320675" y="92596"/>
                </a:cubicBezTo>
                <a:cubicBezTo>
                  <a:pt x="324958" y="89048"/>
                  <a:pt x="327100" y="84132"/>
                  <a:pt x="327100" y="77972"/>
                </a:cubicBezTo>
                <a:cubicBezTo>
                  <a:pt x="327100" y="71998"/>
                  <a:pt x="325157" y="67393"/>
                  <a:pt x="321273" y="64095"/>
                </a:cubicBezTo>
                <a:cubicBezTo>
                  <a:pt x="317488" y="60673"/>
                  <a:pt x="311612" y="58992"/>
                  <a:pt x="303644" y="58992"/>
                </a:cubicBezTo>
                <a:lnTo>
                  <a:pt x="289899" y="58992"/>
                </a:lnTo>
                <a:close/>
                <a:moveTo>
                  <a:pt x="422832" y="108588"/>
                </a:moveTo>
                <a:lnTo>
                  <a:pt x="354558" y="108588"/>
                </a:lnTo>
                <a:lnTo>
                  <a:pt x="354558" y="94400"/>
                </a:lnTo>
                <a:cubicBezTo>
                  <a:pt x="365214" y="85812"/>
                  <a:pt x="373929" y="78532"/>
                  <a:pt x="380702" y="72433"/>
                </a:cubicBezTo>
                <a:cubicBezTo>
                  <a:pt x="387574" y="66397"/>
                  <a:pt x="392903" y="61108"/>
                  <a:pt x="396687" y="56628"/>
                </a:cubicBezTo>
                <a:cubicBezTo>
                  <a:pt x="400572" y="52023"/>
                  <a:pt x="403261" y="47791"/>
                  <a:pt x="404755" y="43933"/>
                </a:cubicBezTo>
                <a:cubicBezTo>
                  <a:pt x="406348" y="40012"/>
                  <a:pt x="407146" y="36092"/>
                  <a:pt x="407146" y="32109"/>
                </a:cubicBezTo>
                <a:cubicBezTo>
                  <a:pt x="407146" y="25949"/>
                  <a:pt x="405303" y="21095"/>
                  <a:pt x="401618" y="17610"/>
                </a:cubicBezTo>
                <a:cubicBezTo>
                  <a:pt x="397932" y="14125"/>
                  <a:pt x="392853" y="12383"/>
                  <a:pt x="386379" y="12383"/>
                </a:cubicBezTo>
                <a:cubicBezTo>
                  <a:pt x="376021" y="12383"/>
                  <a:pt x="366360" y="17361"/>
                  <a:pt x="357396" y="27194"/>
                </a:cubicBezTo>
                <a:lnTo>
                  <a:pt x="357396" y="12134"/>
                </a:lnTo>
                <a:cubicBezTo>
                  <a:pt x="365663" y="4044"/>
                  <a:pt x="375473" y="0"/>
                  <a:pt x="386827" y="0"/>
                </a:cubicBezTo>
                <a:cubicBezTo>
                  <a:pt x="397584" y="0"/>
                  <a:pt x="406050" y="2800"/>
                  <a:pt x="412225" y="8401"/>
                </a:cubicBezTo>
                <a:cubicBezTo>
                  <a:pt x="418500" y="13877"/>
                  <a:pt x="421637" y="21344"/>
                  <a:pt x="421637" y="30803"/>
                </a:cubicBezTo>
                <a:cubicBezTo>
                  <a:pt x="421637" y="35657"/>
                  <a:pt x="420840" y="40324"/>
                  <a:pt x="419247" y="44804"/>
                </a:cubicBezTo>
                <a:cubicBezTo>
                  <a:pt x="417753" y="49222"/>
                  <a:pt x="415063" y="53827"/>
                  <a:pt x="411179" y="58681"/>
                </a:cubicBezTo>
                <a:cubicBezTo>
                  <a:pt x="407394" y="63473"/>
                  <a:pt x="402165" y="68887"/>
                  <a:pt x="395492" y="74860"/>
                </a:cubicBezTo>
                <a:cubicBezTo>
                  <a:pt x="388819" y="80835"/>
                  <a:pt x="380353" y="87804"/>
                  <a:pt x="370095" y="95769"/>
                </a:cubicBezTo>
                <a:lnTo>
                  <a:pt x="422832" y="95769"/>
                </a:lnTo>
                <a:lnTo>
                  <a:pt x="422832" y="108588"/>
                </a:lnTo>
                <a:close/>
                <a:moveTo>
                  <a:pt x="434305" y="35844"/>
                </a:moveTo>
                <a:cubicBezTo>
                  <a:pt x="434305" y="28687"/>
                  <a:pt x="435848" y="22402"/>
                  <a:pt x="438936" y="17051"/>
                </a:cubicBezTo>
                <a:cubicBezTo>
                  <a:pt x="442123" y="11637"/>
                  <a:pt x="446406" y="7467"/>
                  <a:pt x="451784" y="4480"/>
                </a:cubicBezTo>
                <a:cubicBezTo>
                  <a:pt x="457162" y="1493"/>
                  <a:pt x="463188" y="0"/>
                  <a:pt x="469861" y="0"/>
                </a:cubicBezTo>
                <a:cubicBezTo>
                  <a:pt x="478825" y="0"/>
                  <a:pt x="486046" y="1929"/>
                  <a:pt x="491524" y="5849"/>
                </a:cubicBezTo>
                <a:cubicBezTo>
                  <a:pt x="497101" y="9645"/>
                  <a:pt x="501135" y="14934"/>
                  <a:pt x="503625" y="21842"/>
                </a:cubicBezTo>
                <a:cubicBezTo>
                  <a:pt x="506115" y="28563"/>
                  <a:pt x="507360" y="36466"/>
                  <a:pt x="507360" y="45426"/>
                </a:cubicBezTo>
                <a:cubicBezTo>
                  <a:pt x="507360" y="58868"/>
                  <a:pt x="505816" y="70380"/>
                  <a:pt x="502729" y="80088"/>
                </a:cubicBezTo>
                <a:cubicBezTo>
                  <a:pt x="499641" y="89733"/>
                  <a:pt x="494861" y="97138"/>
                  <a:pt x="488386" y="102303"/>
                </a:cubicBezTo>
                <a:cubicBezTo>
                  <a:pt x="482012" y="107468"/>
                  <a:pt x="473845" y="110082"/>
                  <a:pt x="463885" y="110082"/>
                </a:cubicBezTo>
                <a:cubicBezTo>
                  <a:pt x="454922" y="110082"/>
                  <a:pt x="447252" y="108215"/>
                  <a:pt x="440878" y="104543"/>
                </a:cubicBezTo>
                <a:lnTo>
                  <a:pt x="440878" y="91413"/>
                </a:lnTo>
                <a:cubicBezTo>
                  <a:pt x="447651" y="95769"/>
                  <a:pt x="455320" y="98010"/>
                  <a:pt x="463885" y="98010"/>
                </a:cubicBezTo>
                <a:cubicBezTo>
                  <a:pt x="470060" y="98010"/>
                  <a:pt x="475239" y="96267"/>
                  <a:pt x="479423" y="92907"/>
                </a:cubicBezTo>
                <a:cubicBezTo>
                  <a:pt x="483606" y="89546"/>
                  <a:pt x="486843" y="84941"/>
                  <a:pt x="489133" y="79154"/>
                </a:cubicBezTo>
                <a:cubicBezTo>
                  <a:pt x="491524" y="73367"/>
                  <a:pt x="492968" y="66896"/>
                  <a:pt x="493466" y="59739"/>
                </a:cubicBezTo>
                <a:cubicBezTo>
                  <a:pt x="490378" y="63660"/>
                  <a:pt x="486693" y="66522"/>
                  <a:pt x="482411" y="68389"/>
                </a:cubicBezTo>
                <a:cubicBezTo>
                  <a:pt x="478128" y="70193"/>
                  <a:pt x="473497" y="71127"/>
                  <a:pt x="468516" y="71127"/>
                </a:cubicBezTo>
                <a:cubicBezTo>
                  <a:pt x="462142" y="71127"/>
                  <a:pt x="456366" y="69758"/>
                  <a:pt x="451186" y="67082"/>
                </a:cubicBezTo>
                <a:cubicBezTo>
                  <a:pt x="446007" y="64406"/>
                  <a:pt x="441874" y="60424"/>
                  <a:pt x="438786" y="55134"/>
                </a:cubicBezTo>
                <a:cubicBezTo>
                  <a:pt x="435799" y="49845"/>
                  <a:pt x="434305" y="43435"/>
                  <a:pt x="434305" y="35844"/>
                </a:cubicBezTo>
                <a:close/>
                <a:moveTo>
                  <a:pt x="470309" y="12134"/>
                </a:moveTo>
                <a:cubicBezTo>
                  <a:pt x="466525" y="12134"/>
                  <a:pt x="462939" y="13006"/>
                  <a:pt x="459553" y="14810"/>
                </a:cubicBezTo>
                <a:cubicBezTo>
                  <a:pt x="456266" y="16490"/>
                  <a:pt x="453577" y="19104"/>
                  <a:pt x="451485" y="22589"/>
                </a:cubicBezTo>
                <a:cubicBezTo>
                  <a:pt x="449493" y="25949"/>
                  <a:pt x="448497" y="30305"/>
                  <a:pt x="448497" y="35532"/>
                </a:cubicBezTo>
                <a:cubicBezTo>
                  <a:pt x="448497" y="40759"/>
                  <a:pt x="449493" y="45116"/>
                  <a:pt x="451485" y="48725"/>
                </a:cubicBezTo>
                <a:cubicBezTo>
                  <a:pt x="453477" y="52271"/>
                  <a:pt x="456017" y="54947"/>
                  <a:pt x="459105" y="56752"/>
                </a:cubicBezTo>
                <a:cubicBezTo>
                  <a:pt x="462192" y="58556"/>
                  <a:pt x="465429" y="59428"/>
                  <a:pt x="468815" y="59428"/>
                </a:cubicBezTo>
                <a:cubicBezTo>
                  <a:pt x="475389" y="59428"/>
                  <a:pt x="480867" y="57437"/>
                  <a:pt x="485249" y="53329"/>
                </a:cubicBezTo>
                <a:cubicBezTo>
                  <a:pt x="489731" y="49160"/>
                  <a:pt x="491972" y="43124"/>
                  <a:pt x="491972" y="35283"/>
                </a:cubicBezTo>
                <a:cubicBezTo>
                  <a:pt x="491972" y="28313"/>
                  <a:pt x="490030" y="22713"/>
                  <a:pt x="486146" y="18544"/>
                </a:cubicBezTo>
                <a:cubicBezTo>
                  <a:pt x="482261" y="14250"/>
                  <a:pt x="476983" y="12134"/>
                  <a:pt x="470309" y="12134"/>
                </a:cubicBezTo>
                <a:close/>
                <a:moveTo>
                  <a:pt x="589504" y="73491"/>
                </a:moveTo>
                <a:cubicBezTo>
                  <a:pt x="589504" y="80772"/>
                  <a:pt x="587910" y="87182"/>
                  <a:pt x="584723" y="92782"/>
                </a:cubicBezTo>
                <a:cubicBezTo>
                  <a:pt x="581635" y="98258"/>
                  <a:pt x="577402" y="102490"/>
                  <a:pt x="572024" y="105601"/>
                </a:cubicBezTo>
                <a:cubicBezTo>
                  <a:pt x="566646" y="108588"/>
                  <a:pt x="560620" y="110082"/>
                  <a:pt x="553947" y="110082"/>
                </a:cubicBezTo>
                <a:cubicBezTo>
                  <a:pt x="544983" y="110082"/>
                  <a:pt x="537762" y="108091"/>
                  <a:pt x="532284" y="104108"/>
                </a:cubicBezTo>
                <a:cubicBezTo>
                  <a:pt x="526806" y="100125"/>
                  <a:pt x="522773" y="94587"/>
                  <a:pt x="520183" y="87555"/>
                </a:cubicBezTo>
                <a:cubicBezTo>
                  <a:pt x="517693" y="80461"/>
                  <a:pt x="516448" y="72372"/>
                  <a:pt x="516448" y="63161"/>
                </a:cubicBezTo>
                <a:cubicBezTo>
                  <a:pt x="516448" y="50653"/>
                  <a:pt x="517942" y="39639"/>
                  <a:pt x="520930" y="30181"/>
                </a:cubicBezTo>
                <a:cubicBezTo>
                  <a:pt x="524018" y="20722"/>
                  <a:pt x="528699" y="13379"/>
                  <a:pt x="534974" y="8089"/>
                </a:cubicBezTo>
                <a:cubicBezTo>
                  <a:pt x="541348" y="2675"/>
                  <a:pt x="549515" y="0"/>
                  <a:pt x="559475" y="0"/>
                </a:cubicBezTo>
                <a:cubicBezTo>
                  <a:pt x="568040" y="0"/>
                  <a:pt x="575560" y="1866"/>
                  <a:pt x="582034" y="5538"/>
                </a:cubicBezTo>
                <a:lnTo>
                  <a:pt x="582034" y="18855"/>
                </a:lnTo>
                <a:cubicBezTo>
                  <a:pt x="575560" y="14437"/>
                  <a:pt x="568040" y="12259"/>
                  <a:pt x="559475" y="12259"/>
                </a:cubicBezTo>
                <a:cubicBezTo>
                  <a:pt x="553300" y="12259"/>
                  <a:pt x="548121" y="13939"/>
                  <a:pt x="543937" y="17361"/>
                </a:cubicBezTo>
                <a:cubicBezTo>
                  <a:pt x="539754" y="20722"/>
                  <a:pt x="536467" y="25327"/>
                  <a:pt x="534077" y="31238"/>
                </a:cubicBezTo>
                <a:cubicBezTo>
                  <a:pt x="531786" y="37026"/>
                  <a:pt x="530392" y="43498"/>
                  <a:pt x="529894" y="50778"/>
                </a:cubicBezTo>
                <a:cubicBezTo>
                  <a:pt x="533181" y="46298"/>
                  <a:pt x="536966" y="42999"/>
                  <a:pt x="541248" y="40759"/>
                </a:cubicBezTo>
                <a:cubicBezTo>
                  <a:pt x="545531" y="38581"/>
                  <a:pt x="550212" y="37523"/>
                  <a:pt x="555291" y="37523"/>
                </a:cubicBezTo>
                <a:cubicBezTo>
                  <a:pt x="561766" y="37523"/>
                  <a:pt x="567542" y="38893"/>
                  <a:pt x="572622" y="41693"/>
                </a:cubicBezTo>
                <a:cubicBezTo>
                  <a:pt x="577801" y="44493"/>
                  <a:pt x="581884" y="48538"/>
                  <a:pt x="584872" y="53952"/>
                </a:cubicBezTo>
                <a:cubicBezTo>
                  <a:pt x="587960" y="59179"/>
                  <a:pt x="589504" y="65713"/>
                  <a:pt x="589504" y="73491"/>
                </a:cubicBezTo>
                <a:close/>
                <a:moveTo>
                  <a:pt x="553499" y="98134"/>
                </a:moveTo>
                <a:cubicBezTo>
                  <a:pt x="557383" y="98134"/>
                  <a:pt x="560969" y="97263"/>
                  <a:pt x="564255" y="95458"/>
                </a:cubicBezTo>
                <a:cubicBezTo>
                  <a:pt x="567542" y="93529"/>
                  <a:pt x="570182" y="90791"/>
                  <a:pt x="572174" y="87244"/>
                </a:cubicBezTo>
                <a:cubicBezTo>
                  <a:pt x="574265" y="83635"/>
                  <a:pt x="575311" y="79154"/>
                  <a:pt x="575311" y="73803"/>
                </a:cubicBezTo>
                <a:cubicBezTo>
                  <a:pt x="575311" y="68389"/>
                  <a:pt x="574315" y="63908"/>
                  <a:pt x="572323" y="60174"/>
                </a:cubicBezTo>
                <a:cubicBezTo>
                  <a:pt x="570331" y="56503"/>
                  <a:pt x="567791" y="53765"/>
                  <a:pt x="564704" y="51961"/>
                </a:cubicBezTo>
                <a:cubicBezTo>
                  <a:pt x="561616" y="50093"/>
                  <a:pt x="558379" y="49160"/>
                  <a:pt x="554993" y="49160"/>
                </a:cubicBezTo>
                <a:cubicBezTo>
                  <a:pt x="548419" y="49160"/>
                  <a:pt x="542891" y="51276"/>
                  <a:pt x="538410" y="55570"/>
                </a:cubicBezTo>
                <a:cubicBezTo>
                  <a:pt x="534028" y="59739"/>
                  <a:pt x="531836" y="65900"/>
                  <a:pt x="531836" y="74114"/>
                </a:cubicBezTo>
                <a:cubicBezTo>
                  <a:pt x="531836" y="81270"/>
                  <a:pt x="533778" y="87058"/>
                  <a:pt x="537663" y="91538"/>
                </a:cubicBezTo>
                <a:cubicBezTo>
                  <a:pt x="541547" y="95956"/>
                  <a:pt x="546826" y="98134"/>
                  <a:pt x="553499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3" name="Полилиния 1072">
            <a:extLst>
              <a:ext uri="{FF2B5EF4-FFF2-40B4-BE49-F238E27FC236}">
                <a16:creationId xmlns:a16="http://schemas.microsoft.com/office/drawing/2014/main" id="{E2A3F3C9-AC0D-E39E-74A4-E5E618384EE4}"/>
              </a:ext>
            </a:extLst>
          </p:cNvPr>
          <p:cNvSpPr/>
          <p:nvPr userDrawn="1"/>
        </p:nvSpPr>
        <p:spPr>
          <a:xfrm>
            <a:off x="16903366" y="8144980"/>
            <a:ext cx="1398954" cy="726227"/>
          </a:xfrm>
          <a:custGeom>
            <a:avLst/>
            <a:gdLst>
              <a:gd name="connsiteX0" fmla="*/ 638 w 1198727"/>
              <a:gd name="connsiteY0" fmla="*/ 1622 h 622284"/>
              <a:gd name="connsiteX1" fmla="*/ 1199366 w 1198727"/>
              <a:gd name="connsiteY1" fmla="*/ 1622 h 622284"/>
              <a:gd name="connsiteX2" fmla="*/ 1199366 w 1198727"/>
              <a:gd name="connsiteY2" fmla="*/ 623906 h 622284"/>
              <a:gd name="connsiteX3" fmla="*/ 638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622"/>
                </a:moveTo>
                <a:lnTo>
                  <a:pt x="1199366" y="1622"/>
                </a:lnTo>
                <a:lnTo>
                  <a:pt x="1199366" y="623906"/>
                </a:lnTo>
                <a:lnTo>
                  <a:pt x="638" y="623906"/>
                </a:lnTo>
                <a:close/>
              </a:path>
            </a:pathLst>
          </a:custGeom>
          <a:solidFill>
            <a:srgbClr val="FF64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4" name="Полилиния 1073">
            <a:extLst>
              <a:ext uri="{FF2B5EF4-FFF2-40B4-BE49-F238E27FC236}">
                <a16:creationId xmlns:a16="http://schemas.microsoft.com/office/drawing/2014/main" id="{2DAC0658-04F8-B1E1-0031-8532C4744BE7}"/>
              </a:ext>
            </a:extLst>
          </p:cNvPr>
          <p:cNvSpPr/>
          <p:nvPr userDrawn="1"/>
        </p:nvSpPr>
        <p:spPr>
          <a:xfrm>
            <a:off x="17026576" y="8446726"/>
            <a:ext cx="704482" cy="128468"/>
          </a:xfrm>
          <a:custGeom>
            <a:avLst/>
            <a:gdLst>
              <a:gd name="connsiteX0" fmla="*/ 22111 w 603652"/>
              <a:gd name="connsiteY0" fmla="*/ 108588 h 110081"/>
              <a:gd name="connsiteX1" fmla="*/ 10159 w 603652"/>
              <a:gd name="connsiteY1" fmla="*/ 108588 h 110081"/>
              <a:gd name="connsiteX2" fmla="*/ 16433 w 603652"/>
              <a:gd name="connsiteY2" fmla="*/ 77661 h 110081"/>
              <a:gd name="connsiteX3" fmla="*/ 0 w 603652"/>
              <a:gd name="connsiteY3" fmla="*/ 77661 h 110081"/>
              <a:gd name="connsiteX4" fmla="*/ 0 w 603652"/>
              <a:gd name="connsiteY4" fmla="*/ 67206 h 110081"/>
              <a:gd name="connsiteX5" fmla="*/ 18675 w 603652"/>
              <a:gd name="connsiteY5" fmla="*/ 67206 h 110081"/>
              <a:gd name="connsiteX6" fmla="*/ 24202 w 603652"/>
              <a:gd name="connsiteY6" fmla="*/ 40012 h 110081"/>
              <a:gd name="connsiteX7" fmla="*/ 4033 w 603652"/>
              <a:gd name="connsiteY7" fmla="*/ 40012 h 110081"/>
              <a:gd name="connsiteX8" fmla="*/ 4033 w 603652"/>
              <a:gd name="connsiteY8" fmla="*/ 29559 h 110081"/>
              <a:gd name="connsiteX9" fmla="*/ 26294 w 603652"/>
              <a:gd name="connsiteY9" fmla="*/ 29559 h 110081"/>
              <a:gd name="connsiteX10" fmla="*/ 32120 w 603652"/>
              <a:gd name="connsiteY10" fmla="*/ 1493 h 110081"/>
              <a:gd name="connsiteX11" fmla="*/ 44072 w 603652"/>
              <a:gd name="connsiteY11" fmla="*/ 1493 h 110081"/>
              <a:gd name="connsiteX12" fmla="*/ 38246 w 603652"/>
              <a:gd name="connsiteY12" fmla="*/ 29559 h 110081"/>
              <a:gd name="connsiteX13" fmla="*/ 60655 w 603652"/>
              <a:gd name="connsiteY13" fmla="*/ 29559 h 110081"/>
              <a:gd name="connsiteX14" fmla="*/ 66482 w 603652"/>
              <a:gd name="connsiteY14" fmla="*/ 1493 h 110081"/>
              <a:gd name="connsiteX15" fmla="*/ 78434 w 603652"/>
              <a:gd name="connsiteY15" fmla="*/ 1493 h 110081"/>
              <a:gd name="connsiteX16" fmla="*/ 72607 w 603652"/>
              <a:gd name="connsiteY16" fmla="*/ 29559 h 110081"/>
              <a:gd name="connsiteX17" fmla="*/ 89340 w 603652"/>
              <a:gd name="connsiteY17" fmla="*/ 29559 h 110081"/>
              <a:gd name="connsiteX18" fmla="*/ 89340 w 603652"/>
              <a:gd name="connsiteY18" fmla="*/ 40012 h 110081"/>
              <a:gd name="connsiteX19" fmla="*/ 70516 w 603652"/>
              <a:gd name="connsiteY19" fmla="*/ 40012 h 110081"/>
              <a:gd name="connsiteX20" fmla="*/ 64988 w 603652"/>
              <a:gd name="connsiteY20" fmla="*/ 67206 h 110081"/>
              <a:gd name="connsiteX21" fmla="*/ 85306 w 603652"/>
              <a:gd name="connsiteY21" fmla="*/ 67206 h 110081"/>
              <a:gd name="connsiteX22" fmla="*/ 85306 w 603652"/>
              <a:gd name="connsiteY22" fmla="*/ 77661 h 110081"/>
              <a:gd name="connsiteX23" fmla="*/ 62747 w 603652"/>
              <a:gd name="connsiteY23" fmla="*/ 77661 h 110081"/>
              <a:gd name="connsiteX24" fmla="*/ 56472 w 603652"/>
              <a:gd name="connsiteY24" fmla="*/ 108588 h 110081"/>
              <a:gd name="connsiteX25" fmla="*/ 44520 w 603652"/>
              <a:gd name="connsiteY25" fmla="*/ 108588 h 110081"/>
              <a:gd name="connsiteX26" fmla="*/ 50795 w 603652"/>
              <a:gd name="connsiteY26" fmla="*/ 77661 h 110081"/>
              <a:gd name="connsiteX27" fmla="*/ 28386 w 603652"/>
              <a:gd name="connsiteY27" fmla="*/ 77661 h 110081"/>
              <a:gd name="connsiteX28" fmla="*/ 22111 w 603652"/>
              <a:gd name="connsiteY28" fmla="*/ 108588 h 110081"/>
              <a:gd name="connsiteX29" fmla="*/ 30626 w 603652"/>
              <a:gd name="connsiteY29" fmla="*/ 67206 h 110081"/>
              <a:gd name="connsiteX30" fmla="*/ 53036 w 603652"/>
              <a:gd name="connsiteY30" fmla="*/ 67206 h 110081"/>
              <a:gd name="connsiteX31" fmla="*/ 58564 w 603652"/>
              <a:gd name="connsiteY31" fmla="*/ 40012 h 110081"/>
              <a:gd name="connsiteX32" fmla="*/ 36154 w 603652"/>
              <a:gd name="connsiteY32" fmla="*/ 40012 h 110081"/>
              <a:gd name="connsiteX33" fmla="*/ 30626 w 603652"/>
              <a:gd name="connsiteY33" fmla="*/ 67206 h 110081"/>
              <a:gd name="connsiteX34" fmla="*/ 107827 w 603652"/>
              <a:gd name="connsiteY34" fmla="*/ 1493 h 110081"/>
              <a:gd name="connsiteX35" fmla="*/ 173264 w 603652"/>
              <a:gd name="connsiteY35" fmla="*/ 1493 h 110081"/>
              <a:gd name="connsiteX36" fmla="*/ 173264 w 603652"/>
              <a:gd name="connsiteY36" fmla="*/ 14374 h 110081"/>
              <a:gd name="connsiteX37" fmla="*/ 121871 w 603652"/>
              <a:gd name="connsiteY37" fmla="*/ 14374 h 110081"/>
              <a:gd name="connsiteX38" fmla="*/ 121871 w 603652"/>
              <a:gd name="connsiteY38" fmla="*/ 49907 h 110081"/>
              <a:gd name="connsiteX39" fmla="*/ 165495 w 603652"/>
              <a:gd name="connsiteY39" fmla="*/ 49907 h 110081"/>
              <a:gd name="connsiteX40" fmla="*/ 165495 w 603652"/>
              <a:gd name="connsiteY40" fmla="*/ 62601 h 110081"/>
              <a:gd name="connsiteX41" fmla="*/ 121871 w 603652"/>
              <a:gd name="connsiteY41" fmla="*/ 62601 h 110081"/>
              <a:gd name="connsiteX42" fmla="*/ 121871 w 603652"/>
              <a:gd name="connsiteY42" fmla="*/ 108588 h 110081"/>
              <a:gd name="connsiteX43" fmla="*/ 107827 w 603652"/>
              <a:gd name="connsiteY43" fmla="*/ 108588 h 110081"/>
              <a:gd name="connsiteX44" fmla="*/ 107827 w 603652"/>
              <a:gd name="connsiteY44" fmla="*/ 1493 h 110081"/>
              <a:gd name="connsiteX45" fmla="*/ 192735 w 603652"/>
              <a:gd name="connsiteY45" fmla="*/ 1493 h 110081"/>
              <a:gd name="connsiteX46" fmla="*/ 258171 w 603652"/>
              <a:gd name="connsiteY46" fmla="*/ 1493 h 110081"/>
              <a:gd name="connsiteX47" fmla="*/ 258171 w 603652"/>
              <a:gd name="connsiteY47" fmla="*/ 14374 h 110081"/>
              <a:gd name="connsiteX48" fmla="*/ 206778 w 603652"/>
              <a:gd name="connsiteY48" fmla="*/ 14374 h 110081"/>
              <a:gd name="connsiteX49" fmla="*/ 206778 w 603652"/>
              <a:gd name="connsiteY49" fmla="*/ 49907 h 110081"/>
              <a:gd name="connsiteX50" fmla="*/ 250402 w 603652"/>
              <a:gd name="connsiteY50" fmla="*/ 49907 h 110081"/>
              <a:gd name="connsiteX51" fmla="*/ 250402 w 603652"/>
              <a:gd name="connsiteY51" fmla="*/ 62601 h 110081"/>
              <a:gd name="connsiteX52" fmla="*/ 206778 w 603652"/>
              <a:gd name="connsiteY52" fmla="*/ 62601 h 110081"/>
              <a:gd name="connsiteX53" fmla="*/ 206778 w 603652"/>
              <a:gd name="connsiteY53" fmla="*/ 108588 h 110081"/>
              <a:gd name="connsiteX54" fmla="*/ 192735 w 603652"/>
              <a:gd name="connsiteY54" fmla="*/ 108588 h 110081"/>
              <a:gd name="connsiteX55" fmla="*/ 192735 w 603652"/>
              <a:gd name="connsiteY55" fmla="*/ 1493 h 110081"/>
              <a:gd name="connsiteX56" fmla="*/ 343085 w 603652"/>
              <a:gd name="connsiteY56" fmla="*/ 73491 h 110081"/>
              <a:gd name="connsiteX57" fmla="*/ 338304 w 603652"/>
              <a:gd name="connsiteY57" fmla="*/ 92782 h 110081"/>
              <a:gd name="connsiteX58" fmla="*/ 325606 w 603652"/>
              <a:gd name="connsiteY58" fmla="*/ 105601 h 110081"/>
              <a:gd name="connsiteX59" fmla="*/ 307528 w 603652"/>
              <a:gd name="connsiteY59" fmla="*/ 110082 h 110081"/>
              <a:gd name="connsiteX60" fmla="*/ 285866 w 603652"/>
              <a:gd name="connsiteY60" fmla="*/ 104108 h 110081"/>
              <a:gd name="connsiteX61" fmla="*/ 273765 w 603652"/>
              <a:gd name="connsiteY61" fmla="*/ 87555 h 110081"/>
              <a:gd name="connsiteX62" fmla="*/ 270030 w 603652"/>
              <a:gd name="connsiteY62" fmla="*/ 63161 h 110081"/>
              <a:gd name="connsiteX63" fmla="*/ 274512 w 603652"/>
              <a:gd name="connsiteY63" fmla="*/ 30181 h 110081"/>
              <a:gd name="connsiteX64" fmla="*/ 288555 w 603652"/>
              <a:gd name="connsiteY64" fmla="*/ 8089 h 110081"/>
              <a:gd name="connsiteX65" fmla="*/ 313056 w 603652"/>
              <a:gd name="connsiteY65" fmla="*/ 0 h 110081"/>
              <a:gd name="connsiteX66" fmla="*/ 335615 w 603652"/>
              <a:gd name="connsiteY66" fmla="*/ 5538 h 110081"/>
              <a:gd name="connsiteX67" fmla="*/ 335615 w 603652"/>
              <a:gd name="connsiteY67" fmla="*/ 18855 h 110081"/>
              <a:gd name="connsiteX68" fmla="*/ 313056 w 603652"/>
              <a:gd name="connsiteY68" fmla="*/ 12259 h 110081"/>
              <a:gd name="connsiteX69" fmla="*/ 297519 w 603652"/>
              <a:gd name="connsiteY69" fmla="*/ 17361 h 110081"/>
              <a:gd name="connsiteX70" fmla="*/ 287659 w 603652"/>
              <a:gd name="connsiteY70" fmla="*/ 31238 h 110081"/>
              <a:gd name="connsiteX71" fmla="*/ 283476 w 603652"/>
              <a:gd name="connsiteY71" fmla="*/ 50778 h 110081"/>
              <a:gd name="connsiteX72" fmla="*/ 294830 w 603652"/>
              <a:gd name="connsiteY72" fmla="*/ 40759 h 110081"/>
              <a:gd name="connsiteX73" fmla="*/ 308873 w 603652"/>
              <a:gd name="connsiteY73" fmla="*/ 37523 h 110081"/>
              <a:gd name="connsiteX74" fmla="*/ 326203 w 603652"/>
              <a:gd name="connsiteY74" fmla="*/ 41693 h 110081"/>
              <a:gd name="connsiteX75" fmla="*/ 338454 w 603652"/>
              <a:gd name="connsiteY75" fmla="*/ 53952 h 110081"/>
              <a:gd name="connsiteX76" fmla="*/ 343085 w 603652"/>
              <a:gd name="connsiteY76" fmla="*/ 73491 h 110081"/>
              <a:gd name="connsiteX77" fmla="*/ 307080 w 603652"/>
              <a:gd name="connsiteY77" fmla="*/ 98134 h 110081"/>
              <a:gd name="connsiteX78" fmla="*/ 317837 w 603652"/>
              <a:gd name="connsiteY78" fmla="*/ 95458 h 110081"/>
              <a:gd name="connsiteX79" fmla="*/ 325755 w 603652"/>
              <a:gd name="connsiteY79" fmla="*/ 87244 h 110081"/>
              <a:gd name="connsiteX80" fmla="*/ 328892 w 603652"/>
              <a:gd name="connsiteY80" fmla="*/ 73803 h 110081"/>
              <a:gd name="connsiteX81" fmla="*/ 325904 w 603652"/>
              <a:gd name="connsiteY81" fmla="*/ 60174 h 110081"/>
              <a:gd name="connsiteX82" fmla="*/ 318285 w 603652"/>
              <a:gd name="connsiteY82" fmla="*/ 51961 h 110081"/>
              <a:gd name="connsiteX83" fmla="*/ 308574 w 603652"/>
              <a:gd name="connsiteY83" fmla="*/ 49160 h 110081"/>
              <a:gd name="connsiteX84" fmla="*/ 291991 w 603652"/>
              <a:gd name="connsiteY84" fmla="*/ 55570 h 110081"/>
              <a:gd name="connsiteX85" fmla="*/ 285417 w 603652"/>
              <a:gd name="connsiteY85" fmla="*/ 74114 h 110081"/>
              <a:gd name="connsiteX86" fmla="*/ 291244 w 603652"/>
              <a:gd name="connsiteY86" fmla="*/ 91538 h 110081"/>
              <a:gd name="connsiteX87" fmla="*/ 307080 w 603652"/>
              <a:gd name="connsiteY87" fmla="*/ 98134 h 110081"/>
              <a:gd name="connsiteX88" fmla="*/ 410731 w 603652"/>
              <a:gd name="connsiteY88" fmla="*/ 108588 h 110081"/>
              <a:gd name="connsiteX89" fmla="*/ 397584 w 603652"/>
              <a:gd name="connsiteY89" fmla="*/ 108588 h 110081"/>
              <a:gd name="connsiteX90" fmla="*/ 397584 w 603652"/>
              <a:gd name="connsiteY90" fmla="*/ 83199 h 110081"/>
              <a:gd name="connsiteX91" fmla="*/ 351271 w 603652"/>
              <a:gd name="connsiteY91" fmla="*/ 83199 h 110081"/>
              <a:gd name="connsiteX92" fmla="*/ 351271 w 603652"/>
              <a:gd name="connsiteY92" fmla="*/ 73927 h 110081"/>
              <a:gd name="connsiteX93" fmla="*/ 393102 w 603652"/>
              <a:gd name="connsiteY93" fmla="*/ 1493 h 110081"/>
              <a:gd name="connsiteX94" fmla="*/ 410731 w 603652"/>
              <a:gd name="connsiteY94" fmla="*/ 1493 h 110081"/>
              <a:gd name="connsiteX95" fmla="*/ 410731 w 603652"/>
              <a:gd name="connsiteY95" fmla="*/ 71873 h 110081"/>
              <a:gd name="connsiteX96" fmla="*/ 425223 w 603652"/>
              <a:gd name="connsiteY96" fmla="*/ 71873 h 110081"/>
              <a:gd name="connsiteX97" fmla="*/ 425223 w 603652"/>
              <a:gd name="connsiteY97" fmla="*/ 83199 h 110081"/>
              <a:gd name="connsiteX98" fmla="*/ 410731 w 603652"/>
              <a:gd name="connsiteY98" fmla="*/ 83199 h 110081"/>
              <a:gd name="connsiteX99" fmla="*/ 410731 w 603652"/>
              <a:gd name="connsiteY99" fmla="*/ 108588 h 110081"/>
              <a:gd name="connsiteX100" fmla="*/ 364866 w 603652"/>
              <a:gd name="connsiteY100" fmla="*/ 71873 h 110081"/>
              <a:gd name="connsiteX101" fmla="*/ 397584 w 603652"/>
              <a:gd name="connsiteY101" fmla="*/ 71873 h 110081"/>
              <a:gd name="connsiteX102" fmla="*/ 397584 w 603652"/>
              <a:gd name="connsiteY102" fmla="*/ 16117 h 110081"/>
              <a:gd name="connsiteX103" fmla="*/ 364866 w 603652"/>
              <a:gd name="connsiteY103" fmla="*/ 71873 h 110081"/>
              <a:gd name="connsiteX104" fmla="*/ 441924 w 603652"/>
              <a:gd name="connsiteY104" fmla="*/ 1493 h 110081"/>
              <a:gd name="connsiteX105" fmla="*/ 478227 w 603652"/>
              <a:gd name="connsiteY105" fmla="*/ 1493 h 110081"/>
              <a:gd name="connsiteX106" fmla="*/ 504970 w 603652"/>
              <a:gd name="connsiteY106" fmla="*/ 7467 h 110081"/>
              <a:gd name="connsiteX107" fmla="*/ 514232 w 603652"/>
              <a:gd name="connsiteY107" fmla="*/ 27629 h 110081"/>
              <a:gd name="connsiteX108" fmla="*/ 508406 w 603652"/>
              <a:gd name="connsiteY108" fmla="*/ 45116 h 110081"/>
              <a:gd name="connsiteX109" fmla="*/ 492869 w 603652"/>
              <a:gd name="connsiteY109" fmla="*/ 53018 h 110081"/>
              <a:gd name="connsiteX110" fmla="*/ 511693 w 603652"/>
              <a:gd name="connsiteY110" fmla="*/ 60361 h 110081"/>
              <a:gd name="connsiteX111" fmla="*/ 518117 w 603652"/>
              <a:gd name="connsiteY111" fmla="*/ 77661 h 110081"/>
              <a:gd name="connsiteX112" fmla="*/ 512888 w 603652"/>
              <a:gd name="connsiteY112" fmla="*/ 95583 h 110081"/>
              <a:gd name="connsiteX113" fmla="*/ 498546 w 603652"/>
              <a:gd name="connsiteY113" fmla="*/ 105601 h 110081"/>
              <a:gd name="connsiteX114" fmla="*/ 477929 w 603652"/>
              <a:gd name="connsiteY114" fmla="*/ 108588 h 110081"/>
              <a:gd name="connsiteX115" fmla="*/ 441924 w 603652"/>
              <a:gd name="connsiteY115" fmla="*/ 108588 h 110081"/>
              <a:gd name="connsiteX116" fmla="*/ 441924 w 603652"/>
              <a:gd name="connsiteY116" fmla="*/ 1493 h 110081"/>
              <a:gd name="connsiteX117" fmla="*/ 477182 w 603652"/>
              <a:gd name="connsiteY117" fmla="*/ 47231 h 110081"/>
              <a:gd name="connsiteX118" fmla="*/ 493615 w 603652"/>
              <a:gd name="connsiteY118" fmla="*/ 42751 h 110081"/>
              <a:gd name="connsiteX119" fmla="*/ 500039 w 603652"/>
              <a:gd name="connsiteY119" fmla="*/ 28376 h 110081"/>
              <a:gd name="connsiteX120" fmla="*/ 494362 w 603652"/>
              <a:gd name="connsiteY120" fmla="*/ 17361 h 110081"/>
              <a:gd name="connsiteX121" fmla="*/ 478227 w 603652"/>
              <a:gd name="connsiteY121" fmla="*/ 14374 h 110081"/>
              <a:gd name="connsiteX122" fmla="*/ 455967 w 603652"/>
              <a:gd name="connsiteY122" fmla="*/ 14374 h 110081"/>
              <a:gd name="connsiteX123" fmla="*/ 455967 w 603652"/>
              <a:gd name="connsiteY123" fmla="*/ 47231 h 110081"/>
              <a:gd name="connsiteX124" fmla="*/ 477182 w 603652"/>
              <a:gd name="connsiteY124" fmla="*/ 47231 h 110081"/>
              <a:gd name="connsiteX125" fmla="*/ 477929 w 603652"/>
              <a:gd name="connsiteY125" fmla="*/ 95893 h 110081"/>
              <a:gd name="connsiteX126" fmla="*/ 496305 w 603652"/>
              <a:gd name="connsiteY126" fmla="*/ 92035 h 110081"/>
              <a:gd name="connsiteX127" fmla="*/ 503326 w 603652"/>
              <a:gd name="connsiteY127" fmla="*/ 77972 h 110081"/>
              <a:gd name="connsiteX128" fmla="*/ 496753 w 603652"/>
              <a:gd name="connsiteY128" fmla="*/ 63908 h 110081"/>
              <a:gd name="connsiteX129" fmla="*/ 476285 w 603652"/>
              <a:gd name="connsiteY129" fmla="*/ 59926 h 110081"/>
              <a:gd name="connsiteX130" fmla="*/ 455967 w 603652"/>
              <a:gd name="connsiteY130" fmla="*/ 59926 h 110081"/>
              <a:gd name="connsiteX131" fmla="*/ 455967 w 603652"/>
              <a:gd name="connsiteY131" fmla="*/ 95893 h 110081"/>
              <a:gd name="connsiteX132" fmla="*/ 477929 w 603652"/>
              <a:gd name="connsiteY132" fmla="*/ 95893 h 110081"/>
              <a:gd name="connsiteX133" fmla="*/ 589161 w 603652"/>
              <a:gd name="connsiteY133" fmla="*/ 108588 h 110081"/>
              <a:gd name="connsiteX134" fmla="*/ 576014 w 603652"/>
              <a:gd name="connsiteY134" fmla="*/ 108588 h 110081"/>
              <a:gd name="connsiteX135" fmla="*/ 576014 w 603652"/>
              <a:gd name="connsiteY135" fmla="*/ 83199 h 110081"/>
              <a:gd name="connsiteX136" fmla="*/ 529701 w 603652"/>
              <a:gd name="connsiteY136" fmla="*/ 83199 h 110081"/>
              <a:gd name="connsiteX137" fmla="*/ 529701 w 603652"/>
              <a:gd name="connsiteY137" fmla="*/ 73927 h 110081"/>
              <a:gd name="connsiteX138" fmla="*/ 571532 w 603652"/>
              <a:gd name="connsiteY138" fmla="*/ 1493 h 110081"/>
              <a:gd name="connsiteX139" fmla="*/ 589161 w 603652"/>
              <a:gd name="connsiteY139" fmla="*/ 1493 h 110081"/>
              <a:gd name="connsiteX140" fmla="*/ 589161 w 603652"/>
              <a:gd name="connsiteY140" fmla="*/ 71873 h 110081"/>
              <a:gd name="connsiteX141" fmla="*/ 603653 w 603652"/>
              <a:gd name="connsiteY141" fmla="*/ 71873 h 110081"/>
              <a:gd name="connsiteX142" fmla="*/ 603653 w 603652"/>
              <a:gd name="connsiteY142" fmla="*/ 83199 h 110081"/>
              <a:gd name="connsiteX143" fmla="*/ 589161 w 603652"/>
              <a:gd name="connsiteY143" fmla="*/ 83199 h 110081"/>
              <a:gd name="connsiteX144" fmla="*/ 589161 w 603652"/>
              <a:gd name="connsiteY144" fmla="*/ 108588 h 110081"/>
              <a:gd name="connsiteX145" fmla="*/ 543296 w 603652"/>
              <a:gd name="connsiteY145" fmla="*/ 71873 h 110081"/>
              <a:gd name="connsiteX146" fmla="*/ 576014 w 603652"/>
              <a:gd name="connsiteY146" fmla="*/ 71873 h 110081"/>
              <a:gd name="connsiteX147" fmla="*/ 576014 w 603652"/>
              <a:gd name="connsiteY147" fmla="*/ 16117 h 110081"/>
              <a:gd name="connsiteX148" fmla="*/ 543296 w 603652"/>
              <a:gd name="connsiteY148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603652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343085" y="73491"/>
                </a:moveTo>
                <a:cubicBezTo>
                  <a:pt x="343085" y="80772"/>
                  <a:pt x="341492" y="87182"/>
                  <a:pt x="338304" y="92782"/>
                </a:cubicBezTo>
                <a:cubicBezTo>
                  <a:pt x="335217" y="98258"/>
                  <a:pt x="330984" y="102490"/>
                  <a:pt x="325606" y="105601"/>
                </a:cubicBezTo>
                <a:cubicBezTo>
                  <a:pt x="320227" y="108588"/>
                  <a:pt x="314201" y="110082"/>
                  <a:pt x="307528" y="110082"/>
                </a:cubicBezTo>
                <a:cubicBezTo>
                  <a:pt x="298564" y="110082"/>
                  <a:pt x="291344" y="108091"/>
                  <a:pt x="285866" y="104108"/>
                </a:cubicBezTo>
                <a:cubicBezTo>
                  <a:pt x="280388" y="100125"/>
                  <a:pt x="276354" y="94587"/>
                  <a:pt x="273765" y="87555"/>
                </a:cubicBezTo>
                <a:cubicBezTo>
                  <a:pt x="271275" y="80461"/>
                  <a:pt x="270030" y="72372"/>
                  <a:pt x="270030" y="63161"/>
                </a:cubicBezTo>
                <a:cubicBezTo>
                  <a:pt x="270030" y="50653"/>
                  <a:pt x="271523" y="39639"/>
                  <a:pt x="274512" y="30181"/>
                </a:cubicBezTo>
                <a:cubicBezTo>
                  <a:pt x="277599" y="20722"/>
                  <a:pt x="282280" y="13379"/>
                  <a:pt x="288555" y="8089"/>
                </a:cubicBezTo>
                <a:cubicBezTo>
                  <a:pt x="294929" y="2675"/>
                  <a:pt x="303096" y="0"/>
                  <a:pt x="313056" y="0"/>
                </a:cubicBezTo>
                <a:cubicBezTo>
                  <a:pt x="321622" y="0"/>
                  <a:pt x="329141" y="1866"/>
                  <a:pt x="335615" y="5538"/>
                </a:cubicBezTo>
                <a:lnTo>
                  <a:pt x="335615" y="18855"/>
                </a:lnTo>
                <a:cubicBezTo>
                  <a:pt x="329141" y="14437"/>
                  <a:pt x="321622" y="12259"/>
                  <a:pt x="313056" y="12259"/>
                </a:cubicBezTo>
                <a:cubicBezTo>
                  <a:pt x="306881" y="12259"/>
                  <a:pt x="301702" y="13939"/>
                  <a:pt x="297519" y="17361"/>
                </a:cubicBezTo>
                <a:cubicBezTo>
                  <a:pt x="293336" y="20722"/>
                  <a:pt x="290049" y="25327"/>
                  <a:pt x="287659" y="31238"/>
                </a:cubicBezTo>
                <a:cubicBezTo>
                  <a:pt x="285368" y="37026"/>
                  <a:pt x="283973" y="43498"/>
                  <a:pt x="283476" y="50778"/>
                </a:cubicBezTo>
                <a:cubicBezTo>
                  <a:pt x="286762" y="46298"/>
                  <a:pt x="290547" y="42999"/>
                  <a:pt x="294830" y="40759"/>
                </a:cubicBezTo>
                <a:cubicBezTo>
                  <a:pt x="299112" y="38581"/>
                  <a:pt x="303793" y="37523"/>
                  <a:pt x="308873" y="37523"/>
                </a:cubicBezTo>
                <a:cubicBezTo>
                  <a:pt x="315347" y="37523"/>
                  <a:pt x="321124" y="38893"/>
                  <a:pt x="326203" y="41693"/>
                </a:cubicBezTo>
                <a:cubicBezTo>
                  <a:pt x="331382" y="44493"/>
                  <a:pt x="335466" y="48538"/>
                  <a:pt x="338454" y="53952"/>
                </a:cubicBezTo>
                <a:cubicBezTo>
                  <a:pt x="341541" y="59179"/>
                  <a:pt x="343085" y="65713"/>
                  <a:pt x="343085" y="73491"/>
                </a:cubicBezTo>
                <a:close/>
                <a:moveTo>
                  <a:pt x="307080" y="98134"/>
                </a:moveTo>
                <a:cubicBezTo>
                  <a:pt x="310964" y="98134"/>
                  <a:pt x="314550" y="97263"/>
                  <a:pt x="317837" y="95458"/>
                </a:cubicBezTo>
                <a:cubicBezTo>
                  <a:pt x="321124" y="93529"/>
                  <a:pt x="323763" y="90791"/>
                  <a:pt x="325755" y="87244"/>
                </a:cubicBezTo>
                <a:cubicBezTo>
                  <a:pt x="327847" y="83635"/>
                  <a:pt x="328892" y="79154"/>
                  <a:pt x="328892" y="73803"/>
                </a:cubicBezTo>
                <a:cubicBezTo>
                  <a:pt x="328892" y="68389"/>
                  <a:pt x="327896" y="63908"/>
                  <a:pt x="325904" y="60174"/>
                </a:cubicBezTo>
                <a:cubicBezTo>
                  <a:pt x="323912" y="56503"/>
                  <a:pt x="321372" y="53765"/>
                  <a:pt x="318285" y="51961"/>
                </a:cubicBezTo>
                <a:cubicBezTo>
                  <a:pt x="315198" y="50093"/>
                  <a:pt x="311961" y="49160"/>
                  <a:pt x="308574" y="49160"/>
                </a:cubicBezTo>
                <a:cubicBezTo>
                  <a:pt x="302000" y="49160"/>
                  <a:pt x="296473" y="51276"/>
                  <a:pt x="291991" y="55570"/>
                </a:cubicBezTo>
                <a:cubicBezTo>
                  <a:pt x="287609" y="59739"/>
                  <a:pt x="285417" y="65900"/>
                  <a:pt x="285417" y="74114"/>
                </a:cubicBezTo>
                <a:cubicBezTo>
                  <a:pt x="285417" y="81270"/>
                  <a:pt x="287360" y="87058"/>
                  <a:pt x="291244" y="91538"/>
                </a:cubicBezTo>
                <a:cubicBezTo>
                  <a:pt x="295128" y="95956"/>
                  <a:pt x="300407" y="98134"/>
                  <a:pt x="307080" y="98134"/>
                </a:cubicBezTo>
                <a:close/>
                <a:moveTo>
                  <a:pt x="410731" y="108588"/>
                </a:moveTo>
                <a:lnTo>
                  <a:pt x="397584" y="108588"/>
                </a:lnTo>
                <a:lnTo>
                  <a:pt x="397584" y="83199"/>
                </a:lnTo>
                <a:lnTo>
                  <a:pt x="351271" y="83199"/>
                </a:lnTo>
                <a:lnTo>
                  <a:pt x="351271" y="73927"/>
                </a:lnTo>
                <a:lnTo>
                  <a:pt x="393102" y="1493"/>
                </a:lnTo>
                <a:lnTo>
                  <a:pt x="410731" y="1493"/>
                </a:lnTo>
                <a:lnTo>
                  <a:pt x="410731" y="71873"/>
                </a:lnTo>
                <a:lnTo>
                  <a:pt x="425223" y="71873"/>
                </a:lnTo>
                <a:lnTo>
                  <a:pt x="425223" y="83199"/>
                </a:lnTo>
                <a:lnTo>
                  <a:pt x="410731" y="83199"/>
                </a:lnTo>
                <a:lnTo>
                  <a:pt x="410731" y="108588"/>
                </a:lnTo>
                <a:close/>
                <a:moveTo>
                  <a:pt x="364866" y="71873"/>
                </a:moveTo>
                <a:lnTo>
                  <a:pt x="397584" y="71873"/>
                </a:lnTo>
                <a:lnTo>
                  <a:pt x="397584" y="16117"/>
                </a:lnTo>
                <a:lnTo>
                  <a:pt x="364866" y="71873"/>
                </a:lnTo>
                <a:close/>
                <a:moveTo>
                  <a:pt x="441924" y="1493"/>
                </a:moveTo>
                <a:lnTo>
                  <a:pt x="478227" y="1493"/>
                </a:lnTo>
                <a:cubicBezTo>
                  <a:pt x="489980" y="1493"/>
                  <a:pt x="498894" y="3484"/>
                  <a:pt x="504970" y="7467"/>
                </a:cubicBezTo>
                <a:cubicBezTo>
                  <a:pt x="511145" y="11450"/>
                  <a:pt x="514232" y="18170"/>
                  <a:pt x="514232" y="27629"/>
                </a:cubicBezTo>
                <a:cubicBezTo>
                  <a:pt x="514232" y="35283"/>
                  <a:pt x="512290" y="41133"/>
                  <a:pt x="508406" y="45116"/>
                </a:cubicBezTo>
                <a:cubicBezTo>
                  <a:pt x="504521" y="48974"/>
                  <a:pt x="499342" y="51649"/>
                  <a:pt x="492869" y="53018"/>
                </a:cubicBezTo>
                <a:cubicBezTo>
                  <a:pt x="501135" y="54014"/>
                  <a:pt x="507410" y="56441"/>
                  <a:pt x="511693" y="60361"/>
                </a:cubicBezTo>
                <a:cubicBezTo>
                  <a:pt x="515975" y="64157"/>
                  <a:pt x="518117" y="69882"/>
                  <a:pt x="518117" y="77661"/>
                </a:cubicBezTo>
                <a:cubicBezTo>
                  <a:pt x="518117" y="85066"/>
                  <a:pt x="516374" y="91040"/>
                  <a:pt x="512888" y="95583"/>
                </a:cubicBezTo>
                <a:cubicBezTo>
                  <a:pt x="509402" y="100188"/>
                  <a:pt x="504621" y="103486"/>
                  <a:pt x="498546" y="105601"/>
                </a:cubicBezTo>
                <a:cubicBezTo>
                  <a:pt x="492470" y="107592"/>
                  <a:pt x="485598" y="108588"/>
                  <a:pt x="477929" y="108588"/>
                </a:cubicBezTo>
                <a:lnTo>
                  <a:pt x="441924" y="108588"/>
                </a:lnTo>
                <a:lnTo>
                  <a:pt x="441924" y="1493"/>
                </a:lnTo>
                <a:close/>
                <a:moveTo>
                  <a:pt x="477182" y="47231"/>
                </a:moveTo>
                <a:cubicBezTo>
                  <a:pt x="483954" y="47231"/>
                  <a:pt x="489432" y="45738"/>
                  <a:pt x="493615" y="42751"/>
                </a:cubicBezTo>
                <a:cubicBezTo>
                  <a:pt x="497898" y="39639"/>
                  <a:pt x="500039" y="34848"/>
                  <a:pt x="500039" y="28376"/>
                </a:cubicBezTo>
                <a:cubicBezTo>
                  <a:pt x="500039" y="22900"/>
                  <a:pt x="498147" y="19228"/>
                  <a:pt x="494362" y="17361"/>
                </a:cubicBezTo>
                <a:cubicBezTo>
                  <a:pt x="490577" y="15370"/>
                  <a:pt x="485199" y="14374"/>
                  <a:pt x="478227" y="14374"/>
                </a:cubicBezTo>
                <a:lnTo>
                  <a:pt x="455967" y="14374"/>
                </a:lnTo>
                <a:lnTo>
                  <a:pt x="455967" y="47231"/>
                </a:lnTo>
                <a:lnTo>
                  <a:pt x="477182" y="47231"/>
                </a:lnTo>
                <a:close/>
                <a:moveTo>
                  <a:pt x="477929" y="95893"/>
                </a:moveTo>
                <a:cubicBezTo>
                  <a:pt x="485498" y="95893"/>
                  <a:pt x="491623" y="94587"/>
                  <a:pt x="496305" y="92035"/>
                </a:cubicBezTo>
                <a:cubicBezTo>
                  <a:pt x="500986" y="89422"/>
                  <a:pt x="503326" y="84755"/>
                  <a:pt x="503326" y="77972"/>
                </a:cubicBezTo>
                <a:cubicBezTo>
                  <a:pt x="503326" y="71189"/>
                  <a:pt x="501135" y="66522"/>
                  <a:pt x="496753" y="63908"/>
                </a:cubicBezTo>
                <a:cubicBezTo>
                  <a:pt x="492470" y="61233"/>
                  <a:pt x="485647" y="59926"/>
                  <a:pt x="476285" y="59926"/>
                </a:cubicBezTo>
                <a:lnTo>
                  <a:pt x="455967" y="59926"/>
                </a:lnTo>
                <a:lnTo>
                  <a:pt x="455967" y="95893"/>
                </a:lnTo>
                <a:lnTo>
                  <a:pt x="477929" y="95893"/>
                </a:lnTo>
                <a:close/>
                <a:moveTo>
                  <a:pt x="589161" y="108588"/>
                </a:moveTo>
                <a:lnTo>
                  <a:pt x="576014" y="108588"/>
                </a:lnTo>
                <a:lnTo>
                  <a:pt x="576014" y="83199"/>
                </a:lnTo>
                <a:lnTo>
                  <a:pt x="529701" y="83199"/>
                </a:lnTo>
                <a:lnTo>
                  <a:pt x="529701" y="73927"/>
                </a:lnTo>
                <a:lnTo>
                  <a:pt x="571532" y="1493"/>
                </a:lnTo>
                <a:lnTo>
                  <a:pt x="589161" y="1493"/>
                </a:lnTo>
                <a:lnTo>
                  <a:pt x="589161" y="71873"/>
                </a:lnTo>
                <a:lnTo>
                  <a:pt x="603653" y="71873"/>
                </a:lnTo>
                <a:lnTo>
                  <a:pt x="603653" y="83199"/>
                </a:lnTo>
                <a:lnTo>
                  <a:pt x="589161" y="83199"/>
                </a:lnTo>
                <a:lnTo>
                  <a:pt x="589161" y="108588"/>
                </a:lnTo>
                <a:close/>
                <a:moveTo>
                  <a:pt x="543296" y="71873"/>
                </a:moveTo>
                <a:lnTo>
                  <a:pt x="576014" y="71873"/>
                </a:lnTo>
                <a:lnTo>
                  <a:pt x="576014" y="16117"/>
                </a:lnTo>
                <a:lnTo>
                  <a:pt x="543296" y="7187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5" name="Полилиния 1074">
            <a:extLst>
              <a:ext uri="{FF2B5EF4-FFF2-40B4-BE49-F238E27FC236}">
                <a16:creationId xmlns:a16="http://schemas.microsoft.com/office/drawing/2014/main" id="{7201EEDA-65C9-73F1-9EDA-2BD6AAFE2F3F}"/>
              </a:ext>
            </a:extLst>
          </p:cNvPr>
          <p:cNvSpPr/>
          <p:nvPr userDrawn="1"/>
        </p:nvSpPr>
        <p:spPr>
          <a:xfrm>
            <a:off x="16903366" y="8871205"/>
            <a:ext cx="1398954" cy="726227"/>
          </a:xfrm>
          <a:custGeom>
            <a:avLst/>
            <a:gdLst>
              <a:gd name="connsiteX0" fmla="*/ 638 w 1198727"/>
              <a:gd name="connsiteY0" fmla="*/ 1722 h 622284"/>
              <a:gd name="connsiteX1" fmla="*/ 1199366 w 1198727"/>
              <a:gd name="connsiteY1" fmla="*/ 1722 h 622284"/>
              <a:gd name="connsiteX2" fmla="*/ 1199366 w 1198727"/>
              <a:gd name="connsiteY2" fmla="*/ 624006 h 622284"/>
              <a:gd name="connsiteX3" fmla="*/ 638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722"/>
                </a:moveTo>
                <a:lnTo>
                  <a:pt x="1199366" y="1722"/>
                </a:lnTo>
                <a:lnTo>
                  <a:pt x="1199366" y="624006"/>
                </a:lnTo>
                <a:lnTo>
                  <a:pt x="638" y="624006"/>
                </a:lnTo>
                <a:close/>
              </a:path>
            </a:pathLst>
          </a:custGeom>
          <a:solidFill>
            <a:srgbClr val="FF91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6" name="Полилиния 1075">
            <a:extLst>
              <a:ext uri="{FF2B5EF4-FFF2-40B4-BE49-F238E27FC236}">
                <a16:creationId xmlns:a16="http://schemas.microsoft.com/office/drawing/2014/main" id="{02040F0F-8AF4-DAF7-5593-A8F5B9EE5CF6}"/>
              </a:ext>
            </a:extLst>
          </p:cNvPr>
          <p:cNvSpPr/>
          <p:nvPr userDrawn="1"/>
        </p:nvSpPr>
        <p:spPr>
          <a:xfrm>
            <a:off x="17026576" y="9172951"/>
            <a:ext cx="707860" cy="128468"/>
          </a:xfrm>
          <a:custGeom>
            <a:avLst/>
            <a:gdLst>
              <a:gd name="connsiteX0" fmla="*/ 22111 w 606547"/>
              <a:gd name="connsiteY0" fmla="*/ 108588 h 110081"/>
              <a:gd name="connsiteX1" fmla="*/ 10159 w 606547"/>
              <a:gd name="connsiteY1" fmla="*/ 108588 h 110081"/>
              <a:gd name="connsiteX2" fmla="*/ 16433 w 606547"/>
              <a:gd name="connsiteY2" fmla="*/ 77661 h 110081"/>
              <a:gd name="connsiteX3" fmla="*/ 0 w 606547"/>
              <a:gd name="connsiteY3" fmla="*/ 77661 h 110081"/>
              <a:gd name="connsiteX4" fmla="*/ 0 w 606547"/>
              <a:gd name="connsiteY4" fmla="*/ 67206 h 110081"/>
              <a:gd name="connsiteX5" fmla="*/ 18675 w 606547"/>
              <a:gd name="connsiteY5" fmla="*/ 67206 h 110081"/>
              <a:gd name="connsiteX6" fmla="*/ 24202 w 606547"/>
              <a:gd name="connsiteY6" fmla="*/ 40012 h 110081"/>
              <a:gd name="connsiteX7" fmla="*/ 4033 w 606547"/>
              <a:gd name="connsiteY7" fmla="*/ 40012 h 110081"/>
              <a:gd name="connsiteX8" fmla="*/ 4033 w 606547"/>
              <a:gd name="connsiteY8" fmla="*/ 29559 h 110081"/>
              <a:gd name="connsiteX9" fmla="*/ 26294 w 606547"/>
              <a:gd name="connsiteY9" fmla="*/ 29559 h 110081"/>
              <a:gd name="connsiteX10" fmla="*/ 32120 w 606547"/>
              <a:gd name="connsiteY10" fmla="*/ 1493 h 110081"/>
              <a:gd name="connsiteX11" fmla="*/ 44072 w 606547"/>
              <a:gd name="connsiteY11" fmla="*/ 1493 h 110081"/>
              <a:gd name="connsiteX12" fmla="*/ 38246 w 606547"/>
              <a:gd name="connsiteY12" fmla="*/ 29559 h 110081"/>
              <a:gd name="connsiteX13" fmla="*/ 60655 w 606547"/>
              <a:gd name="connsiteY13" fmla="*/ 29559 h 110081"/>
              <a:gd name="connsiteX14" fmla="*/ 66482 w 606547"/>
              <a:gd name="connsiteY14" fmla="*/ 1493 h 110081"/>
              <a:gd name="connsiteX15" fmla="*/ 78434 w 606547"/>
              <a:gd name="connsiteY15" fmla="*/ 1493 h 110081"/>
              <a:gd name="connsiteX16" fmla="*/ 72607 w 606547"/>
              <a:gd name="connsiteY16" fmla="*/ 29559 h 110081"/>
              <a:gd name="connsiteX17" fmla="*/ 89340 w 606547"/>
              <a:gd name="connsiteY17" fmla="*/ 29559 h 110081"/>
              <a:gd name="connsiteX18" fmla="*/ 89340 w 606547"/>
              <a:gd name="connsiteY18" fmla="*/ 40012 h 110081"/>
              <a:gd name="connsiteX19" fmla="*/ 70516 w 606547"/>
              <a:gd name="connsiteY19" fmla="*/ 40012 h 110081"/>
              <a:gd name="connsiteX20" fmla="*/ 64988 w 606547"/>
              <a:gd name="connsiteY20" fmla="*/ 67206 h 110081"/>
              <a:gd name="connsiteX21" fmla="*/ 85306 w 606547"/>
              <a:gd name="connsiteY21" fmla="*/ 67206 h 110081"/>
              <a:gd name="connsiteX22" fmla="*/ 85306 w 606547"/>
              <a:gd name="connsiteY22" fmla="*/ 77661 h 110081"/>
              <a:gd name="connsiteX23" fmla="*/ 62747 w 606547"/>
              <a:gd name="connsiteY23" fmla="*/ 77661 h 110081"/>
              <a:gd name="connsiteX24" fmla="*/ 56472 w 606547"/>
              <a:gd name="connsiteY24" fmla="*/ 108588 h 110081"/>
              <a:gd name="connsiteX25" fmla="*/ 44520 w 606547"/>
              <a:gd name="connsiteY25" fmla="*/ 108588 h 110081"/>
              <a:gd name="connsiteX26" fmla="*/ 50795 w 606547"/>
              <a:gd name="connsiteY26" fmla="*/ 77661 h 110081"/>
              <a:gd name="connsiteX27" fmla="*/ 28386 w 606547"/>
              <a:gd name="connsiteY27" fmla="*/ 77661 h 110081"/>
              <a:gd name="connsiteX28" fmla="*/ 22111 w 606547"/>
              <a:gd name="connsiteY28" fmla="*/ 108588 h 110081"/>
              <a:gd name="connsiteX29" fmla="*/ 30626 w 606547"/>
              <a:gd name="connsiteY29" fmla="*/ 67206 h 110081"/>
              <a:gd name="connsiteX30" fmla="*/ 53036 w 606547"/>
              <a:gd name="connsiteY30" fmla="*/ 67206 h 110081"/>
              <a:gd name="connsiteX31" fmla="*/ 58564 w 606547"/>
              <a:gd name="connsiteY31" fmla="*/ 40012 h 110081"/>
              <a:gd name="connsiteX32" fmla="*/ 36154 w 606547"/>
              <a:gd name="connsiteY32" fmla="*/ 40012 h 110081"/>
              <a:gd name="connsiteX33" fmla="*/ 30626 w 606547"/>
              <a:gd name="connsiteY33" fmla="*/ 67206 h 110081"/>
              <a:gd name="connsiteX34" fmla="*/ 107827 w 606547"/>
              <a:gd name="connsiteY34" fmla="*/ 1493 h 110081"/>
              <a:gd name="connsiteX35" fmla="*/ 173264 w 606547"/>
              <a:gd name="connsiteY35" fmla="*/ 1493 h 110081"/>
              <a:gd name="connsiteX36" fmla="*/ 173264 w 606547"/>
              <a:gd name="connsiteY36" fmla="*/ 14374 h 110081"/>
              <a:gd name="connsiteX37" fmla="*/ 121871 w 606547"/>
              <a:gd name="connsiteY37" fmla="*/ 14374 h 110081"/>
              <a:gd name="connsiteX38" fmla="*/ 121871 w 606547"/>
              <a:gd name="connsiteY38" fmla="*/ 49907 h 110081"/>
              <a:gd name="connsiteX39" fmla="*/ 165495 w 606547"/>
              <a:gd name="connsiteY39" fmla="*/ 49907 h 110081"/>
              <a:gd name="connsiteX40" fmla="*/ 165495 w 606547"/>
              <a:gd name="connsiteY40" fmla="*/ 62601 h 110081"/>
              <a:gd name="connsiteX41" fmla="*/ 121871 w 606547"/>
              <a:gd name="connsiteY41" fmla="*/ 62601 h 110081"/>
              <a:gd name="connsiteX42" fmla="*/ 121871 w 606547"/>
              <a:gd name="connsiteY42" fmla="*/ 108588 h 110081"/>
              <a:gd name="connsiteX43" fmla="*/ 107827 w 606547"/>
              <a:gd name="connsiteY43" fmla="*/ 108588 h 110081"/>
              <a:gd name="connsiteX44" fmla="*/ 107827 w 606547"/>
              <a:gd name="connsiteY44" fmla="*/ 1493 h 110081"/>
              <a:gd name="connsiteX45" fmla="*/ 192735 w 606547"/>
              <a:gd name="connsiteY45" fmla="*/ 1493 h 110081"/>
              <a:gd name="connsiteX46" fmla="*/ 258171 w 606547"/>
              <a:gd name="connsiteY46" fmla="*/ 1493 h 110081"/>
              <a:gd name="connsiteX47" fmla="*/ 258171 w 606547"/>
              <a:gd name="connsiteY47" fmla="*/ 14374 h 110081"/>
              <a:gd name="connsiteX48" fmla="*/ 206778 w 606547"/>
              <a:gd name="connsiteY48" fmla="*/ 14374 h 110081"/>
              <a:gd name="connsiteX49" fmla="*/ 206778 w 606547"/>
              <a:gd name="connsiteY49" fmla="*/ 49907 h 110081"/>
              <a:gd name="connsiteX50" fmla="*/ 250402 w 606547"/>
              <a:gd name="connsiteY50" fmla="*/ 49907 h 110081"/>
              <a:gd name="connsiteX51" fmla="*/ 250402 w 606547"/>
              <a:gd name="connsiteY51" fmla="*/ 62601 h 110081"/>
              <a:gd name="connsiteX52" fmla="*/ 206778 w 606547"/>
              <a:gd name="connsiteY52" fmla="*/ 62601 h 110081"/>
              <a:gd name="connsiteX53" fmla="*/ 206778 w 606547"/>
              <a:gd name="connsiteY53" fmla="*/ 108588 h 110081"/>
              <a:gd name="connsiteX54" fmla="*/ 192735 w 606547"/>
              <a:gd name="connsiteY54" fmla="*/ 108588 h 110081"/>
              <a:gd name="connsiteX55" fmla="*/ 192735 w 606547"/>
              <a:gd name="connsiteY55" fmla="*/ 1493 h 110081"/>
              <a:gd name="connsiteX56" fmla="*/ 270030 w 606547"/>
              <a:gd name="connsiteY56" fmla="*/ 35844 h 110081"/>
              <a:gd name="connsiteX57" fmla="*/ 274661 w 606547"/>
              <a:gd name="connsiteY57" fmla="*/ 17051 h 110081"/>
              <a:gd name="connsiteX58" fmla="*/ 287509 w 606547"/>
              <a:gd name="connsiteY58" fmla="*/ 4480 h 110081"/>
              <a:gd name="connsiteX59" fmla="*/ 305586 w 606547"/>
              <a:gd name="connsiteY59" fmla="*/ 0 h 110081"/>
              <a:gd name="connsiteX60" fmla="*/ 327249 w 606547"/>
              <a:gd name="connsiteY60" fmla="*/ 5849 h 110081"/>
              <a:gd name="connsiteX61" fmla="*/ 339350 w 606547"/>
              <a:gd name="connsiteY61" fmla="*/ 21842 h 110081"/>
              <a:gd name="connsiteX62" fmla="*/ 343085 w 606547"/>
              <a:gd name="connsiteY62" fmla="*/ 45426 h 110081"/>
              <a:gd name="connsiteX63" fmla="*/ 338454 w 606547"/>
              <a:gd name="connsiteY63" fmla="*/ 80088 h 110081"/>
              <a:gd name="connsiteX64" fmla="*/ 324111 w 606547"/>
              <a:gd name="connsiteY64" fmla="*/ 102303 h 110081"/>
              <a:gd name="connsiteX65" fmla="*/ 299610 w 606547"/>
              <a:gd name="connsiteY65" fmla="*/ 110082 h 110081"/>
              <a:gd name="connsiteX66" fmla="*/ 276603 w 606547"/>
              <a:gd name="connsiteY66" fmla="*/ 104543 h 110081"/>
              <a:gd name="connsiteX67" fmla="*/ 276603 w 606547"/>
              <a:gd name="connsiteY67" fmla="*/ 91413 h 110081"/>
              <a:gd name="connsiteX68" fmla="*/ 299610 w 606547"/>
              <a:gd name="connsiteY68" fmla="*/ 98010 h 110081"/>
              <a:gd name="connsiteX69" fmla="*/ 315147 w 606547"/>
              <a:gd name="connsiteY69" fmla="*/ 92907 h 110081"/>
              <a:gd name="connsiteX70" fmla="*/ 324858 w 606547"/>
              <a:gd name="connsiteY70" fmla="*/ 79154 h 110081"/>
              <a:gd name="connsiteX71" fmla="*/ 329191 w 606547"/>
              <a:gd name="connsiteY71" fmla="*/ 59739 h 110081"/>
              <a:gd name="connsiteX72" fmla="*/ 318136 w 606547"/>
              <a:gd name="connsiteY72" fmla="*/ 68389 h 110081"/>
              <a:gd name="connsiteX73" fmla="*/ 304242 w 606547"/>
              <a:gd name="connsiteY73" fmla="*/ 71127 h 110081"/>
              <a:gd name="connsiteX74" fmla="*/ 286912 w 606547"/>
              <a:gd name="connsiteY74" fmla="*/ 67082 h 110081"/>
              <a:gd name="connsiteX75" fmla="*/ 274512 w 606547"/>
              <a:gd name="connsiteY75" fmla="*/ 55134 h 110081"/>
              <a:gd name="connsiteX76" fmla="*/ 270030 w 606547"/>
              <a:gd name="connsiteY76" fmla="*/ 35844 h 110081"/>
              <a:gd name="connsiteX77" fmla="*/ 306034 w 606547"/>
              <a:gd name="connsiteY77" fmla="*/ 12134 h 110081"/>
              <a:gd name="connsiteX78" fmla="*/ 295278 w 606547"/>
              <a:gd name="connsiteY78" fmla="*/ 14810 h 110081"/>
              <a:gd name="connsiteX79" fmla="*/ 287210 w 606547"/>
              <a:gd name="connsiteY79" fmla="*/ 22589 h 110081"/>
              <a:gd name="connsiteX80" fmla="*/ 284222 w 606547"/>
              <a:gd name="connsiteY80" fmla="*/ 35532 h 110081"/>
              <a:gd name="connsiteX81" fmla="*/ 287210 w 606547"/>
              <a:gd name="connsiteY81" fmla="*/ 48725 h 110081"/>
              <a:gd name="connsiteX82" fmla="*/ 294830 w 606547"/>
              <a:gd name="connsiteY82" fmla="*/ 56752 h 110081"/>
              <a:gd name="connsiteX83" fmla="*/ 304540 w 606547"/>
              <a:gd name="connsiteY83" fmla="*/ 59428 h 110081"/>
              <a:gd name="connsiteX84" fmla="*/ 320974 w 606547"/>
              <a:gd name="connsiteY84" fmla="*/ 53329 h 110081"/>
              <a:gd name="connsiteX85" fmla="*/ 327697 w 606547"/>
              <a:gd name="connsiteY85" fmla="*/ 35283 h 110081"/>
              <a:gd name="connsiteX86" fmla="*/ 321870 w 606547"/>
              <a:gd name="connsiteY86" fmla="*/ 18544 h 110081"/>
              <a:gd name="connsiteX87" fmla="*/ 306034 w 606547"/>
              <a:gd name="connsiteY87" fmla="*/ 12134 h 110081"/>
              <a:gd name="connsiteX88" fmla="*/ 402813 w 606547"/>
              <a:gd name="connsiteY88" fmla="*/ 108588 h 110081"/>
              <a:gd name="connsiteX89" fmla="*/ 389218 w 606547"/>
              <a:gd name="connsiteY89" fmla="*/ 108588 h 110081"/>
              <a:gd name="connsiteX90" fmla="*/ 389218 w 606547"/>
              <a:gd name="connsiteY90" fmla="*/ 18357 h 110081"/>
              <a:gd name="connsiteX91" fmla="*/ 359637 w 606547"/>
              <a:gd name="connsiteY91" fmla="*/ 41071 h 110081"/>
              <a:gd name="connsiteX92" fmla="*/ 359637 w 606547"/>
              <a:gd name="connsiteY92" fmla="*/ 26011 h 110081"/>
              <a:gd name="connsiteX93" fmla="*/ 391459 w 606547"/>
              <a:gd name="connsiteY93" fmla="*/ 1493 h 110081"/>
              <a:gd name="connsiteX94" fmla="*/ 402813 w 606547"/>
              <a:gd name="connsiteY94" fmla="*/ 1493 h 110081"/>
              <a:gd name="connsiteX95" fmla="*/ 402813 w 606547"/>
              <a:gd name="connsiteY95" fmla="*/ 108588 h 110081"/>
              <a:gd name="connsiteX96" fmla="*/ 488386 w 606547"/>
              <a:gd name="connsiteY96" fmla="*/ 110082 h 110081"/>
              <a:gd name="connsiteX97" fmla="*/ 460599 w 606547"/>
              <a:gd name="connsiteY97" fmla="*/ 103486 h 110081"/>
              <a:gd name="connsiteX98" fmla="*/ 442222 w 606547"/>
              <a:gd name="connsiteY98" fmla="*/ 84693 h 110081"/>
              <a:gd name="connsiteX99" fmla="*/ 435649 w 606547"/>
              <a:gd name="connsiteY99" fmla="*/ 55134 h 110081"/>
              <a:gd name="connsiteX100" fmla="*/ 449244 w 606547"/>
              <a:gd name="connsiteY100" fmla="*/ 14810 h 110081"/>
              <a:gd name="connsiteX101" fmla="*/ 488088 w 606547"/>
              <a:gd name="connsiteY101" fmla="*/ 186 h 110081"/>
              <a:gd name="connsiteX102" fmla="*/ 506015 w 606547"/>
              <a:gd name="connsiteY102" fmla="*/ 2240 h 110081"/>
              <a:gd name="connsiteX103" fmla="*/ 520656 w 606547"/>
              <a:gd name="connsiteY103" fmla="*/ 7902 h 110081"/>
              <a:gd name="connsiteX104" fmla="*/ 520656 w 606547"/>
              <a:gd name="connsiteY104" fmla="*/ 21344 h 110081"/>
              <a:gd name="connsiteX105" fmla="*/ 505567 w 606547"/>
              <a:gd name="connsiteY105" fmla="*/ 15121 h 110081"/>
              <a:gd name="connsiteX106" fmla="*/ 487938 w 606547"/>
              <a:gd name="connsiteY106" fmla="*/ 12881 h 110081"/>
              <a:gd name="connsiteX107" fmla="*/ 460001 w 606547"/>
              <a:gd name="connsiteY107" fmla="*/ 23459 h 110081"/>
              <a:gd name="connsiteX108" fmla="*/ 450888 w 606547"/>
              <a:gd name="connsiteY108" fmla="*/ 55134 h 110081"/>
              <a:gd name="connsiteX109" fmla="*/ 460748 w 606547"/>
              <a:gd name="connsiteY109" fmla="*/ 86933 h 110081"/>
              <a:gd name="connsiteX110" fmla="*/ 489582 w 606547"/>
              <a:gd name="connsiteY110" fmla="*/ 97387 h 110081"/>
              <a:gd name="connsiteX111" fmla="*/ 520656 w 606547"/>
              <a:gd name="connsiteY111" fmla="*/ 87555 h 110081"/>
              <a:gd name="connsiteX112" fmla="*/ 520656 w 606547"/>
              <a:gd name="connsiteY112" fmla="*/ 100997 h 110081"/>
              <a:gd name="connsiteX113" fmla="*/ 506762 w 606547"/>
              <a:gd name="connsiteY113" fmla="*/ 107717 h 110081"/>
              <a:gd name="connsiteX114" fmla="*/ 488386 w 606547"/>
              <a:gd name="connsiteY114" fmla="*/ 110082 h 110081"/>
              <a:gd name="connsiteX115" fmla="*/ 571140 w 606547"/>
              <a:gd name="connsiteY115" fmla="*/ 110082 h 110081"/>
              <a:gd name="connsiteX116" fmla="*/ 552466 w 606547"/>
              <a:gd name="connsiteY116" fmla="*/ 106473 h 110081"/>
              <a:gd name="connsiteX117" fmla="*/ 539767 w 606547"/>
              <a:gd name="connsiteY117" fmla="*/ 96205 h 110081"/>
              <a:gd name="connsiteX118" fmla="*/ 535135 w 606547"/>
              <a:gd name="connsiteY118" fmla="*/ 79777 h 110081"/>
              <a:gd name="connsiteX119" fmla="*/ 540514 w 606547"/>
              <a:gd name="connsiteY119" fmla="*/ 62291 h 110081"/>
              <a:gd name="connsiteX120" fmla="*/ 555304 w 606547"/>
              <a:gd name="connsiteY120" fmla="*/ 51711 h 110081"/>
              <a:gd name="connsiteX121" fmla="*/ 543352 w 606547"/>
              <a:gd name="connsiteY121" fmla="*/ 42564 h 110081"/>
              <a:gd name="connsiteX122" fmla="*/ 539020 w 606547"/>
              <a:gd name="connsiteY122" fmla="*/ 27504 h 110081"/>
              <a:gd name="connsiteX123" fmla="*/ 543203 w 606547"/>
              <a:gd name="connsiteY123" fmla="*/ 12570 h 110081"/>
              <a:gd name="connsiteX124" fmla="*/ 554706 w 606547"/>
              <a:gd name="connsiteY124" fmla="*/ 3298 h 110081"/>
              <a:gd name="connsiteX125" fmla="*/ 571140 w 606547"/>
              <a:gd name="connsiteY125" fmla="*/ 186 h 110081"/>
              <a:gd name="connsiteX126" fmla="*/ 587275 w 606547"/>
              <a:gd name="connsiteY126" fmla="*/ 3298 h 110081"/>
              <a:gd name="connsiteX127" fmla="*/ 598629 w 606547"/>
              <a:gd name="connsiteY127" fmla="*/ 12259 h 110081"/>
              <a:gd name="connsiteX128" fmla="*/ 602962 w 606547"/>
              <a:gd name="connsiteY128" fmla="*/ 27194 h 110081"/>
              <a:gd name="connsiteX129" fmla="*/ 598480 w 606547"/>
              <a:gd name="connsiteY129" fmla="*/ 42439 h 110081"/>
              <a:gd name="connsiteX130" fmla="*/ 586678 w 606547"/>
              <a:gd name="connsiteY130" fmla="*/ 51711 h 110081"/>
              <a:gd name="connsiteX131" fmla="*/ 601020 w 606547"/>
              <a:gd name="connsiteY131" fmla="*/ 61855 h 110081"/>
              <a:gd name="connsiteX132" fmla="*/ 606547 w 606547"/>
              <a:gd name="connsiteY132" fmla="*/ 79341 h 110081"/>
              <a:gd name="connsiteX133" fmla="*/ 601916 w 606547"/>
              <a:gd name="connsiteY133" fmla="*/ 95893 h 110081"/>
              <a:gd name="connsiteX134" fmla="*/ 589217 w 606547"/>
              <a:gd name="connsiteY134" fmla="*/ 106473 h 110081"/>
              <a:gd name="connsiteX135" fmla="*/ 571140 w 606547"/>
              <a:gd name="connsiteY135" fmla="*/ 110082 h 110081"/>
              <a:gd name="connsiteX136" fmla="*/ 571140 w 606547"/>
              <a:gd name="connsiteY136" fmla="*/ 46298 h 110081"/>
              <a:gd name="connsiteX137" fmla="*/ 584138 w 606547"/>
              <a:gd name="connsiteY137" fmla="*/ 41817 h 110081"/>
              <a:gd name="connsiteX138" fmla="*/ 589367 w 606547"/>
              <a:gd name="connsiteY138" fmla="*/ 29122 h 110081"/>
              <a:gd name="connsiteX139" fmla="*/ 584138 w 606547"/>
              <a:gd name="connsiteY139" fmla="*/ 16615 h 110081"/>
              <a:gd name="connsiteX140" fmla="*/ 571140 w 606547"/>
              <a:gd name="connsiteY140" fmla="*/ 11947 h 110081"/>
              <a:gd name="connsiteX141" fmla="*/ 557844 w 606547"/>
              <a:gd name="connsiteY141" fmla="*/ 16615 h 110081"/>
              <a:gd name="connsiteX142" fmla="*/ 552615 w 606547"/>
              <a:gd name="connsiteY142" fmla="*/ 29122 h 110081"/>
              <a:gd name="connsiteX143" fmla="*/ 557844 w 606547"/>
              <a:gd name="connsiteY143" fmla="*/ 41817 h 110081"/>
              <a:gd name="connsiteX144" fmla="*/ 571140 w 606547"/>
              <a:gd name="connsiteY144" fmla="*/ 46298 h 110081"/>
              <a:gd name="connsiteX145" fmla="*/ 571140 w 606547"/>
              <a:gd name="connsiteY145" fmla="*/ 98258 h 110081"/>
              <a:gd name="connsiteX146" fmla="*/ 586528 w 606547"/>
              <a:gd name="connsiteY146" fmla="*/ 92907 h 110081"/>
              <a:gd name="connsiteX147" fmla="*/ 592803 w 606547"/>
              <a:gd name="connsiteY147" fmla="*/ 77536 h 110081"/>
              <a:gd name="connsiteX148" fmla="*/ 586528 w 606547"/>
              <a:gd name="connsiteY148" fmla="*/ 62291 h 110081"/>
              <a:gd name="connsiteX149" fmla="*/ 571140 w 606547"/>
              <a:gd name="connsiteY149" fmla="*/ 56752 h 110081"/>
              <a:gd name="connsiteX150" fmla="*/ 555155 w 606547"/>
              <a:gd name="connsiteY150" fmla="*/ 62291 h 110081"/>
              <a:gd name="connsiteX151" fmla="*/ 548880 w 606547"/>
              <a:gd name="connsiteY151" fmla="*/ 77536 h 110081"/>
              <a:gd name="connsiteX152" fmla="*/ 555155 w 606547"/>
              <a:gd name="connsiteY152" fmla="*/ 92907 h 110081"/>
              <a:gd name="connsiteX153" fmla="*/ 571140 w 606547"/>
              <a:gd name="connsiteY153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0654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0030" y="35844"/>
                </a:moveTo>
                <a:cubicBezTo>
                  <a:pt x="270030" y="28687"/>
                  <a:pt x="271573" y="22402"/>
                  <a:pt x="274661" y="17051"/>
                </a:cubicBezTo>
                <a:cubicBezTo>
                  <a:pt x="277848" y="11637"/>
                  <a:pt x="282131" y="7467"/>
                  <a:pt x="287509" y="4480"/>
                </a:cubicBezTo>
                <a:cubicBezTo>
                  <a:pt x="292887" y="1493"/>
                  <a:pt x="298913" y="0"/>
                  <a:pt x="305586" y="0"/>
                </a:cubicBezTo>
                <a:cubicBezTo>
                  <a:pt x="314550" y="0"/>
                  <a:pt x="321771" y="1929"/>
                  <a:pt x="327249" y="5849"/>
                </a:cubicBezTo>
                <a:cubicBezTo>
                  <a:pt x="332826" y="9645"/>
                  <a:pt x="336860" y="14934"/>
                  <a:pt x="339350" y="21842"/>
                </a:cubicBezTo>
                <a:cubicBezTo>
                  <a:pt x="341840" y="28563"/>
                  <a:pt x="343085" y="36466"/>
                  <a:pt x="343085" y="45426"/>
                </a:cubicBezTo>
                <a:cubicBezTo>
                  <a:pt x="343085" y="58868"/>
                  <a:pt x="341541" y="70380"/>
                  <a:pt x="338454" y="80088"/>
                </a:cubicBezTo>
                <a:cubicBezTo>
                  <a:pt x="335366" y="89733"/>
                  <a:pt x="330585" y="97138"/>
                  <a:pt x="324111" y="102303"/>
                </a:cubicBezTo>
                <a:cubicBezTo>
                  <a:pt x="317737" y="107468"/>
                  <a:pt x="309570" y="110082"/>
                  <a:pt x="299610" y="110082"/>
                </a:cubicBezTo>
                <a:cubicBezTo>
                  <a:pt x="290646" y="110082"/>
                  <a:pt x="282977" y="108215"/>
                  <a:pt x="276603" y="104543"/>
                </a:cubicBezTo>
                <a:lnTo>
                  <a:pt x="276603" y="91413"/>
                </a:lnTo>
                <a:cubicBezTo>
                  <a:pt x="283376" y="95769"/>
                  <a:pt x="291045" y="98010"/>
                  <a:pt x="299610" y="98010"/>
                </a:cubicBezTo>
                <a:cubicBezTo>
                  <a:pt x="305785" y="98010"/>
                  <a:pt x="310964" y="96267"/>
                  <a:pt x="315147" y="92907"/>
                </a:cubicBezTo>
                <a:cubicBezTo>
                  <a:pt x="319331" y="89546"/>
                  <a:pt x="322568" y="84941"/>
                  <a:pt x="324858" y="79154"/>
                </a:cubicBezTo>
                <a:cubicBezTo>
                  <a:pt x="327249" y="73367"/>
                  <a:pt x="328693" y="66896"/>
                  <a:pt x="329191" y="59739"/>
                </a:cubicBezTo>
                <a:cubicBezTo>
                  <a:pt x="326103" y="63660"/>
                  <a:pt x="322418" y="66522"/>
                  <a:pt x="318136" y="68389"/>
                </a:cubicBezTo>
                <a:cubicBezTo>
                  <a:pt x="313853" y="70193"/>
                  <a:pt x="309222" y="71127"/>
                  <a:pt x="304242" y="71127"/>
                </a:cubicBezTo>
                <a:cubicBezTo>
                  <a:pt x="297867" y="71127"/>
                  <a:pt x="292091" y="69758"/>
                  <a:pt x="286912" y="67082"/>
                </a:cubicBezTo>
                <a:cubicBezTo>
                  <a:pt x="281732" y="64406"/>
                  <a:pt x="277599" y="60424"/>
                  <a:pt x="274512" y="55134"/>
                </a:cubicBezTo>
                <a:cubicBezTo>
                  <a:pt x="271523" y="49845"/>
                  <a:pt x="270030" y="43435"/>
                  <a:pt x="270030" y="35844"/>
                </a:cubicBezTo>
                <a:close/>
                <a:moveTo>
                  <a:pt x="306034" y="12134"/>
                </a:moveTo>
                <a:cubicBezTo>
                  <a:pt x="302250" y="12134"/>
                  <a:pt x="298664" y="13006"/>
                  <a:pt x="295278" y="14810"/>
                </a:cubicBezTo>
                <a:cubicBezTo>
                  <a:pt x="291991" y="16490"/>
                  <a:pt x="289302" y="19104"/>
                  <a:pt x="287210" y="22589"/>
                </a:cubicBezTo>
                <a:cubicBezTo>
                  <a:pt x="285218" y="25949"/>
                  <a:pt x="284222" y="30305"/>
                  <a:pt x="284222" y="35532"/>
                </a:cubicBezTo>
                <a:cubicBezTo>
                  <a:pt x="284222" y="40759"/>
                  <a:pt x="285218" y="45116"/>
                  <a:pt x="287210" y="48725"/>
                </a:cubicBezTo>
                <a:cubicBezTo>
                  <a:pt x="289202" y="52271"/>
                  <a:pt x="291742" y="54947"/>
                  <a:pt x="294830" y="56752"/>
                </a:cubicBezTo>
                <a:cubicBezTo>
                  <a:pt x="297917" y="58556"/>
                  <a:pt x="301154" y="59428"/>
                  <a:pt x="304540" y="59428"/>
                </a:cubicBezTo>
                <a:cubicBezTo>
                  <a:pt x="311114" y="59428"/>
                  <a:pt x="316592" y="57437"/>
                  <a:pt x="320974" y="53329"/>
                </a:cubicBezTo>
                <a:cubicBezTo>
                  <a:pt x="325456" y="49160"/>
                  <a:pt x="327697" y="43124"/>
                  <a:pt x="327697" y="35283"/>
                </a:cubicBezTo>
                <a:cubicBezTo>
                  <a:pt x="327697" y="28313"/>
                  <a:pt x="325755" y="22713"/>
                  <a:pt x="321870" y="18544"/>
                </a:cubicBezTo>
                <a:cubicBezTo>
                  <a:pt x="317986" y="14250"/>
                  <a:pt x="312708" y="12134"/>
                  <a:pt x="306034" y="12134"/>
                </a:cubicBezTo>
                <a:close/>
                <a:moveTo>
                  <a:pt x="402813" y="108588"/>
                </a:moveTo>
                <a:lnTo>
                  <a:pt x="389218" y="108588"/>
                </a:lnTo>
                <a:lnTo>
                  <a:pt x="389218" y="18357"/>
                </a:lnTo>
                <a:lnTo>
                  <a:pt x="359637" y="41071"/>
                </a:lnTo>
                <a:lnTo>
                  <a:pt x="359637" y="26011"/>
                </a:lnTo>
                <a:lnTo>
                  <a:pt x="391459" y="1493"/>
                </a:lnTo>
                <a:lnTo>
                  <a:pt x="402813" y="1493"/>
                </a:lnTo>
                <a:lnTo>
                  <a:pt x="402813" y="108588"/>
                </a:lnTo>
                <a:close/>
                <a:moveTo>
                  <a:pt x="488386" y="110082"/>
                </a:moveTo>
                <a:cubicBezTo>
                  <a:pt x="477829" y="110082"/>
                  <a:pt x="468566" y="107904"/>
                  <a:pt x="460599" y="103486"/>
                </a:cubicBezTo>
                <a:cubicBezTo>
                  <a:pt x="452730" y="99129"/>
                  <a:pt x="446605" y="92844"/>
                  <a:pt x="442222" y="84693"/>
                </a:cubicBezTo>
                <a:cubicBezTo>
                  <a:pt x="437840" y="76416"/>
                  <a:pt x="435649" y="66584"/>
                  <a:pt x="435649" y="55134"/>
                </a:cubicBezTo>
                <a:cubicBezTo>
                  <a:pt x="435649" y="37897"/>
                  <a:pt x="440181" y="24455"/>
                  <a:pt x="449244" y="14810"/>
                </a:cubicBezTo>
                <a:cubicBezTo>
                  <a:pt x="458308" y="5040"/>
                  <a:pt x="471255" y="186"/>
                  <a:pt x="488088" y="186"/>
                </a:cubicBezTo>
                <a:cubicBezTo>
                  <a:pt x="494362" y="186"/>
                  <a:pt x="500338" y="871"/>
                  <a:pt x="506015" y="2240"/>
                </a:cubicBezTo>
                <a:cubicBezTo>
                  <a:pt x="511792" y="3547"/>
                  <a:pt x="516672" y="5414"/>
                  <a:pt x="520656" y="7902"/>
                </a:cubicBezTo>
                <a:lnTo>
                  <a:pt x="520656" y="21344"/>
                </a:lnTo>
                <a:cubicBezTo>
                  <a:pt x="516374" y="18669"/>
                  <a:pt x="511344" y="16615"/>
                  <a:pt x="505567" y="15121"/>
                </a:cubicBezTo>
                <a:cubicBezTo>
                  <a:pt x="499890" y="13628"/>
                  <a:pt x="494014" y="12881"/>
                  <a:pt x="487938" y="12881"/>
                </a:cubicBezTo>
                <a:cubicBezTo>
                  <a:pt x="475389" y="12881"/>
                  <a:pt x="466076" y="16366"/>
                  <a:pt x="460001" y="23459"/>
                </a:cubicBezTo>
                <a:cubicBezTo>
                  <a:pt x="453925" y="30554"/>
                  <a:pt x="450888" y="41071"/>
                  <a:pt x="450888" y="55134"/>
                </a:cubicBezTo>
                <a:cubicBezTo>
                  <a:pt x="450888" y="69260"/>
                  <a:pt x="454175" y="79839"/>
                  <a:pt x="460748" y="86933"/>
                </a:cubicBezTo>
                <a:cubicBezTo>
                  <a:pt x="467322" y="93902"/>
                  <a:pt x="476933" y="97387"/>
                  <a:pt x="489582" y="97387"/>
                </a:cubicBezTo>
                <a:cubicBezTo>
                  <a:pt x="501533" y="97387"/>
                  <a:pt x="511892" y="94089"/>
                  <a:pt x="520656" y="87555"/>
                </a:cubicBezTo>
                <a:lnTo>
                  <a:pt x="520656" y="100997"/>
                </a:lnTo>
                <a:cubicBezTo>
                  <a:pt x="517170" y="103734"/>
                  <a:pt x="512539" y="105974"/>
                  <a:pt x="506762" y="107717"/>
                </a:cubicBezTo>
                <a:cubicBezTo>
                  <a:pt x="500986" y="109273"/>
                  <a:pt x="494861" y="110082"/>
                  <a:pt x="488386" y="110082"/>
                </a:cubicBezTo>
                <a:close/>
                <a:moveTo>
                  <a:pt x="571140" y="110082"/>
                </a:moveTo>
                <a:cubicBezTo>
                  <a:pt x="564168" y="110082"/>
                  <a:pt x="557943" y="108900"/>
                  <a:pt x="552466" y="106473"/>
                </a:cubicBezTo>
                <a:cubicBezTo>
                  <a:pt x="547087" y="104108"/>
                  <a:pt x="542854" y="100685"/>
                  <a:pt x="539767" y="96205"/>
                </a:cubicBezTo>
                <a:cubicBezTo>
                  <a:pt x="536679" y="91600"/>
                  <a:pt x="535135" y="86124"/>
                  <a:pt x="535135" y="79777"/>
                </a:cubicBezTo>
                <a:cubicBezTo>
                  <a:pt x="535135" y="72869"/>
                  <a:pt x="536928" y="67082"/>
                  <a:pt x="540514" y="62291"/>
                </a:cubicBezTo>
                <a:cubicBezTo>
                  <a:pt x="544199" y="57437"/>
                  <a:pt x="549129" y="53889"/>
                  <a:pt x="555304" y="51711"/>
                </a:cubicBezTo>
                <a:cubicBezTo>
                  <a:pt x="550324" y="49720"/>
                  <a:pt x="546340" y="46671"/>
                  <a:pt x="543352" y="42564"/>
                </a:cubicBezTo>
                <a:cubicBezTo>
                  <a:pt x="540464" y="38519"/>
                  <a:pt x="539020" y="33479"/>
                  <a:pt x="539020" y="27504"/>
                </a:cubicBezTo>
                <a:cubicBezTo>
                  <a:pt x="539020" y="21593"/>
                  <a:pt x="540414" y="16615"/>
                  <a:pt x="543203" y="12570"/>
                </a:cubicBezTo>
                <a:cubicBezTo>
                  <a:pt x="545992" y="8463"/>
                  <a:pt x="549826" y="5414"/>
                  <a:pt x="554706" y="3298"/>
                </a:cubicBezTo>
                <a:cubicBezTo>
                  <a:pt x="559587" y="1182"/>
                  <a:pt x="565065" y="186"/>
                  <a:pt x="571140" y="186"/>
                </a:cubicBezTo>
                <a:cubicBezTo>
                  <a:pt x="577116" y="186"/>
                  <a:pt x="582494" y="1182"/>
                  <a:pt x="587275" y="3298"/>
                </a:cubicBezTo>
                <a:cubicBezTo>
                  <a:pt x="592056" y="5289"/>
                  <a:pt x="595841" y="8276"/>
                  <a:pt x="598629" y="12259"/>
                </a:cubicBezTo>
                <a:cubicBezTo>
                  <a:pt x="601518" y="16242"/>
                  <a:pt x="602962" y="21219"/>
                  <a:pt x="602962" y="27194"/>
                </a:cubicBezTo>
                <a:cubicBezTo>
                  <a:pt x="602962" y="33292"/>
                  <a:pt x="601468" y="38332"/>
                  <a:pt x="598480" y="42439"/>
                </a:cubicBezTo>
                <a:cubicBezTo>
                  <a:pt x="595492" y="46484"/>
                  <a:pt x="591558" y="49596"/>
                  <a:pt x="586678" y="51711"/>
                </a:cubicBezTo>
                <a:cubicBezTo>
                  <a:pt x="592653" y="53765"/>
                  <a:pt x="597434" y="57188"/>
                  <a:pt x="601020" y="61855"/>
                </a:cubicBezTo>
                <a:cubicBezTo>
                  <a:pt x="604705" y="66522"/>
                  <a:pt x="606547" y="72372"/>
                  <a:pt x="606547" y="79341"/>
                </a:cubicBezTo>
                <a:cubicBezTo>
                  <a:pt x="606547" y="85688"/>
                  <a:pt x="605004" y="91226"/>
                  <a:pt x="601916" y="95893"/>
                </a:cubicBezTo>
                <a:cubicBezTo>
                  <a:pt x="598829" y="100498"/>
                  <a:pt x="594596" y="103983"/>
                  <a:pt x="589217" y="106473"/>
                </a:cubicBezTo>
                <a:cubicBezTo>
                  <a:pt x="583939" y="108900"/>
                  <a:pt x="577913" y="110082"/>
                  <a:pt x="571140" y="110082"/>
                </a:cubicBezTo>
                <a:close/>
                <a:moveTo>
                  <a:pt x="571140" y="46298"/>
                </a:moveTo>
                <a:cubicBezTo>
                  <a:pt x="576419" y="46298"/>
                  <a:pt x="580751" y="44804"/>
                  <a:pt x="584138" y="41817"/>
                </a:cubicBezTo>
                <a:cubicBezTo>
                  <a:pt x="587624" y="38768"/>
                  <a:pt x="589367" y="34536"/>
                  <a:pt x="589367" y="29122"/>
                </a:cubicBezTo>
                <a:cubicBezTo>
                  <a:pt x="589367" y="23771"/>
                  <a:pt x="587624" y="19601"/>
                  <a:pt x="584138" y="16615"/>
                </a:cubicBezTo>
                <a:cubicBezTo>
                  <a:pt x="580751" y="13503"/>
                  <a:pt x="576419" y="11947"/>
                  <a:pt x="571140" y="11947"/>
                </a:cubicBezTo>
                <a:cubicBezTo>
                  <a:pt x="565861" y="11947"/>
                  <a:pt x="561429" y="13503"/>
                  <a:pt x="557844" y="16615"/>
                </a:cubicBezTo>
                <a:cubicBezTo>
                  <a:pt x="554358" y="19601"/>
                  <a:pt x="552615" y="23771"/>
                  <a:pt x="552615" y="29122"/>
                </a:cubicBezTo>
                <a:cubicBezTo>
                  <a:pt x="552615" y="34536"/>
                  <a:pt x="554358" y="38768"/>
                  <a:pt x="557844" y="41817"/>
                </a:cubicBezTo>
                <a:cubicBezTo>
                  <a:pt x="561429" y="44804"/>
                  <a:pt x="565861" y="46298"/>
                  <a:pt x="571140" y="46298"/>
                </a:cubicBezTo>
                <a:close/>
                <a:moveTo>
                  <a:pt x="571140" y="98258"/>
                </a:moveTo>
                <a:cubicBezTo>
                  <a:pt x="577315" y="98258"/>
                  <a:pt x="582444" y="96516"/>
                  <a:pt x="586528" y="92907"/>
                </a:cubicBezTo>
                <a:cubicBezTo>
                  <a:pt x="590711" y="89235"/>
                  <a:pt x="592803" y="84071"/>
                  <a:pt x="592803" y="77536"/>
                </a:cubicBezTo>
                <a:cubicBezTo>
                  <a:pt x="592803" y="70940"/>
                  <a:pt x="590711" y="65900"/>
                  <a:pt x="586528" y="62291"/>
                </a:cubicBezTo>
                <a:cubicBezTo>
                  <a:pt x="582444" y="58619"/>
                  <a:pt x="577315" y="56752"/>
                  <a:pt x="571140" y="56752"/>
                </a:cubicBezTo>
                <a:cubicBezTo>
                  <a:pt x="564766" y="56752"/>
                  <a:pt x="559437" y="58619"/>
                  <a:pt x="555155" y="62291"/>
                </a:cubicBezTo>
                <a:cubicBezTo>
                  <a:pt x="550972" y="65900"/>
                  <a:pt x="548880" y="70940"/>
                  <a:pt x="548880" y="77536"/>
                </a:cubicBezTo>
                <a:cubicBezTo>
                  <a:pt x="548880" y="84071"/>
                  <a:pt x="550972" y="89235"/>
                  <a:pt x="555155" y="92907"/>
                </a:cubicBezTo>
                <a:cubicBezTo>
                  <a:pt x="559437" y="96516"/>
                  <a:pt x="564766" y="98258"/>
                  <a:pt x="571140" y="9825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7" name="Полилиния 1076">
            <a:extLst>
              <a:ext uri="{FF2B5EF4-FFF2-40B4-BE49-F238E27FC236}">
                <a16:creationId xmlns:a16="http://schemas.microsoft.com/office/drawing/2014/main" id="{D084B191-8797-BC18-1542-EF4E7DDFF293}"/>
              </a:ext>
            </a:extLst>
          </p:cNvPr>
          <p:cNvSpPr/>
          <p:nvPr userDrawn="1"/>
        </p:nvSpPr>
        <p:spPr>
          <a:xfrm>
            <a:off x="16903366" y="9597431"/>
            <a:ext cx="1398954" cy="726227"/>
          </a:xfrm>
          <a:custGeom>
            <a:avLst/>
            <a:gdLst>
              <a:gd name="connsiteX0" fmla="*/ 638 w 1198727"/>
              <a:gd name="connsiteY0" fmla="*/ 1822 h 622284"/>
              <a:gd name="connsiteX1" fmla="*/ 1199366 w 1198727"/>
              <a:gd name="connsiteY1" fmla="*/ 1822 h 622284"/>
              <a:gd name="connsiteX2" fmla="*/ 1199366 w 1198727"/>
              <a:gd name="connsiteY2" fmla="*/ 624106 h 622284"/>
              <a:gd name="connsiteX3" fmla="*/ 638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822"/>
                </a:moveTo>
                <a:lnTo>
                  <a:pt x="1199366" y="1822"/>
                </a:lnTo>
                <a:lnTo>
                  <a:pt x="1199366" y="624106"/>
                </a:lnTo>
                <a:lnTo>
                  <a:pt x="638" y="624106"/>
                </a:lnTo>
                <a:close/>
              </a:path>
            </a:pathLst>
          </a:custGeom>
          <a:solidFill>
            <a:srgbClr val="FFB9E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8" name="Полилиния 1077">
            <a:extLst>
              <a:ext uri="{FF2B5EF4-FFF2-40B4-BE49-F238E27FC236}">
                <a16:creationId xmlns:a16="http://schemas.microsoft.com/office/drawing/2014/main" id="{78D0DCF4-932A-098C-5049-E55F139D632E}"/>
              </a:ext>
            </a:extLst>
          </p:cNvPr>
          <p:cNvSpPr/>
          <p:nvPr userDrawn="1"/>
        </p:nvSpPr>
        <p:spPr>
          <a:xfrm>
            <a:off x="17026576" y="9899178"/>
            <a:ext cx="686677" cy="128468"/>
          </a:xfrm>
          <a:custGeom>
            <a:avLst/>
            <a:gdLst>
              <a:gd name="connsiteX0" fmla="*/ 22111 w 588395"/>
              <a:gd name="connsiteY0" fmla="*/ 108588 h 110081"/>
              <a:gd name="connsiteX1" fmla="*/ 10159 w 588395"/>
              <a:gd name="connsiteY1" fmla="*/ 108588 h 110081"/>
              <a:gd name="connsiteX2" fmla="*/ 16433 w 588395"/>
              <a:gd name="connsiteY2" fmla="*/ 77661 h 110081"/>
              <a:gd name="connsiteX3" fmla="*/ 0 w 588395"/>
              <a:gd name="connsiteY3" fmla="*/ 77661 h 110081"/>
              <a:gd name="connsiteX4" fmla="*/ 0 w 588395"/>
              <a:gd name="connsiteY4" fmla="*/ 67206 h 110081"/>
              <a:gd name="connsiteX5" fmla="*/ 18675 w 588395"/>
              <a:gd name="connsiteY5" fmla="*/ 67206 h 110081"/>
              <a:gd name="connsiteX6" fmla="*/ 24202 w 588395"/>
              <a:gd name="connsiteY6" fmla="*/ 40012 h 110081"/>
              <a:gd name="connsiteX7" fmla="*/ 4033 w 588395"/>
              <a:gd name="connsiteY7" fmla="*/ 40012 h 110081"/>
              <a:gd name="connsiteX8" fmla="*/ 4033 w 588395"/>
              <a:gd name="connsiteY8" fmla="*/ 29559 h 110081"/>
              <a:gd name="connsiteX9" fmla="*/ 26294 w 588395"/>
              <a:gd name="connsiteY9" fmla="*/ 29559 h 110081"/>
              <a:gd name="connsiteX10" fmla="*/ 32120 w 588395"/>
              <a:gd name="connsiteY10" fmla="*/ 1493 h 110081"/>
              <a:gd name="connsiteX11" fmla="*/ 44072 w 588395"/>
              <a:gd name="connsiteY11" fmla="*/ 1493 h 110081"/>
              <a:gd name="connsiteX12" fmla="*/ 38246 w 588395"/>
              <a:gd name="connsiteY12" fmla="*/ 29559 h 110081"/>
              <a:gd name="connsiteX13" fmla="*/ 60655 w 588395"/>
              <a:gd name="connsiteY13" fmla="*/ 29559 h 110081"/>
              <a:gd name="connsiteX14" fmla="*/ 66482 w 588395"/>
              <a:gd name="connsiteY14" fmla="*/ 1493 h 110081"/>
              <a:gd name="connsiteX15" fmla="*/ 78434 w 588395"/>
              <a:gd name="connsiteY15" fmla="*/ 1493 h 110081"/>
              <a:gd name="connsiteX16" fmla="*/ 72607 w 588395"/>
              <a:gd name="connsiteY16" fmla="*/ 29559 h 110081"/>
              <a:gd name="connsiteX17" fmla="*/ 89340 w 588395"/>
              <a:gd name="connsiteY17" fmla="*/ 29559 h 110081"/>
              <a:gd name="connsiteX18" fmla="*/ 89340 w 588395"/>
              <a:gd name="connsiteY18" fmla="*/ 40012 h 110081"/>
              <a:gd name="connsiteX19" fmla="*/ 70516 w 588395"/>
              <a:gd name="connsiteY19" fmla="*/ 40012 h 110081"/>
              <a:gd name="connsiteX20" fmla="*/ 64988 w 588395"/>
              <a:gd name="connsiteY20" fmla="*/ 67206 h 110081"/>
              <a:gd name="connsiteX21" fmla="*/ 85306 w 588395"/>
              <a:gd name="connsiteY21" fmla="*/ 67206 h 110081"/>
              <a:gd name="connsiteX22" fmla="*/ 85306 w 588395"/>
              <a:gd name="connsiteY22" fmla="*/ 77661 h 110081"/>
              <a:gd name="connsiteX23" fmla="*/ 62747 w 588395"/>
              <a:gd name="connsiteY23" fmla="*/ 77661 h 110081"/>
              <a:gd name="connsiteX24" fmla="*/ 56472 w 588395"/>
              <a:gd name="connsiteY24" fmla="*/ 108588 h 110081"/>
              <a:gd name="connsiteX25" fmla="*/ 44520 w 588395"/>
              <a:gd name="connsiteY25" fmla="*/ 108588 h 110081"/>
              <a:gd name="connsiteX26" fmla="*/ 50795 w 588395"/>
              <a:gd name="connsiteY26" fmla="*/ 77661 h 110081"/>
              <a:gd name="connsiteX27" fmla="*/ 28386 w 588395"/>
              <a:gd name="connsiteY27" fmla="*/ 77661 h 110081"/>
              <a:gd name="connsiteX28" fmla="*/ 22111 w 588395"/>
              <a:gd name="connsiteY28" fmla="*/ 108588 h 110081"/>
              <a:gd name="connsiteX29" fmla="*/ 30626 w 588395"/>
              <a:gd name="connsiteY29" fmla="*/ 67206 h 110081"/>
              <a:gd name="connsiteX30" fmla="*/ 53036 w 588395"/>
              <a:gd name="connsiteY30" fmla="*/ 67206 h 110081"/>
              <a:gd name="connsiteX31" fmla="*/ 58564 w 588395"/>
              <a:gd name="connsiteY31" fmla="*/ 40012 h 110081"/>
              <a:gd name="connsiteX32" fmla="*/ 36154 w 588395"/>
              <a:gd name="connsiteY32" fmla="*/ 40012 h 110081"/>
              <a:gd name="connsiteX33" fmla="*/ 30626 w 588395"/>
              <a:gd name="connsiteY33" fmla="*/ 67206 h 110081"/>
              <a:gd name="connsiteX34" fmla="*/ 107827 w 588395"/>
              <a:gd name="connsiteY34" fmla="*/ 1493 h 110081"/>
              <a:gd name="connsiteX35" fmla="*/ 173264 w 588395"/>
              <a:gd name="connsiteY35" fmla="*/ 1493 h 110081"/>
              <a:gd name="connsiteX36" fmla="*/ 173264 w 588395"/>
              <a:gd name="connsiteY36" fmla="*/ 14374 h 110081"/>
              <a:gd name="connsiteX37" fmla="*/ 121871 w 588395"/>
              <a:gd name="connsiteY37" fmla="*/ 14374 h 110081"/>
              <a:gd name="connsiteX38" fmla="*/ 121871 w 588395"/>
              <a:gd name="connsiteY38" fmla="*/ 49907 h 110081"/>
              <a:gd name="connsiteX39" fmla="*/ 165495 w 588395"/>
              <a:gd name="connsiteY39" fmla="*/ 49907 h 110081"/>
              <a:gd name="connsiteX40" fmla="*/ 165495 w 588395"/>
              <a:gd name="connsiteY40" fmla="*/ 62601 h 110081"/>
              <a:gd name="connsiteX41" fmla="*/ 121871 w 588395"/>
              <a:gd name="connsiteY41" fmla="*/ 62601 h 110081"/>
              <a:gd name="connsiteX42" fmla="*/ 121871 w 588395"/>
              <a:gd name="connsiteY42" fmla="*/ 108588 h 110081"/>
              <a:gd name="connsiteX43" fmla="*/ 107827 w 588395"/>
              <a:gd name="connsiteY43" fmla="*/ 108588 h 110081"/>
              <a:gd name="connsiteX44" fmla="*/ 107827 w 588395"/>
              <a:gd name="connsiteY44" fmla="*/ 1493 h 110081"/>
              <a:gd name="connsiteX45" fmla="*/ 192735 w 588395"/>
              <a:gd name="connsiteY45" fmla="*/ 1493 h 110081"/>
              <a:gd name="connsiteX46" fmla="*/ 258171 w 588395"/>
              <a:gd name="connsiteY46" fmla="*/ 1493 h 110081"/>
              <a:gd name="connsiteX47" fmla="*/ 258171 w 588395"/>
              <a:gd name="connsiteY47" fmla="*/ 14374 h 110081"/>
              <a:gd name="connsiteX48" fmla="*/ 206778 w 588395"/>
              <a:gd name="connsiteY48" fmla="*/ 14374 h 110081"/>
              <a:gd name="connsiteX49" fmla="*/ 206778 w 588395"/>
              <a:gd name="connsiteY49" fmla="*/ 49907 h 110081"/>
              <a:gd name="connsiteX50" fmla="*/ 250402 w 588395"/>
              <a:gd name="connsiteY50" fmla="*/ 49907 h 110081"/>
              <a:gd name="connsiteX51" fmla="*/ 250402 w 588395"/>
              <a:gd name="connsiteY51" fmla="*/ 62601 h 110081"/>
              <a:gd name="connsiteX52" fmla="*/ 206778 w 588395"/>
              <a:gd name="connsiteY52" fmla="*/ 62601 h 110081"/>
              <a:gd name="connsiteX53" fmla="*/ 206778 w 588395"/>
              <a:gd name="connsiteY53" fmla="*/ 108588 h 110081"/>
              <a:gd name="connsiteX54" fmla="*/ 192735 w 588395"/>
              <a:gd name="connsiteY54" fmla="*/ 108588 h 110081"/>
              <a:gd name="connsiteX55" fmla="*/ 192735 w 588395"/>
              <a:gd name="connsiteY55" fmla="*/ 1493 h 110081"/>
              <a:gd name="connsiteX56" fmla="*/ 277649 w 588395"/>
              <a:gd name="connsiteY56" fmla="*/ 1493 h 110081"/>
              <a:gd name="connsiteX57" fmla="*/ 313953 w 588395"/>
              <a:gd name="connsiteY57" fmla="*/ 1493 h 110081"/>
              <a:gd name="connsiteX58" fmla="*/ 340694 w 588395"/>
              <a:gd name="connsiteY58" fmla="*/ 7467 h 110081"/>
              <a:gd name="connsiteX59" fmla="*/ 349957 w 588395"/>
              <a:gd name="connsiteY59" fmla="*/ 27629 h 110081"/>
              <a:gd name="connsiteX60" fmla="*/ 344131 w 588395"/>
              <a:gd name="connsiteY60" fmla="*/ 45116 h 110081"/>
              <a:gd name="connsiteX61" fmla="*/ 328593 w 588395"/>
              <a:gd name="connsiteY61" fmla="*/ 53018 h 110081"/>
              <a:gd name="connsiteX62" fmla="*/ 347417 w 588395"/>
              <a:gd name="connsiteY62" fmla="*/ 60361 h 110081"/>
              <a:gd name="connsiteX63" fmla="*/ 353841 w 588395"/>
              <a:gd name="connsiteY63" fmla="*/ 77661 h 110081"/>
              <a:gd name="connsiteX64" fmla="*/ 348613 w 588395"/>
              <a:gd name="connsiteY64" fmla="*/ 95583 h 110081"/>
              <a:gd name="connsiteX65" fmla="*/ 334270 w 588395"/>
              <a:gd name="connsiteY65" fmla="*/ 105601 h 110081"/>
              <a:gd name="connsiteX66" fmla="*/ 313654 w 588395"/>
              <a:gd name="connsiteY66" fmla="*/ 108588 h 110081"/>
              <a:gd name="connsiteX67" fmla="*/ 277649 w 588395"/>
              <a:gd name="connsiteY67" fmla="*/ 108588 h 110081"/>
              <a:gd name="connsiteX68" fmla="*/ 277649 w 588395"/>
              <a:gd name="connsiteY68" fmla="*/ 1493 h 110081"/>
              <a:gd name="connsiteX69" fmla="*/ 312907 w 588395"/>
              <a:gd name="connsiteY69" fmla="*/ 47231 h 110081"/>
              <a:gd name="connsiteX70" fmla="*/ 329340 w 588395"/>
              <a:gd name="connsiteY70" fmla="*/ 42751 h 110081"/>
              <a:gd name="connsiteX71" fmla="*/ 335764 w 588395"/>
              <a:gd name="connsiteY71" fmla="*/ 28376 h 110081"/>
              <a:gd name="connsiteX72" fmla="*/ 330087 w 588395"/>
              <a:gd name="connsiteY72" fmla="*/ 17361 h 110081"/>
              <a:gd name="connsiteX73" fmla="*/ 313953 w 588395"/>
              <a:gd name="connsiteY73" fmla="*/ 14374 h 110081"/>
              <a:gd name="connsiteX74" fmla="*/ 291692 w 588395"/>
              <a:gd name="connsiteY74" fmla="*/ 14374 h 110081"/>
              <a:gd name="connsiteX75" fmla="*/ 291692 w 588395"/>
              <a:gd name="connsiteY75" fmla="*/ 47231 h 110081"/>
              <a:gd name="connsiteX76" fmla="*/ 312907 w 588395"/>
              <a:gd name="connsiteY76" fmla="*/ 47231 h 110081"/>
              <a:gd name="connsiteX77" fmla="*/ 313654 w 588395"/>
              <a:gd name="connsiteY77" fmla="*/ 95893 h 110081"/>
              <a:gd name="connsiteX78" fmla="*/ 332030 w 588395"/>
              <a:gd name="connsiteY78" fmla="*/ 92035 h 110081"/>
              <a:gd name="connsiteX79" fmla="*/ 339051 w 588395"/>
              <a:gd name="connsiteY79" fmla="*/ 77972 h 110081"/>
              <a:gd name="connsiteX80" fmla="*/ 332478 w 588395"/>
              <a:gd name="connsiteY80" fmla="*/ 63908 h 110081"/>
              <a:gd name="connsiteX81" fmla="*/ 312010 w 588395"/>
              <a:gd name="connsiteY81" fmla="*/ 59926 h 110081"/>
              <a:gd name="connsiteX82" fmla="*/ 291692 w 588395"/>
              <a:gd name="connsiteY82" fmla="*/ 59926 h 110081"/>
              <a:gd name="connsiteX83" fmla="*/ 291692 w 588395"/>
              <a:gd name="connsiteY83" fmla="*/ 95893 h 110081"/>
              <a:gd name="connsiteX84" fmla="*/ 313654 w 588395"/>
              <a:gd name="connsiteY84" fmla="*/ 95893 h 110081"/>
              <a:gd name="connsiteX85" fmla="*/ 366322 w 588395"/>
              <a:gd name="connsiteY85" fmla="*/ 35844 h 110081"/>
              <a:gd name="connsiteX86" fmla="*/ 370954 w 588395"/>
              <a:gd name="connsiteY86" fmla="*/ 17051 h 110081"/>
              <a:gd name="connsiteX87" fmla="*/ 383802 w 588395"/>
              <a:gd name="connsiteY87" fmla="*/ 4480 h 110081"/>
              <a:gd name="connsiteX88" fmla="*/ 401879 w 588395"/>
              <a:gd name="connsiteY88" fmla="*/ 0 h 110081"/>
              <a:gd name="connsiteX89" fmla="*/ 423542 w 588395"/>
              <a:gd name="connsiteY89" fmla="*/ 5849 h 110081"/>
              <a:gd name="connsiteX90" fmla="*/ 435643 w 588395"/>
              <a:gd name="connsiteY90" fmla="*/ 21842 h 110081"/>
              <a:gd name="connsiteX91" fmla="*/ 439378 w 588395"/>
              <a:gd name="connsiteY91" fmla="*/ 45426 h 110081"/>
              <a:gd name="connsiteX92" fmla="*/ 434746 w 588395"/>
              <a:gd name="connsiteY92" fmla="*/ 80088 h 110081"/>
              <a:gd name="connsiteX93" fmla="*/ 420404 w 588395"/>
              <a:gd name="connsiteY93" fmla="*/ 102303 h 110081"/>
              <a:gd name="connsiteX94" fmla="*/ 395903 w 588395"/>
              <a:gd name="connsiteY94" fmla="*/ 110082 h 110081"/>
              <a:gd name="connsiteX95" fmla="*/ 372896 w 588395"/>
              <a:gd name="connsiteY95" fmla="*/ 104543 h 110081"/>
              <a:gd name="connsiteX96" fmla="*/ 372896 w 588395"/>
              <a:gd name="connsiteY96" fmla="*/ 91413 h 110081"/>
              <a:gd name="connsiteX97" fmla="*/ 395903 w 588395"/>
              <a:gd name="connsiteY97" fmla="*/ 98010 h 110081"/>
              <a:gd name="connsiteX98" fmla="*/ 411441 w 588395"/>
              <a:gd name="connsiteY98" fmla="*/ 92907 h 110081"/>
              <a:gd name="connsiteX99" fmla="*/ 421152 w 588395"/>
              <a:gd name="connsiteY99" fmla="*/ 79154 h 110081"/>
              <a:gd name="connsiteX100" fmla="*/ 425484 w 588395"/>
              <a:gd name="connsiteY100" fmla="*/ 59739 h 110081"/>
              <a:gd name="connsiteX101" fmla="*/ 414429 w 588395"/>
              <a:gd name="connsiteY101" fmla="*/ 68389 h 110081"/>
              <a:gd name="connsiteX102" fmla="*/ 400535 w 588395"/>
              <a:gd name="connsiteY102" fmla="*/ 71127 h 110081"/>
              <a:gd name="connsiteX103" fmla="*/ 383205 w 588395"/>
              <a:gd name="connsiteY103" fmla="*/ 67082 h 110081"/>
              <a:gd name="connsiteX104" fmla="*/ 370805 w 588395"/>
              <a:gd name="connsiteY104" fmla="*/ 55134 h 110081"/>
              <a:gd name="connsiteX105" fmla="*/ 366322 w 588395"/>
              <a:gd name="connsiteY105" fmla="*/ 35844 h 110081"/>
              <a:gd name="connsiteX106" fmla="*/ 402327 w 588395"/>
              <a:gd name="connsiteY106" fmla="*/ 12134 h 110081"/>
              <a:gd name="connsiteX107" fmla="*/ 391571 w 588395"/>
              <a:gd name="connsiteY107" fmla="*/ 14810 h 110081"/>
              <a:gd name="connsiteX108" fmla="*/ 383503 w 588395"/>
              <a:gd name="connsiteY108" fmla="*/ 22589 h 110081"/>
              <a:gd name="connsiteX109" fmla="*/ 380515 w 588395"/>
              <a:gd name="connsiteY109" fmla="*/ 35532 h 110081"/>
              <a:gd name="connsiteX110" fmla="*/ 383503 w 588395"/>
              <a:gd name="connsiteY110" fmla="*/ 48725 h 110081"/>
              <a:gd name="connsiteX111" fmla="*/ 391122 w 588395"/>
              <a:gd name="connsiteY111" fmla="*/ 56752 h 110081"/>
              <a:gd name="connsiteX112" fmla="*/ 400833 w 588395"/>
              <a:gd name="connsiteY112" fmla="*/ 59428 h 110081"/>
              <a:gd name="connsiteX113" fmla="*/ 417267 w 588395"/>
              <a:gd name="connsiteY113" fmla="*/ 53329 h 110081"/>
              <a:gd name="connsiteX114" fmla="*/ 423990 w 588395"/>
              <a:gd name="connsiteY114" fmla="*/ 35283 h 110081"/>
              <a:gd name="connsiteX115" fmla="*/ 418163 w 588395"/>
              <a:gd name="connsiteY115" fmla="*/ 18544 h 110081"/>
              <a:gd name="connsiteX116" fmla="*/ 402327 w 588395"/>
              <a:gd name="connsiteY116" fmla="*/ 12134 h 110081"/>
              <a:gd name="connsiteX117" fmla="*/ 456079 w 588395"/>
              <a:gd name="connsiteY117" fmla="*/ 1493 h 110081"/>
              <a:gd name="connsiteX118" fmla="*/ 522412 w 588395"/>
              <a:gd name="connsiteY118" fmla="*/ 1493 h 110081"/>
              <a:gd name="connsiteX119" fmla="*/ 522412 w 588395"/>
              <a:gd name="connsiteY119" fmla="*/ 14374 h 110081"/>
              <a:gd name="connsiteX120" fmla="*/ 470122 w 588395"/>
              <a:gd name="connsiteY120" fmla="*/ 14374 h 110081"/>
              <a:gd name="connsiteX121" fmla="*/ 470122 w 588395"/>
              <a:gd name="connsiteY121" fmla="*/ 46734 h 110081"/>
              <a:gd name="connsiteX122" fmla="*/ 514494 w 588395"/>
              <a:gd name="connsiteY122" fmla="*/ 46734 h 110081"/>
              <a:gd name="connsiteX123" fmla="*/ 514494 w 588395"/>
              <a:gd name="connsiteY123" fmla="*/ 59428 h 110081"/>
              <a:gd name="connsiteX124" fmla="*/ 470122 w 588395"/>
              <a:gd name="connsiteY124" fmla="*/ 59428 h 110081"/>
              <a:gd name="connsiteX125" fmla="*/ 470122 w 588395"/>
              <a:gd name="connsiteY125" fmla="*/ 95893 h 110081"/>
              <a:gd name="connsiteX126" fmla="*/ 523159 w 588395"/>
              <a:gd name="connsiteY126" fmla="*/ 95893 h 110081"/>
              <a:gd name="connsiteX127" fmla="*/ 523159 w 588395"/>
              <a:gd name="connsiteY127" fmla="*/ 108588 h 110081"/>
              <a:gd name="connsiteX128" fmla="*/ 456079 w 588395"/>
              <a:gd name="connsiteY128" fmla="*/ 108588 h 110081"/>
              <a:gd name="connsiteX129" fmla="*/ 456079 w 588395"/>
              <a:gd name="connsiteY129" fmla="*/ 1493 h 110081"/>
              <a:gd name="connsiteX130" fmla="*/ 588395 w 588395"/>
              <a:gd name="connsiteY130" fmla="*/ 108588 h 110081"/>
              <a:gd name="connsiteX131" fmla="*/ 574801 w 588395"/>
              <a:gd name="connsiteY131" fmla="*/ 108588 h 110081"/>
              <a:gd name="connsiteX132" fmla="*/ 574801 w 588395"/>
              <a:gd name="connsiteY132" fmla="*/ 18357 h 110081"/>
              <a:gd name="connsiteX133" fmla="*/ 545220 w 588395"/>
              <a:gd name="connsiteY133" fmla="*/ 41071 h 110081"/>
              <a:gd name="connsiteX134" fmla="*/ 545220 w 588395"/>
              <a:gd name="connsiteY134" fmla="*/ 26011 h 110081"/>
              <a:gd name="connsiteX135" fmla="*/ 577041 w 588395"/>
              <a:gd name="connsiteY135" fmla="*/ 1493 h 110081"/>
              <a:gd name="connsiteX136" fmla="*/ 588395 w 588395"/>
              <a:gd name="connsiteY136" fmla="*/ 1493 h 110081"/>
              <a:gd name="connsiteX137" fmla="*/ 588395 w 588395"/>
              <a:gd name="connsiteY137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588395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7649" y="1493"/>
                </a:moveTo>
                <a:lnTo>
                  <a:pt x="313953" y="1493"/>
                </a:lnTo>
                <a:cubicBezTo>
                  <a:pt x="325705" y="1493"/>
                  <a:pt x="334619" y="3484"/>
                  <a:pt x="340694" y="7467"/>
                </a:cubicBezTo>
                <a:cubicBezTo>
                  <a:pt x="346870" y="11450"/>
                  <a:pt x="349957" y="18170"/>
                  <a:pt x="349957" y="27629"/>
                </a:cubicBezTo>
                <a:cubicBezTo>
                  <a:pt x="349957" y="35283"/>
                  <a:pt x="348015" y="41133"/>
                  <a:pt x="344131" y="45116"/>
                </a:cubicBezTo>
                <a:cubicBezTo>
                  <a:pt x="340247" y="48974"/>
                  <a:pt x="335067" y="51649"/>
                  <a:pt x="328593" y="53018"/>
                </a:cubicBezTo>
                <a:cubicBezTo>
                  <a:pt x="336860" y="54014"/>
                  <a:pt x="343135" y="56441"/>
                  <a:pt x="347417" y="60361"/>
                </a:cubicBezTo>
                <a:cubicBezTo>
                  <a:pt x="351700" y="64157"/>
                  <a:pt x="353841" y="69882"/>
                  <a:pt x="353841" y="77661"/>
                </a:cubicBezTo>
                <a:cubicBezTo>
                  <a:pt x="353841" y="85066"/>
                  <a:pt x="352099" y="91040"/>
                  <a:pt x="348613" y="95583"/>
                </a:cubicBezTo>
                <a:cubicBezTo>
                  <a:pt x="345127" y="100188"/>
                  <a:pt x="340346" y="103486"/>
                  <a:pt x="334270" y="105601"/>
                </a:cubicBezTo>
                <a:cubicBezTo>
                  <a:pt x="328195" y="107592"/>
                  <a:pt x="321323" y="108588"/>
                  <a:pt x="313654" y="108588"/>
                </a:cubicBezTo>
                <a:lnTo>
                  <a:pt x="277649" y="108588"/>
                </a:lnTo>
                <a:lnTo>
                  <a:pt x="277649" y="1493"/>
                </a:lnTo>
                <a:close/>
                <a:moveTo>
                  <a:pt x="312907" y="47231"/>
                </a:moveTo>
                <a:cubicBezTo>
                  <a:pt x="319679" y="47231"/>
                  <a:pt x="325157" y="45738"/>
                  <a:pt x="329340" y="42751"/>
                </a:cubicBezTo>
                <a:cubicBezTo>
                  <a:pt x="333623" y="39639"/>
                  <a:pt x="335764" y="34848"/>
                  <a:pt x="335764" y="28376"/>
                </a:cubicBezTo>
                <a:cubicBezTo>
                  <a:pt x="335764" y="22900"/>
                  <a:pt x="333872" y="19228"/>
                  <a:pt x="330087" y="17361"/>
                </a:cubicBezTo>
                <a:cubicBezTo>
                  <a:pt x="326303" y="15370"/>
                  <a:pt x="320924" y="14374"/>
                  <a:pt x="313953" y="14374"/>
                </a:cubicBezTo>
                <a:lnTo>
                  <a:pt x="291692" y="14374"/>
                </a:lnTo>
                <a:lnTo>
                  <a:pt x="291692" y="47231"/>
                </a:lnTo>
                <a:lnTo>
                  <a:pt x="312907" y="47231"/>
                </a:lnTo>
                <a:close/>
                <a:moveTo>
                  <a:pt x="313654" y="95893"/>
                </a:moveTo>
                <a:cubicBezTo>
                  <a:pt x="321223" y="95893"/>
                  <a:pt x="327348" y="94587"/>
                  <a:pt x="332030" y="92035"/>
                </a:cubicBezTo>
                <a:cubicBezTo>
                  <a:pt x="336711" y="89422"/>
                  <a:pt x="339051" y="84755"/>
                  <a:pt x="339051" y="77972"/>
                </a:cubicBezTo>
                <a:cubicBezTo>
                  <a:pt x="339051" y="71189"/>
                  <a:pt x="336860" y="66522"/>
                  <a:pt x="332478" y="63908"/>
                </a:cubicBezTo>
                <a:cubicBezTo>
                  <a:pt x="328195" y="61233"/>
                  <a:pt x="321372" y="59926"/>
                  <a:pt x="312010" y="59926"/>
                </a:cubicBezTo>
                <a:lnTo>
                  <a:pt x="291692" y="59926"/>
                </a:lnTo>
                <a:lnTo>
                  <a:pt x="291692" y="95893"/>
                </a:lnTo>
                <a:lnTo>
                  <a:pt x="313654" y="95893"/>
                </a:lnTo>
                <a:close/>
                <a:moveTo>
                  <a:pt x="366322" y="35844"/>
                </a:moveTo>
                <a:cubicBezTo>
                  <a:pt x="366322" y="28687"/>
                  <a:pt x="367866" y="22402"/>
                  <a:pt x="370954" y="17051"/>
                </a:cubicBezTo>
                <a:cubicBezTo>
                  <a:pt x="374141" y="11637"/>
                  <a:pt x="378424" y="7467"/>
                  <a:pt x="383802" y="4480"/>
                </a:cubicBezTo>
                <a:cubicBezTo>
                  <a:pt x="389180" y="1493"/>
                  <a:pt x="395206" y="0"/>
                  <a:pt x="401879" y="0"/>
                </a:cubicBezTo>
                <a:cubicBezTo>
                  <a:pt x="410843" y="0"/>
                  <a:pt x="418064" y="1929"/>
                  <a:pt x="423542" y="5849"/>
                </a:cubicBezTo>
                <a:cubicBezTo>
                  <a:pt x="429119" y="9645"/>
                  <a:pt x="433153" y="14934"/>
                  <a:pt x="435643" y="21842"/>
                </a:cubicBezTo>
                <a:cubicBezTo>
                  <a:pt x="438133" y="28563"/>
                  <a:pt x="439378" y="36466"/>
                  <a:pt x="439378" y="45426"/>
                </a:cubicBezTo>
                <a:cubicBezTo>
                  <a:pt x="439378" y="58868"/>
                  <a:pt x="437834" y="70380"/>
                  <a:pt x="434746" y="80088"/>
                </a:cubicBezTo>
                <a:cubicBezTo>
                  <a:pt x="431659" y="89733"/>
                  <a:pt x="426878" y="97138"/>
                  <a:pt x="420404" y="102303"/>
                </a:cubicBezTo>
                <a:cubicBezTo>
                  <a:pt x="414030" y="107468"/>
                  <a:pt x="405863" y="110082"/>
                  <a:pt x="395903" y="110082"/>
                </a:cubicBezTo>
                <a:cubicBezTo>
                  <a:pt x="386939" y="110082"/>
                  <a:pt x="379270" y="108215"/>
                  <a:pt x="372896" y="104543"/>
                </a:cubicBezTo>
                <a:lnTo>
                  <a:pt x="372896" y="91413"/>
                </a:lnTo>
                <a:cubicBezTo>
                  <a:pt x="379669" y="95769"/>
                  <a:pt x="387338" y="98010"/>
                  <a:pt x="395903" y="98010"/>
                </a:cubicBezTo>
                <a:cubicBezTo>
                  <a:pt x="402078" y="98010"/>
                  <a:pt x="407257" y="96267"/>
                  <a:pt x="411441" y="92907"/>
                </a:cubicBezTo>
                <a:cubicBezTo>
                  <a:pt x="415624" y="89546"/>
                  <a:pt x="418861" y="84941"/>
                  <a:pt x="421152" y="79154"/>
                </a:cubicBezTo>
                <a:cubicBezTo>
                  <a:pt x="423542" y="73367"/>
                  <a:pt x="424986" y="66896"/>
                  <a:pt x="425484" y="59739"/>
                </a:cubicBezTo>
                <a:cubicBezTo>
                  <a:pt x="422396" y="63660"/>
                  <a:pt x="418711" y="66522"/>
                  <a:pt x="414429" y="68389"/>
                </a:cubicBezTo>
                <a:cubicBezTo>
                  <a:pt x="410146" y="70193"/>
                  <a:pt x="405514" y="71127"/>
                  <a:pt x="400535" y="71127"/>
                </a:cubicBezTo>
                <a:cubicBezTo>
                  <a:pt x="394160" y="71127"/>
                  <a:pt x="388383" y="69758"/>
                  <a:pt x="383205" y="67082"/>
                </a:cubicBezTo>
                <a:cubicBezTo>
                  <a:pt x="378025" y="64406"/>
                  <a:pt x="373892" y="60424"/>
                  <a:pt x="370805" y="55134"/>
                </a:cubicBezTo>
                <a:cubicBezTo>
                  <a:pt x="367816" y="49845"/>
                  <a:pt x="366322" y="43435"/>
                  <a:pt x="366322" y="35844"/>
                </a:cubicBezTo>
                <a:close/>
                <a:moveTo>
                  <a:pt x="402327" y="12134"/>
                </a:moveTo>
                <a:cubicBezTo>
                  <a:pt x="398543" y="12134"/>
                  <a:pt x="394957" y="13006"/>
                  <a:pt x="391571" y="14810"/>
                </a:cubicBezTo>
                <a:cubicBezTo>
                  <a:pt x="388284" y="16490"/>
                  <a:pt x="385595" y="19104"/>
                  <a:pt x="383503" y="22589"/>
                </a:cubicBezTo>
                <a:cubicBezTo>
                  <a:pt x="381511" y="25949"/>
                  <a:pt x="380515" y="30305"/>
                  <a:pt x="380515" y="35532"/>
                </a:cubicBezTo>
                <a:cubicBezTo>
                  <a:pt x="380515" y="40759"/>
                  <a:pt x="381511" y="45116"/>
                  <a:pt x="383503" y="48725"/>
                </a:cubicBezTo>
                <a:cubicBezTo>
                  <a:pt x="385495" y="52271"/>
                  <a:pt x="388035" y="54947"/>
                  <a:pt x="391122" y="56752"/>
                </a:cubicBezTo>
                <a:cubicBezTo>
                  <a:pt x="394210" y="58556"/>
                  <a:pt x="397447" y="59428"/>
                  <a:pt x="400833" y="59428"/>
                </a:cubicBezTo>
                <a:cubicBezTo>
                  <a:pt x="407407" y="59428"/>
                  <a:pt x="412885" y="57437"/>
                  <a:pt x="417267" y="53329"/>
                </a:cubicBezTo>
                <a:cubicBezTo>
                  <a:pt x="421749" y="49160"/>
                  <a:pt x="423990" y="43124"/>
                  <a:pt x="423990" y="35283"/>
                </a:cubicBezTo>
                <a:cubicBezTo>
                  <a:pt x="423990" y="28313"/>
                  <a:pt x="422048" y="22713"/>
                  <a:pt x="418163" y="18544"/>
                </a:cubicBezTo>
                <a:cubicBezTo>
                  <a:pt x="414279" y="14250"/>
                  <a:pt x="409000" y="12134"/>
                  <a:pt x="402327" y="12134"/>
                </a:cubicBezTo>
                <a:close/>
                <a:moveTo>
                  <a:pt x="456079" y="1493"/>
                </a:moveTo>
                <a:lnTo>
                  <a:pt x="522412" y="1493"/>
                </a:lnTo>
                <a:lnTo>
                  <a:pt x="522412" y="14374"/>
                </a:lnTo>
                <a:lnTo>
                  <a:pt x="470122" y="14374"/>
                </a:lnTo>
                <a:lnTo>
                  <a:pt x="470122" y="46734"/>
                </a:lnTo>
                <a:lnTo>
                  <a:pt x="514494" y="46734"/>
                </a:lnTo>
                <a:lnTo>
                  <a:pt x="514494" y="59428"/>
                </a:lnTo>
                <a:lnTo>
                  <a:pt x="470122" y="59428"/>
                </a:lnTo>
                <a:lnTo>
                  <a:pt x="470122" y="95893"/>
                </a:lnTo>
                <a:lnTo>
                  <a:pt x="523159" y="95893"/>
                </a:lnTo>
                <a:lnTo>
                  <a:pt x="523159" y="108588"/>
                </a:lnTo>
                <a:lnTo>
                  <a:pt x="456079" y="108588"/>
                </a:lnTo>
                <a:lnTo>
                  <a:pt x="456079" y="1493"/>
                </a:lnTo>
                <a:close/>
                <a:moveTo>
                  <a:pt x="588395" y="108588"/>
                </a:moveTo>
                <a:lnTo>
                  <a:pt x="574801" y="108588"/>
                </a:lnTo>
                <a:lnTo>
                  <a:pt x="574801" y="18357"/>
                </a:lnTo>
                <a:lnTo>
                  <a:pt x="545220" y="41071"/>
                </a:lnTo>
                <a:lnTo>
                  <a:pt x="545220" y="26011"/>
                </a:lnTo>
                <a:lnTo>
                  <a:pt x="577041" y="1493"/>
                </a:lnTo>
                <a:lnTo>
                  <a:pt x="588395" y="1493"/>
                </a:lnTo>
                <a:lnTo>
                  <a:pt x="588395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9" name="Полилиния 1078">
            <a:extLst>
              <a:ext uri="{FF2B5EF4-FFF2-40B4-BE49-F238E27FC236}">
                <a16:creationId xmlns:a16="http://schemas.microsoft.com/office/drawing/2014/main" id="{433E5585-EB4E-32B8-B317-2519B99FBA99}"/>
              </a:ext>
            </a:extLst>
          </p:cNvPr>
          <p:cNvSpPr/>
          <p:nvPr userDrawn="1"/>
        </p:nvSpPr>
        <p:spPr>
          <a:xfrm>
            <a:off x="16903366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2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6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0" name="Полилиния 1079">
            <a:extLst>
              <a:ext uri="{FF2B5EF4-FFF2-40B4-BE49-F238E27FC236}">
                <a16:creationId xmlns:a16="http://schemas.microsoft.com/office/drawing/2014/main" id="{6142C6DA-6EDE-4DF7-6F0C-A799874BE9E5}"/>
              </a:ext>
            </a:extLst>
          </p:cNvPr>
          <p:cNvSpPr/>
          <p:nvPr userDrawn="1"/>
        </p:nvSpPr>
        <p:spPr>
          <a:xfrm>
            <a:off x="17026576" y="10625405"/>
            <a:ext cx="694669" cy="128468"/>
          </a:xfrm>
          <a:custGeom>
            <a:avLst/>
            <a:gdLst>
              <a:gd name="connsiteX0" fmla="*/ 22111 w 595243"/>
              <a:gd name="connsiteY0" fmla="*/ 108588 h 110081"/>
              <a:gd name="connsiteX1" fmla="*/ 10159 w 595243"/>
              <a:gd name="connsiteY1" fmla="*/ 108588 h 110081"/>
              <a:gd name="connsiteX2" fmla="*/ 16433 w 595243"/>
              <a:gd name="connsiteY2" fmla="*/ 77661 h 110081"/>
              <a:gd name="connsiteX3" fmla="*/ 0 w 595243"/>
              <a:gd name="connsiteY3" fmla="*/ 77661 h 110081"/>
              <a:gd name="connsiteX4" fmla="*/ 0 w 595243"/>
              <a:gd name="connsiteY4" fmla="*/ 67206 h 110081"/>
              <a:gd name="connsiteX5" fmla="*/ 18675 w 595243"/>
              <a:gd name="connsiteY5" fmla="*/ 67206 h 110081"/>
              <a:gd name="connsiteX6" fmla="*/ 24202 w 595243"/>
              <a:gd name="connsiteY6" fmla="*/ 40012 h 110081"/>
              <a:gd name="connsiteX7" fmla="*/ 4033 w 595243"/>
              <a:gd name="connsiteY7" fmla="*/ 40012 h 110081"/>
              <a:gd name="connsiteX8" fmla="*/ 4033 w 595243"/>
              <a:gd name="connsiteY8" fmla="*/ 29559 h 110081"/>
              <a:gd name="connsiteX9" fmla="*/ 26294 w 595243"/>
              <a:gd name="connsiteY9" fmla="*/ 29559 h 110081"/>
              <a:gd name="connsiteX10" fmla="*/ 32120 w 595243"/>
              <a:gd name="connsiteY10" fmla="*/ 1493 h 110081"/>
              <a:gd name="connsiteX11" fmla="*/ 44072 w 595243"/>
              <a:gd name="connsiteY11" fmla="*/ 1493 h 110081"/>
              <a:gd name="connsiteX12" fmla="*/ 38246 w 595243"/>
              <a:gd name="connsiteY12" fmla="*/ 29559 h 110081"/>
              <a:gd name="connsiteX13" fmla="*/ 60655 w 595243"/>
              <a:gd name="connsiteY13" fmla="*/ 29559 h 110081"/>
              <a:gd name="connsiteX14" fmla="*/ 66482 w 595243"/>
              <a:gd name="connsiteY14" fmla="*/ 1493 h 110081"/>
              <a:gd name="connsiteX15" fmla="*/ 78434 w 595243"/>
              <a:gd name="connsiteY15" fmla="*/ 1493 h 110081"/>
              <a:gd name="connsiteX16" fmla="*/ 72607 w 595243"/>
              <a:gd name="connsiteY16" fmla="*/ 29559 h 110081"/>
              <a:gd name="connsiteX17" fmla="*/ 89340 w 595243"/>
              <a:gd name="connsiteY17" fmla="*/ 29559 h 110081"/>
              <a:gd name="connsiteX18" fmla="*/ 89340 w 595243"/>
              <a:gd name="connsiteY18" fmla="*/ 40012 h 110081"/>
              <a:gd name="connsiteX19" fmla="*/ 70516 w 595243"/>
              <a:gd name="connsiteY19" fmla="*/ 40012 h 110081"/>
              <a:gd name="connsiteX20" fmla="*/ 64988 w 595243"/>
              <a:gd name="connsiteY20" fmla="*/ 67206 h 110081"/>
              <a:gd name="connsiteX21" fmla="*/ 85306 w 595243"/>
              <a:gd name="connsiteY21" fmla="*/ 67206 h 110081"/>
              <a:gd name="connsiteX22" fmla="*/ 85306 w 595243"/>
              <a:gd name="connsiteY22" fmla="*/ 77661 h 110081"/>
              <a:gd name="connsiteX23" fmla="*/ 62747 w 595243"/>
              <a:gd name="connsiteY23" fmla="*/ 77661 h 110081"/>
              <a:gd name="connsiteX24" fmla="*/ 56472 w 595243"/>
              <a:gd name="connsiteY24" fmla="*/ 108588 h 110081"/>
              <a:gd name="connsiteX25" fmla="*/ 44520 w 595243"/>
              <a:gd name="connsiteY25" fmla="*/ 108588 h 110081"/>
              <a:gd name="connsiteX26" fmla="*/ 50795 w 595243"/>
              <a:gd name="connsiteY26" fmla="*/ 77661 h 110081"/>
              <a:gd name="connsiteX27" fmla="*/ 28386 w 595243"/>
              <a:gd name="connsiteY27" fmla="*/ 77661 h 110081"/>
              <a:gd name="connsiteX28" fmla="*/ 22111 w 595243"/>
              <a:gd name="connsiteY28" fmla="*/ 108588 h 110081"/>
              <a:gd name="connsiteX29" fmla="*/ 30626 w 595243"/>
              <a:gd name="connsiteY29" fmla="*/ 67206 h 110081"/>
              <a:gd name="connsiteX30" fmla="*/ 53036 w 595243"/>
              <a:gd name="connsiteY30" fmla="*/ 67206 h 110081"/>
              <a:gd name="connsiteX31" fmla="*/ 58564 w 595243"/>
              <a:gd name="connsiteY31" fmla="*/ 40012 h 110081"/>
              <a:gd name="connsiteX32" fmla="*/ 36154 w 595243"/>
              <a:gd name="connsiteY32" fmla="*/ 40012 h 110081"/>
              <a:gd name="connsiteX33" fmla="*/ 30626 w 595243"/>
              <a:gd name="connsiteY33" fmla="*/ 67206 h 110081"/>
              <a:gd name="connsiteX34" fmla="*/ 107827 w 595243"/>
              <a:gd name="connsiteY34" fmla="*/ 1493 h 110081"/>
              <a:gd name="connsiteX35" fmla="*/ 173264 w 595243"/>
              <a:gd name="connsiteY35" fmla="*/ 1493 h 110081"/>
              <a:gd name="connsiteX36" fmla="*/ 173264 w 595243"/>
              <a:gd name="connsiteY36" fmla="*/ 14374 h 110081"/>
              <a:gd name="connsiteX37" fmla="*/ 121871 w 595243"/>
              <a:gd name="connsiteY37" fmla="*/ 14374 h 110081"/>
              <a:gd name="connsiteX38" fmla="*/ 121871 w 595243"/>
              <a:gd name="connsiteY38" fmla="*/ 49907 h 110081"/>
              <a:gd name="connsiteX39" fmla="*/ 165495 w 595243"/>
              <a:gd name="connsiteY39" fmla="*/ 49907 h 110081"/>
              <a:gd name="connsiteX40" fmla="*/ 165495 w 595243"/>
              <a:gd name="connsiteY40" fmla="*/ 62601 h 110081"/>
              <a:gd name="connsiteX41" fmla="*/ 121871 w 595243"/>
              <a:gd name="connsiteY41" fmla="*/ 62601 h 110081"/>
              <a:gd name="connsiteX42" fmla="*/ 121871 w 595243"/>
              <a:gd name="connsiteY42" fmla="*/ 108588 h 110081"/>
              <a:gd name="connsiteX43" fmla="*/ 107827 w 595243"/>
              <a:gd name="connsiteY43" fmla="*/ 108588 h 110081"/>
              <a:gd name="connsiteX44" fmla="*/ 107827 w 595243"/>
              <a:gd name="connsiteY44" fmla="*/ 1493 h 110081"/>
              <a:gd name="connsiteX45" fmla="*/ 192735 w 595243"/>
              <a:gd name="connsiteY45" fmla="*/ 1493 h 110081"/>
              <a:gd name="connsiteX46" fmla="*/ 258171 w 595243"/>
              <a:gd name="connsiteY46" fmla="*/ 1493 h 110081"/>
              <a:gd name="connsiteX47" fmla="*/ 258171 w 595243"/>
              <a:gd name="connsiteY47" fmla="*/ 14374 h 110081"/>
              <a:gd name="connsiteX48" fmla="*/ 206778 w 595243"/>
              <a:gd name="connsiteY48" fmla="*/ 14374 h 110081"/>
              <a:gd name="connsiteX49" fmla="*/ 206778 w 595243"/>
              <a:gd name="connsiteY49" fmla="*/ 49907 h 110081"/>
              <a:gd name="connsiteX50" fmla="*/ 250402 w 595243"/>
              <a:gd name="connsiteY50" fmla="*/ 49907 h 110081"/>
              <a:gd name="connsiteX51" fmla="*/ 250402 w 595243"/>
              <a:gd name="connsiteY51" fmla="*/ 62601 h 110081"/>
              <a:gd name="connsiteX52" fmla="*/ 206778 w 595243"/>
              <a:gd name="connsiteY52" fmla="*/ 62601 h 110081"/>
              <a:gd name="connsiteX53" fmla="*/ 206778 w 595243"/>
              <a:gd name="connsiteY53" fmla="*/ 108588 h 110081"/>
              <a:gd name="connsiteX54" fmla="*/ 192735 w 595243"/>
              <a:gd name="connsiteY54" fmla="*/ 108588 h 110081"/>
              <a:gd name="connsiteX55" fmla="*/ 192735 w 595243"/>
              <a:gd name="connsiteY55" fmla="*/ 1493 h 110081"/>
              <a:gd name="connsiteX56" fmla="*/ 277649 w 595243"/>
              <a:gd name="connsiteY56" fmla="*/ 1493 h 110081"/>
              <a:gd name="connsiteX57" fmla="*/ 343981 w 595243"/>
              <a:gd name="connsiteY57" fmla="*/ 1493 h 110081"/>
              <a:gd name="connsiteX58" fmla="*/ 343981 w 595243"/>
              <a:gd name="connsiteY58" fmla="*/ 14374 h 110081"/>
              <a:gd name="connsiteX59" fmla="*/ 291692 w 595243"/>
              <a:gd name="connsiteY59" fmla="*/ 14374 h 110081"/>
              <a:gd name="connsiteX60" fmla="*/ 291692 w 595243"/>
              <a:gd name="connsiteY60" fmla="*/ 46734 h 110081"/>
              <a:gd name="connsiteX61" fmla="*/ 336063 w 595243"/>
              <a:gd name="connsiteY61" fmla="*/ 46734 h 110081"/>
              <a:gd name="connsiteX62" fmla="*/ 336063 w 595243"/>
              <a:gd name="connsiteY62" fmla="*/ 59428 h 110081"/>
              <a:gd name="connsiteX63" fmla="*/ 291692 w 595243"/>
              <a:gd name="connsiteY63" fmla="*/ 59428 h 110081"/>
              <a:gd name="connsiteX64" fmla="*/ 291692 w 595243"/>
              <a:gd name="connsiteY64" fmla="*/ 95893 h 110081"/>
              <a:gd name="connsiteX65" fmla="*/ 344728 w 595243"/>
              <a:gd name="connsiteY65" fmla="*/ 95893 h 110081"/>
              <a:gd name="connsiteX66" fmla="*/ 344728 w 595243"/>
              <a:gd name="connsiteY66" fmla="*/ 108588 h 110081"/>
              <a:gd name="connsiteX67" fmla="*/ 277649 w 595243"/>
              <a:gd name="connsiteY67" fmla="*/ 108588 h 110081"/>
              <a:gd name="connsiteX68" fmla="*/ 277649 w 595243"/>
              <a:gd name="connsiteY68" fmla="*/ 1493 h 110081"/>
              <a:gd name="connsiteX69" fmla="*/ 432375 w 595243"/>
              <a:gd name="connsiteY69" fmla="*/ 73491 h 110081"/>
              <a:gd name="connsiteX70" fmla="*/ 427594 w 595243"/>
              <a:gd name="connsiteY70" fmla="*/ 92782 h 110081"/>
              <a:gd name="connsiteX71" fmla="*/ 414895 w 595243"/>
              <a:gd name="connsiteY71" fmla="*/ 105601 h 110081"/>
              <a:gd name="connsiteX72" fmla="*/ 396818 w 595243"/>
              <a:gd name="connsiteY72" fmla="*/ 110082 h 110081"/>
              <a:gd name="connsiteX73" fmla="*/ 375156 w 595243"/>
              <a:gd name="connsiteY73" fmla="*/ 104108 h 110081"/>
              <a:gd name="connsiteX74" fmla="*/ 363055 w 595243"/>
              <a:gd name="connsiteY74" fmla="*/ 87555 h 110081"/>
              <a:gd name="connsiteX75" fmla="*/ 359319 w 595243"/>
              <a:gd name="connsiteY75" fmla="*/ 63161 h 110081"/>
              <a:gd name="connsiteX76" fmla="*/ 363801 w 595243"/>
              <a:gd name="connsiteY76" fmla="*/ 30181 h 110081"/>
              <a:gd name="connsiteX77" fmla="*/ 377845 w 595243"/>
              <a:gd name="connsiteY77" fmla="*/ 8089 h 110081"/>
              <a:gd name="connsiteX78" fmla="*/ 402346 w 595243"/>
              <a:gd name="connsiteY78" fmla="*/ 0 h 110081"/>
              <a:gd name="connsiteX79" fmla="*/ 424905 w 595243"/>
              <a:gd name="connsiteY79" fmla="*/ 5538 h 110081"/>
              <a:gd name="connsiteX80" fmla="*/ 424905 w 595243"/>
              <a:gd name="connsiteY80" fmla="*/ 18855 h 110081"/>
              <a:gd name="connsiteX81" fmla="*/ 402346 w 595243"/>
              <a:gd name="connsiteY81" fmla="*/ 12259 h 110081"/>
              <a:gd name="connsiteX82" fmla="*/ 386809 w 595243"/>
              <a:gd name="connsiteY82" fmla="*/ 17361 h 110081"/>
              <a:gd name="connsiteX83" fmla="*/ 376948 w 595243"/>
              <a:gd name="connsiteY83" fmla="*/ 31238 h 110081"/>
              <a:gd name="connsiteX84" fmla="*/ 372765 w 595243"/>
              <a:gd name="connsiteY84" fmla="*/ 50778 h 110081"/>
              <a:gd name="connsiteX85" fmla="*/ 384119 w 595243"/>
              <a:gd name="connsiteY85" fmla="*/ 40759 h 110081"/>
              <a:gd name="connsiteX86" fmla="*/ 398163 w 595243"/>
              <a:gd name="connsiteY86" fmla="*/ 37523 h 110081"/>
              <a:gd name="connsiteX87" fmla="*/ 415493 w 595243"/>
              <a:gd name="connsiteY87" fmla="*/ 41693 h 110081"/>
              <a:gd name="connsiteX88" fmla="*/ 427743 w 595243"/>
              <a:gd name="connsiteY88" fmla="*/ 53952 h 110081"/>
              <a:gd name="connsiteX89" fmla="*/ 432375 w 595243"/>
              <a:gd name="connsiteY89" fmla="*/ 73491 h 110081"/>
              <a:gd name="connsiteX90" fmla="*/ 396370 w 595243"/>
              <a:gd name="connsiteY90" fmla="*/ 98134 h 110081"/>
              <a:gd name="connsiteX91" fmla="*/ 407127 w 595243"/>
              <a:gd name="connsiteY91" fmla="*/ 95458 h 110081"/>
              <a:gd name="connsiteX92" fmla="*/ 415045 w 595243"/>
              <a:gd name="connsiteY92" fmla="*/ 87244 h 110081"/>
              <a:gd name="connsiteX93" fmla="*/ 418182 w 595243"/>
              <a:gd name="connsiteY93" fmla="*/ 73803 h 110081"/>
              <a:gd name="connsiteX94" fmla="*/ 415194 w 595243"/>
              <a:gd name="connsiteY94" fmla="*/ 60174 h 110081"/>
              <a:gd name="connsiteX95" fmla="*/ 407575 w 595243"/>
              <a:gd name="connsiteY95" fmla="*/ 51961 h 110081"/>
              <a:gd name="connsiteX96" fmla="*/ 397864 w 595243"/>
              <a:gd name="connsiteY96" fmla="*/ 49160 h 110081"/>
              <a:gd name="connsiteX97" fmla="*/ 381281 w 595243"/>
              <a:gd name="connsiteY97" fmla="*/ 55570 h 110081"/>
              <a:gd name="connsiteX98" fmla="*/ 374708 w 595243"/>
              <a:gd name="connsiteY98" fmla="*/ 74114 h 110081"/>
              <a:gd name="connsiteX99" fmla="*/ 380534 w 595243"/>
              <a:gd name="connsiteY99" fmla="*/ 91538 h 110081"/>
              <a:gd name="connsiteX100" fmla="*/ 396370 w 595243"/>
              <a:gd name="connsiteY100" fmla="*/ 98134 h 110081"/>
              <a:gd name="connsiteX101" fmla="*/ 449076 w 595243"/>
              <a:gd name="connsiteY101" fmla="*/ 1493 h 110081"/>
              <a:gd name="connsiteX102" fmla="*/ 514512 w 595243"/>
              <a:gd name="connsiteY102" fmla="*/ 1493 h 110081"/>
              <a:gd name="connsiteX103" fmla="*/ 514512 w 595243"/>
              <a:gd name="connsiteY103" fmla="*/ 14374 h 110081"/>
              <a:gd name="connsiteX104" fmla="*/ 463119 w 595243"/>
              <a:gd name="connsiteY104" fmla="*/ 14374 h 110081"/>
              <a:gd name="connsiteX105" fmla="*/ 463119 w 595243"/>
              <a:gd name="connsiteY105" fmla="*/ 49907 h 110081"/>
              <a:gd name="connsiteX106" fmla="*/ 506744 w 595243"/>
              <a:gd name="connsiteY106" fmla="*/ 49907 h 110081"/>
              <a:gd name="connsiteX107" fmla="*/ 506744 w 595243"/>
              <a:gd name="connsiteY107" fmla="*/ 62601 h 110081"/>
              <a:gd name="connsiteX108" fmla="*/ 463119 w 595243"/>
              <a:gd name="connsiteY108" fmla="*/ 62601 h 110081"/>
              <a:gd name="connsiteX109" fmla="*/ 463119 w 595243"/>
              <a:gd name="connsiteY109" fmla="*/ 108588 h 110081"/>
              <a:gd name="connsiteX110" fmla="*/ 449076 w 595243"/>
              <a:gd name="connsiteY110" fmla="*/ 108588 h 110081"/>
              <a:gd name="connsiteX111" fmla="*/ 449076 w 595243"/>
              <a:gd name="connsiteY111" fmla="*/ 1493 h 110081"/>
              <a:gd name="connsiteX112" fmla="*/ 557894 w 595243"/>
              <a:gd name="connsiteY112" fmla="*/ 110082 h 110081"/>
              <a:gd name="connsiteX113" fmla="*/ 529359 w 595243"/>
              <a:gd name="connsiteY113" fmla="*/ 102490 h 110081"/>
              <a:gd name="connsiteX114" fmla="*/ 529359 w 595243"/>
              <a:gd name="connsiteY114" fmla="*/ 87804 h 110081"/>
              <a:gd name="connsiteX115" fmla="*/ 542506 w 595243"/>
              <a:gd name="connsiteY115" fmla="*/ 95458 h 110081"/>
              <a:gd name="connsiteX116" fmla="*/ 557894 w 595243"/>
              <a:gd name="connsiteY116" fmla="*/ 97823 h 110081"/>
              <a:gd name="connsiteX117" fmla="*/ 574925 w 595243"/>
              <a:gd name="connsiteY117" fmla="*/ 91102 h 110081"/>
              <a:gd name="connsiteX118" fmla="*/ 581050 w 595243"/>
              <a:gd name="connsiteY118" fmla="*/ 73491 h 110081"/>
              <a:gd name="connsiteX119" fmla="*/ 575074 w 595243"/>
              <a:gd name="connsiteY119" fmla="*/ 56441 h 110081"/>
              <a:gd name="connsiteX120" fmla="*/ 559985 w 595243"/>
              <a:gd name="connsiteY120" fmla="*/ 51089 h 110081"/>
              <a:gd name="connsiteX121" fmla="*/ 549378 w 595243"/>
              <a:gd name="connsiteY121" fmla="*/ 53329 h 110081"/>
              <a:gd name="connsiteX122" fmla="*/ 543253 w 595243"/>
              <a:gd name="connsiteY122" fmla="*/ 57810 h 110081"/>
              <a:gd name="connsiteX123" fmla="*/ 532347 w 595243"/>
              <a:gd name="connsiteY123" fmla="*/ 57810 h 110081"/>
              <a:gd name="connsiteX124" fmla="*/ 532347 w 595243"/>
              <a:gd name="connsiteY124" fmla="*/ 1493 h 110081"/>
              <a:gd name="connsiteX125" fmla="*/ 590313 w 595243"/>
              <a:gd name="connsiteY125" fmla="*/ 1493 h 110081"/>
              <a:gd name="connsiteX126" fmla="*/ 590313 w 595243"/>
              <a:gd name="connsiteY126" fmla="*/ 14374 h 110081"/>
              <a:gd name="connsiteX127" fmla="*/ 544597 w 595243"/>
              <a:gd name="connsiteY127" fmla="*/ 14374 h 110081"/>
              <a:gd name="connsiteX128" fmla="*/ 544597 w 595243"/>
              <a:gd name="connsiteY128" fmla="*/ 44991 h 110081"/>
              <a:gd name="connsiteX129" fmla="*/ 551918 w 595243"/>
              <a:gd name="connsiteY129" fmla="*/ 41071 h 110081"/>
              <a:gd name="connsiteX130" fmla="*/ 562226 w 595243"/>
              <a:gd name="connsiteY130" fmla="*/ 39266 h 110081"/>
              <a:gd name="connsiteX131" fmla="*/ 578959 w 595243"/>
              <a:gd name="connsiteY131" fmla="*/ 43186 h 110081"/>
              <a:gd name="connsiteX132" fmla="*/ 590761 w 595243"/>
              <a:gd name="connsiteY132" fmla="*/ 54512 h 110081"/>
              <a:gd name="connsiteX133" fmla="*/ 595243 w 595243"/>
              <a:gd name="connsiteY133" fmla="*/ 73181 h 110081"/>
              <a:gd name="connsiteX134" fmla="*/ 590612 w 595243"/>
              <a:gd name="connsiteY134" fmla="*/ 92596 h 110081"/>
              <a:gd name="connsiteX135" fmla="*/ 577764 w 595243"/>
              <a:gd name="connsiteY135" fmla="*/ 105601 h 110081"/>
              <a:gd name="connsiteX136" fmla="*/ 557894 w 595243"/>
              <a:gd name="connsiteY136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59524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7649" y="1493"/>
                </a:moveTo>
                <a:lnTo>
                  <a:pt x="343981" y="1493"/>
                </a:lnTo>
                <a:lnTo>
                  <a:pt x="343981" y="14374"/>
                </a:lnTo>
                <a:lnTo>
                  <a:pt x="291692" y="14374"/>
                </a:lnTo>
                <a:lnTo>
                  <a:pt x="291692" y="46734"/>
                </a:lnTo>
                <a:lnTo>
                  <a:pt x="336063" y="46734"/>
                </a:lnTo>
                <a:lnTo>
                  <a:pt x="336063" y="59428"/>
                </a:lnTo>
                <a:lnTo>
                  <a:pt x="291692" y="59428"/>
                </a:lnTo>
                <a:lnTo>
                  <a:pt x="291692" y="95893"/>
                </a:lnTo>
                <a:lnTo>
                  <a:pt x="344728" y="95893"/>
                </a:lnTo>
                <a:lnTo>
                  <a:pt x="344728" y="108588"/>
                </a:lnTo>
                <a:lnTo>
                  <a:pt x="277649" y="108588"/>
                </a:lnTo>
                <a:lnTo>
                  <a:pt x="277649" y="1493"/>
                </a:lnTo>
                <a:close/>
                <a:moveTo>
                  <a:pt x="432375" y="73491"/>
                </a:moveTo>
                <a:cubicBezTo>
                  <a:pt x="432375" y="80772"/>
                  <a:pt x="430781" y="87182"/>
                  <a:pt x="427594" y="92782"/>
                </a:cubicBezTo>
                <a:cubicBezTo>
                  <a:pt x="424507" y="98258"/>
                  <a:pt x="420273" y="102490"/>
                  <a:pt x="414895" y="105601"/>
                </a:cubicBezTo>
                <a:cubicBezTo>
                  <a:pt x="409517" y="108588"/>
                  <a:pt x="403491" y="110082"/>
                  <a:pt x="396818" y="110082"/>
                </a:cubicBezTo>
                <a:cubicBezTo>
                  <a:pt x="387855" y="110082"/>
                  <a:pt x="380633" y="108091"/>
                  <a:pt x="375156" y="104108"/>
                </a:cubicBezTo>
                <a:cubicBezTo>
                  <a:pt x="369678" y="100125"/>
                  <a:pt x="365644" y="94587"/>
                  <a:pt x="363055" y="87555"/>
                </a:cubicBezTo>
                <a:cubicBezTo>
                  <a:pt x="360564" y="80461"/>
                  <a:pt x="359319" y="72372"/>
                  <a:pt x="359319" y="63161"/>
                </a:cubicBezTo>
                <a:cubicBezTo>
                  <a:pt x="359319" y="50653"/>
                  <a:pt x="360813" y="39639"/>
                  <a:pt x="363801" y="30181"/>
                </a:cubicBezTo>
                <a:cubicBezTo>
                  <a:pt x="366889" y="20722"/>
                  <a:pt x="371570" y="13379"/>
                  <a:pt x="377845" y="8089"/>
                </a:cubicBezTo>
                <a:cubicBezTo>
                  <a:pt x="384219" y="2675"/>
                  <a:pt x="392386" y="0"/>
                  <a:pt x="402346" y="0"/>
                </a:cubicBezTo>
                <a:cubicBezTo>
                  <a:pt x="410911" y="0"/>
                  <a:pt x="418431" y="1866"/>
                  <a:pt x="424905" y="5538"/>
                </a:cubicBezTo>
                <a:lnTo>
                  <a:pt x="424905" y="18855"/>
                </a:lnTo>
                <a:cubicBezTo>
                  <a:pt x="418431" y="14437"/>
                  <a:pt x="410911" y="12259"/>
                  <a:pt x="402346" y="12259"/>
                </a:cubicBezTo>
                <a:cubicBezTo>
                  <a:pt x="396171" y="12259"/>
                  <a:pt x="390992" y="13939"/>
                  <a:pt x="386809" y="17361"/>
                </a:cubicBezTo>
                <a:cubicBezTo>
                  <a:pt x="382625" y="20722"/>
                  <a:pt x="379339" y="25327"/>
                  <a:pt x="376948" y="31238"/>
                </a:cubicBezTo>
                <a:cubicBezTo>
                  <a:pt x="374657" y="37026"/>
                  <a:pt x="373263" y="43498"/>
                  <a:pt x="372765" y="50778"/>
                </a:cubicBezTo>
                <a:cubicBezTo>
                  <a:pt x="376052" y="46298"/>
                  <a:pt x="379837" y="42999"/>
                  <a:pt x="384119" y="40759"/>
                </a:cubicBezTo>
                <a:cubicBezTo>
                  <a:pt x="388402" y="38581"/>
                  <a:pt x="393083" y="37523"/>
                  <a:pt x="398163" y="37523"/>
                </a:cubicBezTo>
                <a:cubicBezTo>
                  <a:pt x="404637" y="37523"/>
                  <a:pt x="410413" y="38893"/>
                  <a:pt x="415493" y="41693"/>
                </a:cubicBezTo>
                <a:cubicBezTo>
                  <a:pt x="420672" y="44493"/>
                  <a:pt x="424756" y="48538"/>
                  <a:pt x="427743" y="53952"/>
                </a:cubicBezTo>
                <a:cubicBezTo>
                  <a:pt x="430831" y="59179"/>
                  <a:pt x="432375" y="65713"/>
                  <a:pt x="432375" y="73491"/>
                </a:cubicBezTo>
                <a:close/>
                <a:moveTo>
                  <a:pt x="396370" y="98134"/>
                </a:moveTo>
                <a:cubicBezTo>
                  <a:pt x="400254" y="98134"/>
                  <a:pt x="403840" y="97263"/>
                  <a:pt x="407127" y="95458"/>
                </a:cubicBezTo>
                <a:cubicBezTo>
                  <a:pt x="410413" y="93529"/>
                  <a:pt x="413053" y="90791"/>
                  <a:pt x="415045" y="87244"/>
                </a:cubicBezTo>
                <a:cubicBezTo>
                  <a:pt x="417136" y="83635"/>
                  <a:pt x="418182" y="79154"/>
                  <a:pt x="418182" y="73803"/>
                </a:cubicBezTo>
                <a:cubicBezTo>
                  <a:pt x="418182" y="68389"/>
                  <a:pt x="417186" y="63908"/>
                  <a:pt x="415194" y="60174"/>
                </a:cubicBezTo>
                <a:cubicBezTo>
                  <a:pt x="413202" y="56503"/>
                  <a:pt x="410663" y="53765"/>
                  <a:pt x="407575" y="51961"/>
                </a:cubicBezTo>
                <a:cubicBezTo>
                  <a:pt x="404487" y="50093"/>
                  <a:pt x="401250" y="49160"/>
                  <a:pt x="397864" y="49160"/>
                </a:cubicBezTo>
                <a:cubicBezTo>
                  <a:pt x="391291" y="49160"/>
                  <a:pt x="385763" y="51276"/>
                  <a:pt x="381281" y="55570"/>
                </a:cubicBezTo>
                <a:cubicBezTo>
                  <a:pt x="376899" y="59739"/>
                  <a:pt x="374708" y="65900"/>
                  <a:pt x="374708" y="74114"/>
                </a:cubicBezTo>
                <a:cubicBezTo>
                  <a:pt x="374708" y="81270"/>
                  <a:pt x="376649" y="87058"/>
                  <a:pt x="380534" y="91538"/>
                </a:cubicBezTo>
                <a:cubicBezTo>
                  <a:pt x="384418" y="95956"/>
                  <a:pt x="389697" y="98134"/>
                  <a:pt x="396370" y="98134"/>
                </a:cubicBezTo>
                <a:close/>
                <a:moveTo>
                  <a:pt x="449076" y="1493"/>
                </a:moveTo>
                <a:lnTo>
                  <a:pt x="514512" y="1493"/>
                </a:lnTo>
                <a:lnTo>
                  <a:pt x="514512" y="14374"/>
                </a:lnTo>
                <a:lnTo>
                  <a:pt x="463119" y="14374"/>
                </a:lnTo>
                <a:lnTo>
                  <a:pt x="463119" y="49907"/>
                </a:lnTo>
                <a:lnTo>
                  <a:pt x="506744" y="49907"/>
                </a:lnTo>
                <a:lnTo>
                  <a:pt x="506744" y="62601"/>
                </a:lnTo>
                <a:lnTo>
                  <a:pt x="463119" y="62601"/>
                </a:lnTo>
                <a:lnTo>
                  <a:pt x="463119" y="108588"/>
                </a:lnTo>
                <a:lnTo>
                  <a:pt x="449076" y="108588"/>
                </a:lnTo>
                <a:lnTo>
                  <a:pt x="449076" y="1493"/>
                </a:lnTo>
                <a:close/>
                <a:moveTo>
                  <a:pt x="557894" y="110082"/>
                </a:moveTo>
                <a:cubicBezTo>
                  <a:pt x="545942" y="110082"/>
                  <a:pt x="536430" y="107530"/>
                  <a:pt x="529359" y="102490"/>
                </a:cubicBezTo>
                <a:lnTo>
                  <a:pt x="529359" y="87804"/>
                </a:lnTo>
                <a:cubicBezTo>
                  <a:pt x="533542" y="91226"/>
                  <a:pt x="537924" y="93778"/>
                  <a:pt x="542506" y="95458"/>
                </a:cubicBezTo>
                <a:cubicBezTo>
                  <a:pt x="547087" y="97014"/>
                  <a:pt x="552217" y="97823"/>
                  <a:pt x="557894" y="97823"/>
                </a:cubicBezTo>
                <a:cubicBezTo>
                  <a:pt x="565264" y="97823"/>
                  <a:pt x="570941" y="95583"/>
                  <a:pt x="574925" y="91102"/>
                </a:cubicBezTo>
                <a:cubicBezTo>
                  <a:pt x="579008" y="86621"/>
                  <a:pt x="581050" y="80772"/>
                  <a:pt x="581050" y="73491"/>
                </a:cubicBezTo>
                <a:cubicBezTo>
                  <a:pt x="581050" y="65713"/>
                  <a:pt x="579058" y="60050"/>
                  <a:pt x="575074" y="56441"/>
                </a:cubicBezTo>
                <a:cubicBezTo>
                  <a:pt x="571090" y="52894"/>
                  <a:pt x="566061" y="51089"/>
                  <a:pt x="559985" y="51089"/>
                </a:cubicBezTo>
                <a:cubicBezTo>
                  <a:pt x="555603" y="51089"/>
                  <a:pt x="552067" y="51836"/>
                  <a:pt x="549378" y="53329"/>
                </a:cubicBezTo>
                <a:cubicBezTo>
                  <a:pt x="546689" y="54698"/>
                  <a:pt x="544647" y="56192"/>
                  <a:pt x="543253" y="57810"/>
                </a:cubicBezTo>
                <a:lnTo>
                  <a:pt x="532347" y="57810"/>
                </a:lnTo>
                <a:lnTo>
                  <a:pt x="532347" y="1493"/>
                </a:lnTo>
                <a:lnTo>
                  <a:pt x="590313" y="1493"/>
                </a:lnTo>
                <a:lnTo>
                  <a:pt x="590313" y="14374"/>
                </a:lnTo>
                <a:lnTo>
                  <a:pt x="544597" y="14374"/>
                </a:lnTo>
                <a:lnTo>
                  <a:pt x="544597" y="44991"/>
                </a:lnTo>
                <a:cubicBezTo>
                  <a:pt x="546589" y="43498"/>
                  <a:pt x="549029" y="42190"/>
                  <a:pt x="551918" y="41071"/>
                </a:cubicBezTo>
                <a:cubicBezTo>
                  <a:pt x="554806" y="39888"/>
                  <a:pt x="558242" y="39266"/>
                  <a:pt x="562226" y="39266"/>
                </a:cubicBezTo>
                <a:cubicBezTo>
                  <a:pt x="568401" y="39266"/>
                  <a:pt x="573979" y="40572"/>
                  <a:pt x="578959" y="43186"/>
                </a:cubicBezTo>
                <a:cubicBezTo>
                  <a:pt x="583939" y="45675"/>
                  <a:pt x="587873" y="49471"/>
                  <a:pt x="590761" y="54512"/>
                </a:cubicBezTo>
                <a:cubicBezTo>
                  <a:pt x="593749" y="59490"/>
                  <a:pt x="595243" y="65713"/>
                  <a:pt x="595243" y="73181"/>
                </a:cubicBezTo>
                <a:cubicBezTo>
                  <a:pt x="595243" y="80586"/>
                  <a:pt x="593699" y="87058"/>
                  <a:pt x="590612" y="92596"/>
                </a:cubicBezTo>
                <a:cubicBezTo>
                  <a:pt x="587624" y="98196"/>
                  <a:pt x="583341" y="102490"/>
                  <a:pt x="577764" y="105601"/>
                </a:cubicBezTo>
                <a:cubicBezTo>
                  <a:pt x="572186" y="108588"/>
                  <a:pt x="565563" y="110082"/>
                  <a:pt x="557894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1" name="Полилиния 1080">
            <a:extLst>
              <a:ext uri="{FF2B5EF4-FFF2-40B4-BE49-F238E27FC236}">
                <a16:creationId xmlns:a16="http://schemas.microsoft.com/office/drawing/2014/main" id="{704BF7C7-0D23-320F-3894-3EA07A16A4C0}"/>
              </a:ext>
            </a:extLst>
          </p:cNvPr>
          <p:cNvSpPr/>
          <p:nvPr userDrawn="1"/>
        </p:nvSpPr>
        <p:spPr>
          <a:xfrm>
            <a:off x="21534071" y="3787620"/>
            <a:ext cx="1398954" cy="726227"/>
          </a:xfrm>
          <a:custGeom>
            <a:avLst/>
            <a:gdLst>
              <a:gd name="connsiteX0" fmla="*/ 1275 w 1198727"/>
              <a:gd name="connsiteY0" fmla="*/ 1022 h 622284"/>
              <a:gd name="connsiteX1" fmla="*/ 1200003 w 1198727"/>
              <a:gd name="connsiteY1" fmla="*/ 1022 h 622284"/>
              <a:gd name="connsiteX2" fmla="*/ 1200003 w 1198727"/>
              <a:gd name="connsiteY2" fmla="*/ 623306 h 622284"/>
              <a:gd name="connsiteX3" fmla="*/ 1275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022"/>
                </a:moveTo>
                <a:lnTo>
                  <a:pt x="1200003" y="1022"/>
                </a:lnTo>
                <a:lnTo>
                  <a:pt x="1200003" y="623306"/>
                </a:lnTo>
                <a:lnTo>
                  <a:pt x="1275" y="623306"/>
                </a:lnTo>
                <a:close/>
              </a:path>
            </a:pathLst>
          </a:custGeom>
          <a:solidFill>
            <a:srgbClr val="7864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2" name="Полилиния 1081">
            <a:extLst>
              <a:ext uri="{FF2B5EF4-FFF2-40B4-BE49-F238E27FC236}">
                <a16:creationId xmlns:a16="http://schemas.microsoft.com/office/drawing/2014/main" id="{C0295625-C815-D382-5FD4-8F10BD6B5DBD}"/>
              </a:ext>
            </a:extLst>
          </p:cNvPr>
          <p:cNvSpPr/>
          <p:nvPr userDrawn="1"/>
        </p:nvSpPr>
        <p:spPr>
          <a:xfrm>
            <a:off x="21657280" y="4089368"/>
            <a:ext cx="679609" cy="128468"/>
          </a:xfrm>
          <a:custGeom>
            <a:avLst/>
            <a:gdLst>
              <a:gd name="connsiteX0" fmla="*/ 22099 w 582339"/>
              <a:gd name="connsiteY0" fmla="*/ 108588 h 110081"/>
              <a:gd name="connsiteX1" fmla="*/ 10147 w 582339"/>
              <a:gd name="connsiteY1" fmla="*/ 108588 h 110081"/>
              <a:gd name="connsiteX2" fmla="*/ 16434 w 582339"/>
              <a:gd name="connsiteY2" fmla="*/ 77661 h 110081"/>
              <a:gd name="connsiteX3" fmla="*/ 0 w 582339"/>
              <a:gd name="connsiteY3" fmla="*/ 77661 h 110081"/>
              <a:gd name="connsiteX4" fmla="*/ 0 w 582339"/>
              <a:gd name="connsiteY4" fmla="*/ 67206 h 110081"/>
              <a:gd name="connsiteX5" fmla="*/ 18675 w 582339"/>
              <a:gd name="connsiteY5" fmla="*/ 67206 h 110081"/>
              <a:gd name="connsiteX6" fmla="*/ 24215 w 582339"/>
              <a:gd name="connsiteY6" fmla="*/ 40012 h 110081"/>
              <a:gd name="connsiteX7" fmla="*/ 4046 w 582339"/>
              <a:gd name="connsiteY7" fmla="*/ 40012 h 110081"/>
              <a:gd name="connsiteX8" fmla="*/ 4046 w 582339"/>
              <a:gd name="connsiteY8" fmla="*/ 29559 h 110081"/>
              <a:gd name="connsiteX9" fmla="*/ 26269 w 582339"/>
              <a:gd name="connsiteY9" fmla="*/ 29559 h 110081"/>
              <a:gd name="connsiteX10" fmla="*/ 32121 w 582339"/>
              <a:gd name="connsiteY10" fmla="*/ 1493 h 110081"/>
              <a:gd name="connsiteX11" fmla="*/ 44073 w 582339"/>
              <a:gd name="connsiteY11" fmla="*/ 1493 h 110081"/>
              <a:gd name="connsiteX12" fmla="*/ 38221 w 582339"/>
              <a:gd name="connsiteY12" fmla="*/ 29559 h 110081"/>
              <a:gd name="connsiteX13" fmla="*/ 60630 w 582339"/>
              <a:gd name="connsiteY13" fmla="*/ 29559 h 110081"/>
              <a:gd name="connsiteX14" fmla="*/ 66482 w 582339"/>
              <a:gd name="connsiteY14" fmla="*/ 1493 h 110081"/>
              <a:gd name="connsiteX15" fmla="*/ 78434 w 582339"/>
              <a:gd name="connsiteY15" fmla="*/ 1493 h 110081"/>
              <a:gd name="connsiteX16" fmla="*/ 72582 w 582339"/>
              <a:gd name="connsiteY16" fmla="*/ 29559 h 110081"/>
              <a:gd name="connsiteX17" fmla="*/ 89327 w 582339"/>
              <a:gd name="connsiteY17" fmla="*/ 29559 h 110081"/>
              <a:gd name="connsiteX18" fmla="*/ 89327 w 582339"/>
              <a:gd name="connsiteY18" fmla="*/ 40012 h 110081"/>
              <a:gd name="connsiteX19" fmla="*/ 70529 w 582339"/>
              <a:gd name="connsiteY19" fmla="*/ 40012 h 110081"/>
              <a:gd name="connsiteX20" fmla="*/ 64988 w 582339"/>
              <a:gd name="connsiteY20" fmla="*/ 67206 h 110081"/>
              <a:gd name="connsiteX21" fmla="*/ 85282 w 582339"/>
              <a:gd name="connsiteY21" fmla="*/ 67206 h 110081"/>
              <a:gd name="connsiteX22" fmla="*/ 85282 w 582339"/>
              <a:gd name="connsiteY22" fmla="*/ 77661 h 110081"/>
              <a:gd name="connsiteX23" fmla="*/ 62747 w 582339"/>
              <a:gd name="connsiteY23" fmla="*/ 77661 h 110081"/>
              <a:gd name="connsiteX24" fmla="*/ 56460 w 582339"/>
              <a:gd name="connsiteY24" fmla="*/ 108588 h 110081"/>
              <a:gd name="connsiteX25" fmla="*/ 44508 w 582339"/>
              <a:gd name="connsiteY25" fmla="*/ 108588 h 110081"/>
              <a:gd name="connsiteX26" fmla="*/ 50795 w 582339"/>
              <a:gd name="connsiteY26" fmla="*/ 77661 h 110081"/>
              <a:gd name="connsiteX27" fmla="*/ 28386 w 582339"/>
              <a:gd name="connsiteY27" fmla="*/ 77661 h 110081"/>
              <a:gd name="connsiteX28" fmla="*/ 22099 w 582339"/>
              <a:gd name="connsiteY28" fmla="*/ 108588 h 110081"/>
              <a:gd name="connsiteX29" fmla="*/ 30627 w 582339"/>
              <a:gd name="connsiteY29" fmla="*/ 67206 h 110081"/>
              <a:gd name="connsiteX30" fmla="*/ 53036 w 582339"/>
              <a:gd name="connsiteY30" fmla="*/ 67206 h 110081"/>
              <a:gd name="connsiteX31" fmla="*/ 58576 w 582339"/>
              <a:gd name="connsiteY31" fmla="*/ 40012 h 110081"/>
              <a:gd name="connsiteX32" fmla="*/ 36167 w 582339"/>
              <a:gd name="connsiteY32" fmla="*/ 40012 h 110081"/>
              <a:gd name="connsiteX33" fmla="*/ 30627 w 582339"/>
              <a:gd name="connsiteY33" fmla="*/ 67206 h 110081"/>
              <a:gd name="connsiteX34" fmla="*/ 170874 w 582339"/>
              <a:gd name="connsiteY34" fmla="*/ 13628 h 110081"/>
              <a:gd name="connsiteX35" fmla="*/ 125432 w 582339"/>
              <a:gd name="connsiteY35" fmla="*/ 108588 h 110081"/>
              <a:gd name="connsiteX36" fmla="*/ 110803 w 582339"/>
              <a:gd name="connsiteY36" fmla="*/ 108588 h 110081"/>
              <a:gd name="connsiteX37" fmla="*/ 156556 w 582339"/>
              <a:gd name="connsiteY37" fmla="*/ 14374 h 110081"/>
              <a:gd name="connsiteX38" fmla="*/ 102026 w 582339"/>
              <a:gd name="connsiteY38" fmla="*/ 14374 h 110081"/>
              <a:gd name="connsiteX39" fmla="*/ 102026 w 582339"/>
              <a:gd name="connsiteY39" fmla="*/ 1493 h 110081"/>
              <a:gd name="connsiteX40" fmla="*/ 170874 w 582339"/>
              <a:gd name="connsiteY40" fmla="*/ 1493 h 110081"/>
              <a:gd name="connsiteX41" fmla="*/ 170874 w 582339"/>
              <a:gd name="connsiteY41" fmla="*/ 13628 h 110081"/>
              <a:gd name="connsiteX42" fmla="*/ 218930 w 582339"/>
              <a:gd name="connsiteY42" fmla="*/ 110082 h 110081"/>
              <a:gd name="connsiteX43" fmla="*/ 200255 w 582339"/>
              <a:gd name="connsiteY43" fmla="*/ 106473 h 110081"/>
              <a:gd name="connsiteX44" fmla="*/ 187556 w 582339"/>
              <a:gd name="connsiteY44" fmla="*/ 96205 h 110081"/>
              <a:gd name="connsiteX45" fmla="*/ 182950 w 582339"/>
              <a:gd name="connsiteY45" fmla="*/ 79777 h 110081"/>
              <a:gd name="connsiteX46" fmla="*/ 188303 w 582339"/>
              <a:gd name="connsiteY46" fmla="*/ 62291 h 110081"/>
              <a:gd name="connsiteX47" fmla="*/ 203118 w 582339"/>
              <a:gd name="connsiteY47" fmla="*/ 51711 h 110081"/>
              <a:gd name="connsiteX48" fmla="*/ 191167 w 582339"/>
              <a:gd name="connsiteY48" fmla="*/ 42564 h 110081"/>
              <a:gd name="connsiteX49" fmla="*/ 186809 w 582339"/>
              <a:gd name="connsiteY49" fmla="*/ 27504 h 110081"/>
              <a:gd name="connsiteX50" fmla="*/ 191042 w 582339"/>
              <a:gd name="connsiteY50" fmla="*/ 12570 h 110081"/>
              <a:gd name="connsiteX51" fmla="*/ 202496 w 582339"/>
              <a:gd name="connsiteY51" fmla="*/ 3298 h 110081"/>
              <a:gd name="connsiteX52" fmla="*/ 218930 w 582339"/>
              <a:gd name="connsiteY52" fmla="*/ 186 h 110081"/>
              <a:gd name="connsiteX53" fmla="*/ 235114 w 582339"/>
              <a:gd name="connsiteY53" fmla="*/ 3298 h 110081"/>
              <a:gd name="connsiteX54" fmla="*/ 246443 w 582339"/>
              <a:gd name="connsiteY54" fmla="*/ 12259 h 110081"/>
              <a:gd name="connsiteX55" fmla="*/ 250801 w 582339"/>
              <a:gd name="connsiteY55" fmla="*/ 27194 h 110081"/>
              <a:gd name="connsiteX56" fmla="*/ 246320 w 582339"/>
              <a:gd name="connsiteY56" fmla="*/ 42439 h 110081"/>
              <a:gd name="connsiteX57" fmla="*/ 234492 w 582339"/>
              <a:gd name="connsiteY57" fmla="*/ 51711 h 110081"/>
              <a:gd name="connsiteX58" fmla="*/ 248809 w 582339"/>
              <a:gd name="connsiteY58" fmla="*/ 61855 h 110081"/>
              <a:gd name="connsiteX59" fmla="*/ 254349 w 582339"/>
              <a:gd name="connsiteY59" fmla="*/ 79341 h 110081"/>
              <a:gd name="connsiteX60" fmla="*/ 249743 w 582339"/>
              <a:gd name="connsiteY60" fmla="*/ 95893 h 110081"/>
              <a:gd name="connsiteX61" fmla="*/ 237044 w 582339"/>
              <a:gd name="connsiteY61" fmla="*/ 106473 h 110081"/>
              <a:gd name="connsiteX62" fmla="*/ 218930 w 582339"/>
              <a:gd name="connsiteY62" fmla="*/ 110082 h 110081"/>
              <a:gd name="connsiteX63" fmla="*/ 218930 w 582339"/>
              <a:gd name="connsiteY63" fmla="*/ 46298 h 110081"/>
              <a:gd name="connsiteX64" fmla="*/ 231940 w 582339"/>
              <a:gd name="connsiteY64" fmla="*/ 41817 h 110081"/>
              <a:gd name="connsiteX65" fmla="*/ 237168 w 582339"/>
              <a:gd name="connsiteY65" fmla="*/ 29122 h 110081"/>
              <a:gd name="connsiteX66" fmla="*/ 231940 w 582339"/>
              <a:gd name="connsiteY66" fmla="*/ 16615 h 110081"/>
              <a:gd name="connsiteX67" fmla="*/ 218930 w 582339"/>
              <a:gd name="connsiteY67" fmla="*/ 11947 h 110081"/>
              <a:gd name="connsiteX68" fmla="*/ 205671 w 582339"/>
              <a:gd name="connsiteY68" fmla="*/ 16615 h 110081"/>
              <a:gd name="connsiteX69" fmla="*/ 200442 w 582339"/>
              <a:gd name="connsiteY69" fmla="*/ 29122 h 110081"/>
              <a:gd name="connsiteX70" fmla="*/ 205671 w 582339"/>
              <a:gd name="connsiteY70" fmla="*/ 41817 h 110081"/>
              <a:gd name="connsiteX71" fmla="*/ 218930 w 582339"/>
              <a:gd name="connsiteY71" fmla="*/ 46298 h 110081"/>
              <a:gd name="connsiteX72" fmla="*/ 218930 w 582339"/>
              <a:gd name="connsiteY72" fmla="*/ 98258 h 110081"/>
              <a:gd name="connsiteX73" fmla="*/ 234367 w 582339"/>
              <a:gd name="connsiteY73" fmla="*/ 92907 h 110081"/>
              <a:gd name="connsiteX74" fmla="*/ 240592 w 582339"/>
              <a:gd name="connsiteY74" fmla="*/ 77536 h 110081"/>
              <a:gd name="connsiteX75" fmla="*/ 234367 w 582339"/>
              <a:gd name="connsiteY75" fmla="*/ 62291 h 110081"/>
              <a:gd name="connsiteX76" fmla="*/ 218930 w 582339"/>
              <a:gd name="connsiteY76" fmla="*/ 56752 h 110081"/>
              <a:gd name="connsiteX77" fmla="*/ 202994 w 582339"/>
              <a:gd name="connsiteY77" fmla="*/ 62291 h 110081"/>
              <a:gd name="connsiteX78" fmla="*/ 196707 w 582339"/>
              <a:gd name="connsiteY78" fmla="*/ 77536 h 110081"/>
              <a:gd name="connsiteX79" fmla="*/ 202994 w 582339"/>
              <a:gd name="connsiteY79" fmla="*/ 92907 h 110081"/>
              <a:gd name="connsiteX80" fmla="*/ 218930 w 582339"/>
              <a:gd name="connsiteY80" fmla="*/ 98258 h 110081"/>
              <a:gd name="connsiteX81" fmla="*/ 337514 w 582339"/>
              <a:gd name="connsiteY81" fmla="*/ 73491 h 110081"/>
              <a:gd name="connsiteX82" fmla="*/ 332783 w 582339"/>
              <a:gd name="connsiteY82" fmla="*/ 92782 h 110081"/>
              <a:gd name="connsiteX83" fmla="*/ 320084 w 582339"/>
              <a:gd name="connsiteY83" fmla="*/ 105601 h 110081"/>
              <a:gd name="connsiteX84" fmla="*/ 301970 w 582339"/>
              <a:gd name="connsiteY84" fmla="*/ 110082 h 110081"/>
              <a:gd name="connsiteX85" fmla="*/ 280307 w 582339"/>
              <a:gd name="connsiteY85" fmla="*/ 104108 h 110081"/>
              <a:gd name="connsiteX86" fmla="*/ 268231 w 582339"/>
              <a:gd name="connsiteY86" fmla="*/ 87555 h 110081"/>
              <a:gd name="connsiteX87" fmla="*/ 264496 w 582339"/>
              <a:gd name="connsiteY87" fmla="*/ 63161 h 110081"/>
              <a:gd name="connsiteX88" fmla="*/ 268978 w 582339"/>
              <a:gd name="connsiteY88" fmla="*/ 30181 h 110081"/>
              <a:gd name="connsiteX89" fmla="*/ 282984 w 582339"/>
              <a:gd name="connsiteY89" fmla="*/ 8089 h 110081"/>
              <a:gd name="connsiteX90" fmla="*/ 307510 w 582339"/>
              <a:gd name="connsiteY90" fmla="*/ 0 h 110081"/>
              <a:gd name="connsiteX91" fmla="*/ 330044 w 582339"/>
              <a:gd name="connsiteY91" fmla="*/ 5538 h 110081"/>
              <a:gd name="connsiteX92" fmla="*/ 330044 w 582339"/>
              <a:gd name="connsiteY92" fmla="*/ 18855 h 110081"/>
              <a:gd name="connsiteX93" fmla="*/ 307510 w 582339"/>
              <a:gd name="connsiteY93" fmla="*/ 12259 h 110081"/>
              <a:gd name="connsiteX94" fmla="*/ 291948 w 582339"/>
              <a:gd name="connsiteY94" fmla="*/ 17361 h 110081"/>
              <a:gd name="connsiteX95" fmla="*/ 282113 w 582339"/>
              <a:gd name="connsiteY95" fmla="*/ 31238 h 110081"/>
              <a:gd name="connsiteX96" fmla="*/ 277942 w 582339"/>
              <a:gd name="connsiteY96" fmla="*/ 50778 h 110081"/>
              <a:gd name="connsiteX97" fmla="*/ 289271 w 582339"/>
              <a:gd name="connsiteY97" fmla="*/ 40759 h 110081"/>
              <a:gd name="connsiteX98" fmla="*/ 303339 w 582339"/>
              <a:gd name="connsiteY98" fmla="*/ 37523 h 110081"/>
              <a:gd name="connsiteX99" fmla="*/ 320644 w 582339"/>
              <a:gd name="connsiteY99" fmla="*/ 41693 h 110081"/>
              <a:gd name="connsiteX100" fmla="*/ 332907 w 582339"/>
              <a:gd name="connsiteY100" fmla="*/ 53952 h 110081"/>
              <a:gd name="connsiteX101" fmla="*/ 337514 w 582339"/>
              <a:gd name="connsiteY101" fmla="*/ 73491 h 110081"/>
              <a:gd name="connsiteX102" fmla="*/ 301534 w 582339"/>
              <a:gd name="connsiteY102" fmla="*/ 98134 h 110081"/>
              <a:gd name="connsiteX103" fmla="*/ 312303 w 582339"/>
              <a:gd name="connsiteY103" fmla="*/ 95458 h 110081"/>
              <a:gd name="connsiteX104" fmla="*/ 320209 w 582339"/>
              <a:gd name="connsiteY104" fmla="*/ 87244 h 110081"/>
              <a:gd name="connsiteX105" fmla="*/ 323321 w 582339"/>
              <a:gd name="connsiteY105" fmla="*/ 73803 h 110081"/>
              <a:gd name="connsiteX106" fmla="*/ 320334 w 582339"/>
              <a:gd name="connsiteY106" fmla="*/ 60174 h 110081"/>
              <a:gd name="connsiteX107" fmla="*/ 312739 w 582339"/>
              <a:gd name="connsiteY107" fmla="*/ 51961 h 110081"/>
              <a:gd name="connsiteX108" fmla="*/ 303028 w 582339"/>
              <a:gd name="connsiteY108" fmla="*/ 49160 h 110081"/>
              <a:gd name="connsiteX109" fmla="*/ 286470 w 582339"/>
              <a:gd name="connsiteY109" fmla="*/ 55570 h 110081"/>
              <a:gd name="connsiteX110" fmla="*/ 279872 w 582339"/>
              <a:gd name="connsiteY110" fmla="*/ 74114 h 110081"/>
              <a:gd name="connsiteX111" fmla="*/ 285723 w 582339"/>
              <a:gd name="connsiteY111" fmla="*/ 91538 h 110081"/>
              <a:gd name="connsiteX112" fmla="*/ 301534 w 582339"/>
              <a:gd name="connsiteY112" fmla="*/ 98134 h 110081"/>
              <a:gd name="connsiteX113" fmla="*/ 405178 w 582339"/>
              <a:gd name="connsiteY113" fmla="*/ 108588 h 110081"/>
              <a:gd name="connsiteX114" fmla="*/ 392044 w 582339"/>
              <a:gd name="connsiteY114" fmla="*/ 108588 h 110081"/>
              <a:gd name="connsiteX115" fmla="*/ 392044 w 582339"/>
              <a:gd name="connsiteY115" fmla="*/ 83199 h 110081"/>
              <a:gd name="connsiteX116" fmla="*/ 345731 w 582339"/>
              <a:gd name="connsiteY116" fmla="*/ 83199 h 110081"/>
              <a:gd name="connsiteX117" fmla="*/ 345731 w 582339"/>
              <a:gd name="connsiteY117" fmla="*/ 73927 h 110081"/>
              <a:gd name="connsiteX118" fmla="*/ 387562 w 582339"/>
              <a:gd name="connsiteY118" fmla="*/ 1493 h 110081"/>
              <a:gd name="connsiteX119" fmla="*/ 405178 w 582339"/>
              <a:gd name="connsiteY119" fmla="*/ 1493 h 110081"/>
              <a:gd name="connsiteX120" fmla="*/ 405178 w 582339"/>
              <a:gd name="connsiteY120" fmla="*/ 71873 h 110081"/>
              <a:gd name="connsiteX121" fmla="*/ 419683 w 582339"/>
              <a:gd name="connsiteY121" fmla="*/ 71873 h 110081"/>
              <a:gd name="connsiteX122" fmla="*/ 419683 w 582339"/>
              <a:gd name="connsiteY122" fmla="*/ 83199 h 110081"/>
              <a:gd name="connsiteX123" fmla="*/ 405178 w 582339"/>
              <a:gd name="connsiteY123" fmla="*/ 83199 h 110081"/>
              <a:gd name="connsiteX124" fmla="*/ 405178 w 582339"/>
              <a:gd name="connsiteY124" fmla="*/ 108588 h 110081"/>
              <a:gd name="connsiteX125" fmla="*/ 359301 w 582339"/>
              <a:gd name="connsiteY125" fmla="*/ 71873 h 110081"/>
              <a:gd name="connsiteX126" fmla="*/ 392044 w 582339"/>
              <a:gd name="connsiteY126" fmla="*/ 71873 h 110081"/>
              <a:gd name="connsiteX127" fmla="*/ 392044 w 582339"/>
              <a:gd name="connsiteY127" fmla="*/ 16117 h 110081"/>
              <a:gd name="connsiteX128" fmla="*/ 359301 w 582339"/>
              <a:gd name="connsiteY128" fmla="*/ 71873 h 110081"/>
              <a:gd name="connsiteX129" fmla="*/ 465249 w 582339"/>
              <a:gd name="connsiteY129" fmla="*/ 110082 h 110081"/>
              <a:gd name="connsiteX130" fmla="*/ 447010 w 582339"/>
              <a:gd name="connsiteY130" fmla="*/ 104233 h 110081"/>
              <a:gd name="connsiteX131" fmla="*/ 434311 w 582339"/>
              <a:gd name="connsiteY131" fmla="*/ 86311 h 110081"/>
              <a:gd name="connsiteX132" fmla="*/ 429829 w 582339"/>
              <a:gd name="connsiteY132" fmla="*/ 54947 h 110081"/>
              <a:gd name="connsiteX133" fmla="*/ 434311 w 582339"/>
              <a:gd name="connsiteY133" fmla="*/ 23584 h 110081"/>
              <a:gd name="connsiteX134" fmla="*/ 447010 w 582339"/>
              <a:gd name="connsiteY134" fmla="*/ 5849 h 110081"/>
              <a:gd name="connsiteX135" fmla="*/ 465249 w 582339"/>
              <a:gd name="connsiteY135" fmla="*/ 186 h 110081"/>
              <a:gd name="connsiteX136" fmla="*/ 483301 w 582339"/>
              <a:gd name="connsiteY136" fmla="*/ 5849 h 110081"/>
              <a:gd name="connsiteX137" fmla="*/ 495688 w 582339"/>
              <a:gd name="connsiteY137" fmla="*/ 23584 h 110081"/>
              <a:gd name="connsiteX138" fmla="*/ 500170 w 582339"/>
              <a:gd name="connsiteY138" fmla="*/ 54698 h 110081"/>
              <a:gd name="connsiteX139" fmla="*/ 495688 w 582339"/>
              <a:gd name="connsiteY139" fmla="*/ 86062 h 110081"/>
              <a:gd name="connsiteX140" fmla="*/ 483301 w 582339"/>
              <a:gd name="connsiteY140" fmla="*/ 104233 h 110081"/>
              <a:gd name="connsiteX141" fmla="*/ 465249 w 582339"/>
              <a:gd name="connsiteY141" fmla="*/ 110082 h 110081"/>
              <a:gd name="connsiteX142" fmla="*/ 465062 w 582339"/>
              <a:gd name="connsiteY142" fmla="*/ 98258 h 110081"/>
              <a:gd name="connsiteX143" fmla="*/ 476454 w 582339"/>
              <a:gd name="connsiteY143" fmla="*/ 94275 h 110081"/>
              <a:gd name="connsiteX144" fmla="*/ 483612 w 582339"/>
              <a:gd name="connsiteY144" fmla="*/ 80648 h 110081"/>
              <a:gd name="connsiteX145" fmla="*/ 486164 w 582339"/>
              <a:gd name="connsiteY145" fmla="*/ 55134 h 110081"/>
              <a:gd name="connsiteX146" fmla="*/ 483737 w 582339"/>
              <a:gd name="connsiteY146" fmla="*/ 29745 h 110081"/>
              <a:gd name="connsiteX147" fmla="*/ 476578 w 582339"/>
              <a:gd name="connsiteY147" fmla="*/ 16117 h 110081"/>
              <a:gd name="connsiteX148" fmla="*/ 465249 w 582339"/>
              <a:gd name="connsiteY148" fmla="*/ 11947 h 110081"/>
              <a:gd name="connsiteX149" fmla="*/ 453733 w 582339"/>
              <a:gd name="connsiteY149" fmla="*/ 16117 h 110081"/>
              <a:gd name="connsiteX150" fmla="*/ 446388 w 582339"/>
              <a:gd name="connsiteY150" fmla="*/ 29745 h 110081"/>
              <a:gd name="connsiteX151" fmla="*/ 443835 w 582339"/>
              <a:gd name="connsiteY151" fmla="*/ 55134 h 110081"/>
              <a:gd name="connsiteX152" fmla="*/ 446263 w 582339"/>
              <a:gd name="connsiteY152" fmla="*/ 80648 h 110081"/>
              <a:gd name="connsiteX153" fmla="*/ 453546 w 582339"/>
              <a:gd name="connsiteY153" fmla="*/ 94275 h 110081"/>
              <a:gd name="connsiteX154" fmla="*/ 465062 w 582339"/>
              <a:gd name="connsiteY154" fmla="*/ 98258 h 110081"/>
              <a:gd name="connsiteX155" fmla="*/ 547355 w 582339"/>
              <a:gd name="connsiteY155" fmla="*/ 110082 h 110081"/>
              <a:gd name="connsiteX156" fmla="*/ 529116 w 582339"/>
              <a:gd name="connsiteY156" fmla="*/ 104233 h 110081"/>
              <a:gd name="connsiteX157" fmla="*/ 516418 w 582339"/>
              <a:gd name="connsiteY157" fmla="*/ 86311 h 110081"/>
              <a:gd name="connsiteX158" fmla="*/ 511935 w 582339"/>
              <a:gd name="connsiteY158" fmla="*/ 54947 h 110081"/>
              <a:gd name="connsiteX159" fmla="*/ 516418 w 582339"/>
              <a:gd name="connsiteY159" fmla="*/ 23584 h 110081"/>
              <a:gd name="connsiteX160" fmla="*/ 529116 w 582339"/>
              <a:gd name="connsiteY160" fmla="*/ 5849 h 110081"/>
              <a:gd name="connsiteX161" fmla="*/ 547355 w 582339"/>
              <a:gd name="connsiteY161" fmla="*/ 186 h 110081"/>
              <a:gd name="connsiteX162" fmla="*/ 565408 w 582339"/>
              <a:gd name="connsiteY162" fmla="*/ 5849 h 110081"/>
              <a:gd name="connsiteX163" fmla="*/ 577858 w 582339"/>
              <a:gd name="connsiteY163" fmla="*/ 23584 h 110081"/>
              <a:gd name="connsiteX164" fmla="*/ 582339 w 582339"/>
              <a:gd name="connsiteY164" fmla="*/ 54698 h 110081"/>
              <a:gd name="connsiteX165" fmla="*/ 577858 w 582339"/>
              <a:gd name="connsiteY165" fmla="*/ 86062 h 110081"/>
              <a:gd name="connsiteX166" fmla="*/ 565408 w 582339"/>
              <a:gd name="connsiteY166" fmla="*/ 104233 h 110081"/>
              <a:gd name="connsiteX167" fmla="*/ 547355 w 582339"/>
              <a:gd name="connsiteY167" fmla="*/ 110082 h 110081"/>
              <a:gd name="connsiteX168" fmla="*/ 547231 w 582339"/>
              <a:gd name="connsiteY168" fmla="*/ 98258 h 110081"/>
              <a:gd name="connsiteX169" fmla="*/ 558560 w 582339"/>
              <a:gd name="connsiteY169" fmla="*/ 94275 h 110081"/>
              <a:gd name="connsiteX170" fmla="*/ 565719 w 582339"/>
              <a:gd name="connsiteY170" fmla="*/ 80648 h 110081"/>
              <a:gd name="connsiteX171" fmla="*/ 568271 w 582339"/>
              <a:gd name="connsiteY171" fmla="*/ 55134 h 110081"/>
              <a:gd name="connsiteX172" fmla="*/ 565905 w 582339"/>
              <a:gd name="connsiteY172" fmla="*/ 29745 h 110081"/>
              <a:gd name="connsiteX173" fmla="*/ 558684 w 582339"/>
              <a:gd name="connsiteY173" fmla="*/ 16117 h 110081"/>
              <a:gd name="connsiteX174" fmla="*/ 547355 w 582339"/>
              <a:gd name="connsiteY174" fmla="*/ 11947 h 110081"/>
              <a:gd name="connsiteX175" fmla="*/ 535839 w 582339"/>
              <a:gd name="connsiteY175" fmla="*/ 16117 h 110081"/>
              <a:gd name="connsiteX176" fmla="*/ 528556 w 582339"/>
              <a:gd name="connsiteY176" fmla="*/ 29745 h 110081"/>
              <a:gd name="connsiteX177" fmla="*/ 526004 w 582339"/>
              <a:gd name="connsiteY177" fmla="*/ 55134 h 110081"/>
              <a:gd name="connsiteX178" fmla="*/ 528369 w 582339"/>
              <a:gd name="connsiteY178" fmla="*/ 80648 h 110081"/>
              <a:gd name="connsiteX179" fmla="*/ 535715 w 582339"/>
              <a:gd name="connsiteY179" fmla="*/ 94275 h 110081"/>
              <a:gd name="connsiteX180" fmla="*/ 547231 w 582339"/>
              <a:gd name="connsiteY18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582339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3628"/>
                </a:moveTo>
                <a:lnTo>
                  <a:pt x="125432" y="108588"/>
                </a:lnTo>
                <a:lnTo>
                  <a:pt x="110803" y="108588"/>
                </a:lnTo>
                <a:lnTo>
                  <a:pt x="156556" y="14374"/>
                </a:lnTo>
                <a:lnTo>
                  <a:pt x="102026" y="14374"/>
                </a:lnTo>
                <a:lnTo>
                  <a:pt x="102026" y="1493"/>
                </a:lnTo>
                <a:lnTo>
                  <a:pt x="170874" y="1493"/>
                </a:lnTo>
                <a:lnTo>
                  <a:pt x="170874" y="13628"/>
                </a:lnTo>
                <a:close/>
                <a:moveTo>
                  <a:pt x="218930" y="110082"/>
                </a:moveTo>
                <a:cubicBezTo>
                  <a:pt x="211958" y="110082"/>
                  <a:pt x="205733" y="108900"/>
                  <a:pt x="200255" y="106473"/>
                </a:cubicBezTo>
                <a:cubicBezTo>
                  <a:pt x="194902" y="104108"/>
                  <a:pt x="190669" y="100685"/>
                  <a:pt x="187556" y="96205"/>
                </a:cubicBezTo>
                <a:cubicBezTo>
                  <a:pt x="184506" y="91600"/>
                  <a:pt x="182950" y="86124"/>
                  <a:pt x="182950" y="79777"/>
                </a:cubicBezTo>
                <a:cubicBezTo>
                  <a:pt x="182950" y="72869"/>
                  <a:pt x="184755" y="67082"/>
                  <a:pt x="188303" y="62291"/>
                </a:cubicBezTo>
                <a:cubicBezTo>
                  <a:pt x="192038" y="57437"/>
                  <a:pt x="196956" y="53889"/>
                  <a:pt x="203118" y="51711"/>
                </a:cubicBezTo>
                <a:cubicBezTo>
                  <a:pt x="198139" y="49720"/>
                  <a:pt x="194155" y="46671"/>
                  <a:pt x="191167" y="42564"/>
                </a:cubicBezTo>
                <a:cubicBezTo>
                  <a:pt x="188303" y="38519"/>
                  <a:pt x="186809" y="33479"/>
                  <a:pt x="186809" y="27504"/>
                </a:cubicBezTo>
                <a:cubicBezTo>
                  <a:pt x="186809" y="21593"/>
                  <a:pt x="188241" y="16615"/>
                  <a:pt x="191042" y="12570"/>
                </a:cubicBezTo>
                <a:cubicBezTo>
                  <a:pt x="193781" y="8463"/>
                  <a:pt x="197640" y="5414"/>
                  <a:pt x="202496" y="3298"/>
                </a:cubicBezTo>
                <a:cubicBezTo>
                  <a:pt x="207414" y="1182"/>
                  <a:pt x="212892" y="186"/>
                  <a:pt x="218930" y="186"/>
                </a:cubicBezTo>
                <a:cubicBezTo>
                  <a:pt x="224905" y="186"/>
                  <a:pt x="230321" y="1182"/>
                  <a:pt x="235114" y="3298"/>
                </a:cubicBezTo>
                <a:cubicBezTo>
                  <a:pt x="239845" y="5289"/>
                  <a:pt x="243642" y="8276"/>
                  <a:pt x="246443" y="12259"/>
                </a:cubicBezTo>
                <a:cubicBezTo>
                  <a:pt x="249307" y="16242"/>
                  <a:pt x="250801" y="21219"/>
                  <a:pt x="250801" y="27194"/>
                </a:cubicBezTo>
                <a:cubicBezTo>
                  <a:pt x="250801" y="33292"/>
                  <a:pt x="249307" y="38332"/>
                  <a:pt x="246320" y="42439"/>
                </a:cubicBezTo>
                <a:cubicBezTo>
                  <a:pt x="243331" y="46484"/>
                  <a:pt x="239348" y="49596"/>
                  <a:pt x="234492" y="51711"/>
                </a:cubicBezTo>
                <a:cubicBezTo>
                  <a:pt x="240468" y="53765"/>
                  <a:pt x="245261" y="57188"/>
                  <a:pt x="248809" y="61855"/>
                </a:cubicBezTo>
                <a:cubicBezTo>
                  <a:pt x="252544" y="66522"/>
                  <a:pt x="254349" y="72372"/>
                  <a:pt x="254349" y="79341"/>
                </a:cubicBezTo>
                <a:cubicBezTo>
                  <a:pt x="254349" y="85688"/>
                  <a:pt x="252793" y="91226"/>
                  <a:pt x="249743" y="95893"/>
                </a:cubicBezTo>
                <a:cubicBezTo>
                  <a:pt x="246630" y="100498"/>
                  <a:pt x="242398" y="103983"/>
                  <a:pt x="237044" y="106473"/>
                </a:cubicBezTo>
                <a:cubicBezTo>
                  <a:pt x="231753" y="108900"/>
                  <a:pt x="225715" y="110082"/>
                  <a:pt x="218930" y="110082"/>
                </a:cubicBezTo>
                <a:close/>
                <a:moveTo>
                  <a:pt x="218930" y="46298"/>
                </a:moveTo>
                <a:cubicBezTo>
                  <a:pt x="224221" y="46298"/>
                  <a:pt x="228578" y="44804"/>
                  <a:pt x="231940" y="41817"/>
                </a:cubicBezTo>
                <a:cubicBezTo>
                  <a:pt x="235426" y="38768"/>
                  <a:pt x="237168" y="34536"/>
                  <a:pt x="237168" y="29122"/>
                </a:cubicBezTo>
                <a:cubicBezTo>
                  <a:pt x="237168" y="23771"/>
                  <a:pt x="235426" y="19601"/>
                  <a:pt x="231940" y="16615"/>
                </a:cubicBezTo>
                <a:cubicBezTo>
                  <a:pt x="228578" y="13503"/>
                  <a:pt x="224221" y="11947"/>
                  <a:pt x="218930" y="11947"/>
                </a:cubicBezTo>
                <a:cubicBezTo>
                  <a:pt x="213701" y="11947"/>
                  <a:pt x="209219" y="13503"/>
                  <a:pt x="205671" y="16615"/>
                </a:cubicBezTo>
                <a:cubicBezTo>
                  <a:pt x="202184" y="19601"/>
                  <a:pt x="200442" y="23771"/>
                  <a:pt x="200442" y="29122"/>
                </a:cubicBezTo>
                <a:cubicBezTo>
                  <a:pt x="200442" y="34536"/>
                  <a:pt x="202184" y="38768"/>
                  <a:pt x="205671" y="41817"/>
                </a:cubicBezTo>
                <a:cubicBezTo>
                  <a:pt x="209219" y="44804"/>
                  <a:pt x="213701" y="46298"/>
                  <a:pt x="218930" y="46298"/>
                </a:cubicBezTo>
                <a:close/>
                <a:moveTo>
                  <a:pt x="218930" y="98258"/>
                </a:moveTo>
                <a:cubicBezTo>
                  <a:pt x="225155" y="98258"/>
                  <a:pt x="230259" y="96516"/>
                  <a:pt x="234367" y="92907"/>
                </a:cubicBezTo>
                <a:cubicBezTo>
                  <a:pt x="238538" y="89235"/>
                  <a:pt x="240592" y="84071"/>
                  <a:pt x="240592" y="77536"/>
                </a:cubicBezTo>
                <a:cubicBezTo>
                  <a:pt x="240592" y="70940"/>
                  <a:pt x="238538" y="65900"/>
                  <a:pt x="234367" y="62291"/>
                </a:cubicBezTo>
                <a:cubicBezTo>
                  <a:pt x="230259" y="58619"/>
                  <a:pt x="225155" y="56752"/>
                  <a:pt x="218930" y="56752"/>
                </a:cubicBezTo>
                <a:cubicBezTo>
                  <a:pt x="212580" y="56752"/>
                  <a:pt x="207227" y="58619"/>
                  <a:pt x="202994" y="62291"/>
                </a:cubicBezTo>
                <a:cubicBezTo>
                  <a:pt x="198761" y="65900"/>
                  <a:pt x="196707" y="70940"/>
                  <a:pt x="196707" y="77536"/>
                </a:cubicBezTo>
                <a:cubicBezTo>
                  <a:pt x="196707" y="84071"/>
                  <a:pt x="198761" y="89235"/>
                  <a:pt x="202994" y="92907"/>
                </a:cubicBezTo>
                <a:cubicBezTo>
                  <a:pt x="207227" y="96516"/>
                  <a:pt x="212580" y="98258"/>
                  <a:pt x="218930" y="98258"/>
                </a:cubicBezTo>
                <a:close/>
                <a:moveTo>
                  <a:pt x="337514" y="73491"/>
                </a:moveTo>
                <a:cubicBezTo>
                  <a:pt x="337514" y="80772"/>
                  <a:pt x="335957" y="87182"/>
                  <a:pt x="332783" y="92782"/>
                </a:cubicBezTo>
                <a:cubicBezTo>
                  <a:pt x="329671" y="98258"/>
                  <a:pt x="325438" y="102490"/>
                  <a:pt x="320084" y="105601"/>
                </a:cubicBezTo>
                <a:cubicBezTo>
                  <a:pt x="314669" y="108588"/>
                  <a:pt x="308631" y="110082"/>
                  <a:pt x="301970" y="110082"/>
                </a:cubicBezTo>
                <a:cubicBezTo>
                  <a:pt x="293006" y="110082"/>
                  <a:pt x="285785" y="108091"/>
                  <a:pt x="280307" y="104108"/>
                </a:cubicBezTo>
                <a:cubicBezTo>
                  <a:pt x="274829" y="100125"/>
                  <a:pt x="270783" y="94587"/>
                  <a:pt x="268231" y="87555"/>
                </a:cubicBezTo>
                <a:cubicBezTo>
                  <a:pt x="265741" y="80461"/>
                  <a:pt x="264496" y="72372"/>
                  <a:pt x="264496" y="63161"/>
                </a:cubicBezTo>
                <a:cubicBezTo>
                  <a:pt x="264496" y="50653"/>
                  <a:pt x="265990" y="39639"/>
                  <a:pt x="268978" y="30181"/>
                </a:cubicBezTo>
                <a:cubicBezTo>
                  <a:pt x="272028" y="20722"/>
                  <a:pt x="276759" y="13379"/>
                  <a:pt x="282984" y="8089"/>
                </a:cubicBezTo>
                <a:cubicBezTo>
                  <a:pt x="289395" y="2675"/>
                  <a:pt x="297550" y="0"/>
                  <a:pt x="307510" y="0"/>
                </a:cubicBezTo>
                <a:cubicBezTo>
                  <a:pt x="316100" y="0"/>
                  <a:pt x="323570" y="1866"/>
                  <a:pt x="330044" y="5538"/>
                </a:cubicBezTo>
                <a:lnTo>
                  <a:pt x="330044" y="18855"/>
                </a:lnTo>
                <a:cubicBezTo>
                  <a:pt x="323570" y="14437"/>
                  <a:pt x="316100" y="12259"/>
                  <a:pt x="307510" y="12259"/>
                </a:cubicBezTo>
                <a:cubicBezTo>
                  <a:pt x="301347" y="12259"/>
                  <a:pt x="296181" y="13939"/>
                  <a:pt x="291948" y="17361"/>
                </a:cubicBezTo>
                <a:cubicBezTo>
                  <a:pt x="287777" y="20722"/>
                  <a:pt x="284478" y="25327"/>
                  <a:pt x="282113" y="31238"/>
                </a:cubicBezTo>
                <a:cubicBezTo>
                  <a:pt x="279809" y="37026"/>
                  <a:pt x="278439" y="43498"/>
                  <a:pt x="277942" y="50778"/>
                </a:cubicBezTo>
                <a:cubicBezTo>
                  <a:pt x="281241" y="46298"/>
                  <a:pt x="284976" y="42999"/>
                  <a:pt x="289271" y="40759"/>
                </a:cubicBezTo>
                <a:cubicBezTo>
                  <a:pt x="293566" y="38581"/>
                  <a:pt x="298235" y="37523"/>
                  <a:pt x="303339" y="37523"/>
                </a:cubicBezTo>
                <a:cubicBezTo>
                  <a:pt x="309813" y="37523"/>
                  <a:pt x="315603" y="38893"/>
                  <a:pt x="320644" y="41693"/>
                </a:cubicBezTo>
                <a:cubicBezTo>
                  <a:pt x="325811" y="44493"/>
                  <a:pt x="329919" y="48538"/>
                  <a:pt x="332907" y="53952"/>
                </a:cubicBezTo>
                <a:cubicBezTo>
                  <a:pt x="336020" y="59179"/>
                  <a:pt x="337514" y="65713"/>
                  <a:pt x="337514" y="73491"/>
                </a:cubicBezTo>
                <a:close/>
                <a:moveTo>
                  <a:pt x="301534" y="98134"/>
                </a:moveTo>
                <a:cubicBezTo>
                  <a:pt x="305394" y="98134"/>
                  <a:pt x="309004" y="97263"/>
                  <a:pt x="312303" y="95458"/>
                </a:cubicBezTo>
                <a:cubicBezTo>
                  <a:pt x="315603" y="93529"/>
                  <a:pt x="318217" y="90791"/>
                  <a:pt x="320209" y="87244"/>
                </a:cubicBezTo>
                <a:cubicBezTo>
                  <a:pt x="322325" y="83635"/>
                  <a:pt x="323321" y="79154"/>
                  <a:pt x="323321" y="73803"/>
                </a:cubicBezTo>
                <a:cubicBezTo>
                  <a:pt x="323321" y="68389"/>
                  <a:pt x="322325" y="63908"/>
                  <a:pt x="320334" y="60174"/>
                </a:cubicBezTo>
                <a:cubicBezTo>
                  <a:pt x="318341" y="56503"/>
                  <a:pt x="315851" y="53765"/>
                  <a:pt x="312739" y="51961"/>
                </a:cubicBezTo>
                <a:cubicBezTo>
                  <a:pt x="309626" y="50093"/>
                  <a:pt x="306389" y="49160"/>
                  <a:pt x="303028" y="49160"/>
                </a:cubicBezTo>
                <a:cubicBezTo>
                  <a:pt x="296429" y="49160"/>
                  <a:pt x="290952" y="51276"/>
                  <a:pt x="286470" y="55570"/>
                </a:cubicBezTo>
                <a:cubicBezTo>
                  <a:pt x="282050" y="59739"/>
                  <a:pt x="279872" y="65900"/>
                  <a:pt x="279872" y="74114"/>
                </a:cubicBezTo>
                <a:cubicBezTo>
                  <a:pt x="279872" y="81270"/>
                  <a:pt x="281801" y="87058"/>
                  <a:pt x="285723" y="91538"/>
                </a:cubicBezTo>
                <a:cubicBezTo>
                  <a:pt x="289582" y="95956"/>
                  <a:pt x="294873" y="98134"/>
                  <a:pt x="301534" y="98134"/>
                </a:cubicBezTo>
                <a:close/>
                <a:moveTo>
                  <a:pt x="405178" y="108588"/>
                </a:moveTo>
                <a:lnTo>
                  <a:pt x="392044" y="108588"/>
                </a:lnTo>
                <a:lnTo>
                  <a:pt x="392044" y="83199"/>
                </a:lnTo>
                <a:lnTo>
                  <a:pt x="345731" y="83199"/>
                </a:lnTo>
                <a:lnTo>
                  <a:pt x="345731" y="73927"/>
                </a:lnTo>
                <a:lnTo>
                  <a:pt x="387562" y="1493"/>
                </a:lnTo>
                <a:lnTo>
                  <a:pt x="405178" y="1493"/>
                </a:lnTo>
                <a:lnTo>
                  <a:pt x="405178" y="71873"/>
                </a:lnTo>
                <a:lnTo>
                  <a:pt x="419683" y="71873"/>
                </a:lnTo>
                <a:lnTo>
                  <a:pt x="419683" y="83199"/>
                </a:lnTo>
                <a:lnTo>
                  <a:pt x="405178" y="83199"/>
                </a:lnTo>
                <a:lnTo>
                  <a:pt x="405178" y="108588"/>
                </a:lnTo>
                <a:close/>
                <a:moveTo>
                  <a:pt x="359301" y="71873"/>
                </a:moveTo>
                <a:lnTo>
                  <a:pt x="392044" y="71873"/>
                </a:lnTo>
                <a:lnTo>
                  <a:pt x="392044" y="16117"/>
                </a:lnTo>
                <a:lnTo>
                  <a:pt x="359301" y="71873"/>
                </a:lnTo>
                <a:close/>
                <a:moveTo>
                  <a:pt x="465249" y="110082"/>
                </a:moveTo>
                <a:cubicBezTo>
                  <a:pt x="458464" y="110082"/>
                  <a:pt x="452363" y="108153"/>
                  <a:pt x="447010" y="104233"/>
                </a:cubicBezTo>
                <a:cubicBezTo>
                  <a:pt x="441594" y="100374"/>
                  <a:pt x="437361" y="94400"/>
                  <a:pt x="434311" y="86311"/>
                </a:cubicBezTo>
                <a:cubicBezTo>
                  <a:pt x="431323" y="78159"/>
                  <a:pt x="429829" y="67705"/>
                  <a:pt x="429829" y="54947"/>
                </a:cubicBezTo>
                <a:cubicBezTo>
                  <a:pt x="429829" y="42128"/>
                  <a:pt x="431323" y="31674"/>
                  <a:pt x="434311" y="23584"/>
                </a:cubicBezTo>
                <a:cubicBezTo>
                  <a:pt x="437361" y="15557"/>
                  <a:pt x="441594" y="9645"/>
                  <a:pt x="447010" y="5849"/>
                </a:cubicBezTo>
                <a:cubicBezTo>
                  <a:pt x="452363" y="2053"/>
                  <a:pt x="458464" y="186"/>
                  <a:pt x="465249" y="186"/>
                </a:cubicBezTo>
                <a:cubicBezTo>
                  <a:pt x="471972" y="186"/>
                  <a:pt x="478010" y="2053"/>
                  <a:pt x="483301" y="5849"/>
                </a:cubicBezTo>
                <a:cubicBezTo>
                  <a:pt x="488592" y="9645"/>
                  <a:pt x="492701" y="15557"/>
                  <a:pt x="495688" y="23584"/>
                </a:cubicBezTo>
                <a:cubicBezTo>
                  <a:pt x="498676" y="31549"/>
                  <a:pt x="500170" y="41942"/>
                  <a:pt x="500170" y="54698"/>
                </a:cubicBezTo>
                <a:cubicBezTo>
                  <a:pt x="500170" y="67331"/>
                  <a:pt x="498676" y="77786"/>
                  <a:pt x="495688" y="86062"/>
                </a:cubicBezTo>
                <a:cubicBezTo>
                  <a:pt x="492701" y="94213"/>
                  <a:pt x="488592" y="100250"/>
                  <a:pt x="483301" y="104233"/>
                </a:cubicBezTo>
                <a:cubicBezTo>
                  <a:pt x="478010" y="108153"/>
                  <a:pt x="471972" y="110082"/>
                  <a:pt x="465249" y="110082"/>
                </a:cubicBezTo>
                <a:close/>
                <a:moveTo>
                  <a:pt x="465062" y="98258"/>
                </a:moveTo>
                <a:cubicBezTo>
                  <a:pt x="469544" y="98258"/>
                  <a:pt x="473341" y="96952"/>
                  <a:pt x="476454" y="94275"/>
                </a:cubicBezTo>
                <a:cubicBezTo>
                  <a:pt x="479628" y="91475"/>
                  <a:pt x="481994" y="86933"/>
                  <a:pt x="483612" y="80648"/>
                </a:cubicBezTo>
                <a:cubicBezTo>
                  <a:pt x="485293" y="74300"/>
                  <a:pt x="486164" y="65775"/>
                  <a:pt x="486164" y="55134"/>
                </a:cubicBezTo>
                <a:cubicBezTo>
                  <a:pt x="486164" y="44493"/>
                  <a:pt x="485355" y="36030"/>
                  <a:pt x="483737" y="29745"/>
                </a:cubicBezTo>
                <a:cubicBezTo>
                  <a:pt x="482181" y="23336"/>
                  <a:pt x="479753" y="18855"/>
                  <a:pt x="476578" y="16117"/>
                </a:cubicBezTo>
                <a:cubicBezTo>
                  <a:pt x="473466" y="13379"/>
                  <a:pt x="469731" y="11947"/>
                  <a:pt x="465249" y="11947"/>
                </a:cubicBezTo>
                <a:cubicBezTo>
                  <a:pt x="460767" y="11947"/>
                  <a:pt x="456907" y="13379"/>
                  <a:pt x="453733" y="16117"/>
                </a:cubicBezTo>
                <a:cubicBezTo>
                  <a:pt x="450558" y="18855"/>
                  <a:pt x="448068" y="23336"/>
                  <a:pt x="446388" y="29745"/>
                </a:cubicBezTo>
                <a:cubicBezTo>
                  <a:pt x="444707" y="36030"/>
                  <a:pt x="443835" y="44493"/>
                  <a:pt x="443835" y="55134"/>
                </a:cubicBezTo>
                <a:cubicBezTo>
                  <a:pt x="443835" y="65775"/>
                  <a:pt x="444645" y="74300"/>
                  <a:pt x="446263" y="80648"/>
                </a:cubicBezTo>
                <a:cubicBezTo>
                  <a:pt x="447944" y="86933"/>
                  <a:pt x="450371" y="91475"/>
                  <a:pt x="453546" y="94275"/>
                </a:cubicBezTo>
                <a:cubicBezTo>
                  <a:pt x="456783" y="96952"/>
                  <a:pt x="460580" y="98258"/>
                  <a:pt x="465062" y="98258"/>
                </a:cubicBezTo>
                <a:close/>
                <a:moveTo>
                  <a:pt x="547355" y="110082"/>
                </a:moveTo>
                <a:cubicBezTo>
                  <a:pt x="540570" y="110082"/>
                  <a:pt x="534532" y="108153"/>
                  <a:pt x="529116" y="104233"/>
                </a:cubicBezTo>
                <a:cubicBezTo>
                  <a:pt x="523763" y="100374"/>
                  <a:pt x="519530" y="94400"/>
                  <a:pt x="516418" y="86311"/>
                </a:cubicBezTo>
                <a:cubicBezTo>
                  <a:pt x="513429" y="78159"/>
                  <a:pt x="511935" y="67705"/>
                  <a:pt x="511935" y="54947"/>
                </a:cubicBezTo>
                <a:cubicBezTo>
                  <a:pt x="511935" y="42128"/>
                  <a:pt x="513429" y="31674"/>
                  <a:pt x="516418" y="23584"/>
                </a:cubicBezTo>
                <a:cubicBezTo>
                  <a:pt x="519530" y="15557"/>
                  <a:pt x="523763" y="9645"/>
                  <a:pt x="529116" y="5849"/>
                </a:cubicBezTo>
                <a:cubicBezTo>
                  <a:pt x="534532" y="2053"/>
                  <a:pt x="540570" y="186"/>
                  <a:pt x="547355" y="186"/>
                </a:cubicBezTo>
                <a:cubicBezTo>
                  <a:pt x="554140" y="186"/>
                  <a:pt x="560178" y="2053"/>
                  <a:pt x="565408" y="5849"/>
                </a:cubicBezTo>
                <a:cubicBezTo>
                  <a:pt x="570699" y="9645"/>
                  <a:pt x="574869" y="15557"/>
                  <a:pt x="577858" y="23584"/>
                </a:cubicBezTo>
                <a:cubicBezTo>
                  <a:pt x="580845" y="31549"/>
                  <a:pt x="582339" y="41942"/>
                  <a:pt x="582339" y="54698"/>
                </a:cubicBezTo>
                <a:cubicBezTo>
                  <a:pt x="582339" y="67331"/>
                  <a:pt x="580845" y="77786"/>
                  <a:pt x="577858" y="86062"/>
                </a:cubicBezTo>
                <a:cubicBezTo>
                  <a:pt x="574869" y="94213"/>
                  <a:pt x="570699" y="100250"/>
                  <a:pt x="565408" y="104233"/>
                </a:cubicBezTo>
                <a:cubicBezTo>
                  <a:pt x="560178" y="108153"/>
                  <a:pt x="554140" y="110082"/>
                  <a:pt x="547355" y="110082"/>
                </a:cubicBezTo>
                <a:close/>
                <a:moveTo>
                  <a:pt x="547231" y="98258"/>
                </a:moveTo>
                <a:cubicBezTo>
                  <a:pt x="551712" y="98258"/>
                  <a:pt x="555447" y="96952"/>
                  <a:pt x="558560" y="94275"/>
                </a:cubicBezTo>
                <a:cubicBezTo>
                  <a:pt x="561734" y="91475"/>
                  <a:pt x="564162" y="86933"/>
                  <a:pt x="565719" y="80648"/>
                </a:cubicBezTo>
                <a:cubicBezTo>
                  <a:pt x="567399" y="74300"/>
                  <a:pt x="568271" y="65775"/>
                  <a:pt x="568271" y="55134"/>
                </a:cubicBezTo>
                <a:cubicBezTo>
                  <a:pt x="568271" y="44493"/>
                  <a:pt x="567462" y="36030"/>
                  <a:pt x="565905" y="29745"/>
                </a:cubicBezTo>
                <a:cubicBezTo>
                  <a:pt x="564287" y="23336"/>
                  <a:pt x="561921" y="18855"/>
                  <a:pt x="558684" y="16117"/>
                </a:cubicBezTo>
                <a:cubicBezTo>
                  <a:pt x="555634" y="13379"/>
                  <a:pt x="551837" y="11947"/>
                  <a:pt x="547355" y="11947"/>
                </a:cubicBezTo>
                <a:cubicBezTo>
                  <a:pt x="542874" y="11947"/>
                  <a:pt x="539013" y="13379"/>
                  <a:pt x="535839" y="16117"/>
                </a:cubicBezTo>
                <a:cubicBezTo>
                  <a:pt x="532665" y="18855"/>
                  <a:pt x="530237" y="23336"/>
                  <a:pt x="528556" y="29745"/>
                </a:cubicBezTo>
                <a:cubicBezTo>
                  <a:pt x="526813" y="36030"/>
                  <a:pt x="526004" y="44493"/>
                  <a:pt x="526004" y="55134"/>
                </a:cubicBezTo>
                <a:cubicBezTo>
                  <a:pt x="526004" y="65775"/>
                  <a:pt x="526813" y="74300"/>
                  <a:pt x="528369" y="80648"/>
                </a:cubicBezTo>
                <a:cubicBezTo>
                  <a:pt x="530050" y="86933"/>
                  <a:pt x="532540" y="91475"/>
                  <a:pt x="535715" y="94275"/>
                </a:cubicBezTo>
                <a:cubicBezTo>
                  <a:pt x="538890" y="96952"/>
                  <a:pt x="542749" y="98258"/>
                  <a:pt x="547231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3" name="Полилиния 1082">
            <a:extLst>
              <a:ext uri="{FF2B5EF4-FFF2-40B4-BE49-F238E27FC236}">
                <a16:creationId xmlns:a16="http://schemas.microsoft.com/office/drawing/2014/main" id="{201FB11F-68EA-D77A-EA6D-5D71D6E29602}"/>
              </a:ext>
            </a:extLst>
          </p:cNvPr>
          <p:cNvSpPr/>
          <p:nvPr userDrawn="1"/>
        </p:nvSpPr>
        <p:spPr>
          <a:xfrm>
            <a:off x="21534071" y="4513847"/>
            <a:ext cx="1398954" cy="726227"/>
          </a:xfrm>
          <a:custGeom>
            <a:avLst/>
            <a:gdLst>
              <a:gd name="connsiteX0" fmla="*/ 1275 w 1198727"/>
              <a:gd name="connsiteY0" fmla="*/ 1122 h 622284"/>
              <a:gd name="connsiteX1" fmla="*/ 1200003 w 1198727"/>
              <a:gd name="connsiteY1" fmla="*/ 1122 h 622284"/>
              <a:gd name="connsiteX2" fmla="*/ 1200003 w 1198727"/>
              <a:gd name="connsiteY2" fmla="*/ 623406 h 622284"/>
              <a:gd name="connsiteX3" fmla="*/ 1275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122"/>
                </a:moveTo>
                <a:lnTo>
                  <a:pt x="1200003" y="1122"/>
                </a:lnTo>
                <a:lnTo>
                  <a:pt x="1200003" y="623406"/>
                </a:lnTo>
                <a:lnTo>
                  <a:pt x="1275" y="623406"/>
                </a:lnTo>
                <a:close/>
              </a:path>
            </a:pathLst>
          </a:custGeom>
          <a:solidFill>
            <a:srgbClr val="A582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4" name="Полилиния 1083">
            <a:extLst>
              <a:ext uri="{FF2B5EF4-FFF2-40B4-BE49-F238E27FC236}">
                <a16:creationId xmlns:a16="http://schemas.microsoft.com/office/drawing/2014/main" id="{4A1BC7CF-836B-7DEA-8CC6-23CB36B88BF4}"/>
              </a:ext>
            </a:extLst>
          </p:cNvPr>
          <p:cNvSpPr/>
          <p:nvPr userDrawn="1"/>
        </p:nvSpPr>
        <p:spPr>
          <a:xfrm>
            <a:off x="21657280" y="4815595"/>
            <a:ext cx="697479" cy="128468"/>
          </a:xfrm>
          <a:custGeom>
            <a:avLst/>
            <a:gdLst>
              <a:gd name="connsiteX0" fmla="*/ 22099 w 597652"/>
              <a:gd name="connsiteY0" fmla="*/ 108588 h 110081"/>
              <a:gd name="connsiteX1" fmla="*/ 10147 w 597652"/>
              <a:gd name="connsiteY1" fmla="*/ 108588 h 110081"/>
              <a:gd name="connsiteX2" fmla="*/ 16434 w 597652"/>
              <a:gd name="connsiteY2" fmla="*/ 77661 h 110081"/>
              <a:gd name="connsiteX3" fmla="*/ 0 w 597652"/>
              <a:gd name="connsiteY3" fmla="*/ 77661 h 110081"/>
              <a:gd name="connsiteX4" fmla="*/ 0 w 597652"/>
              <a:gd name="connsiteY4" fmla="*/ 67206 h 110081"/>
              <a:gd name="connsiteX5" fmla="*/ 18675 w 597652"/>
              <a:gd name="connsiteY5" fmla="*/ 67206 h 110081"/>
              <a:gd name="connsiteX6" fmla="*/ 24215 w 597652"/>
              <a:gd name="connsiteY6" fmla="*/ 40012 h 110081"/>
              <a:gd name="connsiteX7" fmla="*/ 4046 w 597652"/>
              <a:gd name="connsiteY7" fmla="*/ 40012 h 110081"/>
              <a:gd name="connsiteX8" fmla="*/ 4046 w 597652"/>
              <a:gd name="connsiteY8" fmla="*/ 29559 h 110081"/>
              <a:gd name="connsiteX9" fmla="*/ 26269 w 597652"/>
              <a:gd name="connsiteY9" fmla="*/ 29559 h 110081"/>
              <a:gd name="connsiteX10" fmla="*/ 32121 w 597652"/>
              <a:gd name="connsiteY10" fmla="*/ 1493 h 110081"/>
              <a:gd name="connsiteX11" fmla="*/ 44073 w 597652"/>
              <a:gd name="connsiteY11" fmla="*/ 1493 h 110081"/>
              <a:gd name="connsiteX12" fmla="*/ 38221 w 597652"/>
              <a:gd name="connsiteY12" fmla="*/ 29559 h 110081"/>
              <a:gd name="connsiteX13" fmla="*/ 60630 w 597652"/>
              <a:gd name="connsiteY13" fmla="*/ 29559 h 110081"/>
              <a:gd name="connsiteX14" fmla="*/ 66482 w 597652"/>
              <a:gd name="connsiteY14" fmla="*/ 1493 h 110081"/>
              <a:gd name="connsiteX15" fmla="*/ 78434 w 597652"/>
              <a:gd name="connsiteY15" fmla="*/ 1493 h 110081"/>
              <a:gd name="connsiteX16" fmla="*/ 72582 w 597652"/>
              <a:gd name="connsiteY16" fmla="*/ 29559 h 110081"/>
              <a:gd name="connsiteX17" fmla="*/ 89327 w 597652"/>
              <a:gd name="connsiteY17" fmla="*/ 29559 h 110081"/>
              <a:gd name="connsiteX18" fmla="*/ 89327 w 597652"/>
              <a:gd name="connsiteY18" fmla="*/ 40012 h 110081"/>
              <a:gd name="connsiteX19" fmla="*/ 70529 w 597652"/>
              <a:gd name="connsiteY19" fmla="*/ 40012 h 110081"/>
              <a:gd name="connsiteX20" fmla="*/ 64988 w 597652"/>
              <a:gd name="connsiteY20" fmla="*/ 67206 h 110081"/>
              <a:gd name="connsiteX21" fmla="*/ 85282 w 597652"/>
              <a:gd name="connsiteY21" fmla="*/ 67206 h 110081"/>
              <a:gd name="connsiteX22" fmla="*/ 85282 w 597652"/>
              <a:gd name="connsiteY22" fmla="*/ 77661 h 110081"/>
              <a:gd name="connsiteX23" fmla="*/ 62747 w 597652"/>
              <a:gd name="connsiteY23" fmla="*/ 77661 h 110081"/>
              <a:gd name="connsiteX24" fmla="*/ 56460 w 597652"/>
              <a:gd name="connsiteY24" fmla="*/ 108588 h 110081"/>
              <a:gd name="connsiteX25" fmla="*/ 44508 w 597652"/>
              <a:gd name="connsiteY25" fmla="*/ 108588 h 110081"/>
              <a:gd name="connsiteX26" fmla="*/ 50795 w 597652"/>
              <a:gd name="connsiteY26" fmla="*/ 77661 h 110081"/>
              <a:gd name="connsiteX27" fmla="*/ 28386 w 597652"/>
              <a:gd name="connsiteY27" fmla="*/ 77661 h 110081"/>
              <a:gd name="connsiteX28" fmla="*/ 22099 w 597652"/>
              <a:gd name="connsiteY28" fmla="*/ 108588 h 110081"/>
              <a:gd name="connsiteX29" fmla="*/ 30627 w 597652"/>
              <a:gd name="connsiteY29" fmla="*/ 67206 h 110081"/>
              <a:gd name="connsiteX30" fmla="*/ 53036 w 597652"/>
              <a:gd name="connsiteY30" fmla="*/ 67206 h 110081"/>
              <a:gd name="connsiteX31" fmla="*/ 58576 w 597652"/>
              <a:gd name="connsiteY31" fmla="*/ 40012 h 110081"/>
              <a:gd name="connsiteX32" fmla="*/ 36167 w 597652"/>
              <a:gd name="connsiteY32" fmla="*/ 40012 h 110081"/>
              <a:gd name="connsiteX33" fmla="*/ 30627 w 597652"/>
              <a:gd name="connsiteY33" fmla="*/ 67206 h 110081"/>
              <a:gd name="connsiteX34" fmla="*/ 189672 w 597652"/>
              <a:gd name="connsiteY34" fmla="*/ 108588 h 110081"/>
              <a:gd name="connsiteX35" fmla="*/ 174733 w 597652"/>
              <a:gd name="connsiteY35" fmla="*/ 108588 h 110081"/>
              <a:gd name="connsiteX36" fmla="*/ 163715 w 597652"/>
              <a:gd name="connsiteY36" fmla="*/ 77972 h 110081"/>
              <a:gd name="connsiteX37" fmla="*/ 116344 w 597652"/>
              <a:gd name="connsiteY37" fmla="*/ 77972 h 110081"/>
              <a:gd name="connsiteX38" fmla="*/ 105450 w 597652"/>
              <a:gd name="connsiteY38" fmla="*/ 108588 h 110081"/>
              <a:gd name="connsiteX39" fmla="*/ 92316 w 597652"/>
              <a:gd name="connsiteY39" fmla="*/ 108588 h 110081"/>
              <a:gd name="connsiteX40" fmla="*/ 130412 w 597652"/>
              <a:gd name="connsiteY40" fmla="*/ 1493 h 110081"/>
              <a:gd name="connsiteX41" fmla="*/ 151328 w 597652"/>
              <a:gd name="connsiteY41" fmla="*/ 1493 h 110081"/>
              <a:gd name="connsiteX42" fmla="*/ 189672 w 597652"/>
              <a:gd name="connsiteY42" fmla="*/ 108588 h 110081"/>
              <a:gd name="connsiteX43" fmla="*/ 120950 w 597652"/>
              <a:gd name="connsiteY43" fmla="*/ 65278 h 110081"/>
              <a:gd name="connsiteX44" fmla="*/ 159233 w 597652"/>
              <a:gd name="connsiteY44" fmla="*/ 65278 h 110081"/>
              <a:gd name="connsiteX45" fmla="*/ 140122 w 597652"/>
              <a:gd name="connsiteY45" fmla="*/ 11947 h 110081"/>
              <a:gd name="connsiteX46" fmla="*/ 120950 w 597652"/>
              <a:gd name="connsiteY46" fmla="*/ 65278 h 110081"/>
              <a:gd name="connsiteX47" fmla="*/ 229201 w 597652"/>
              <a:gd name="connsiteY47" fmla="*/ 110082 h 110081"/>
              <a:gd name="connsiteX48" fmla="*/ 200628 w 597652"/>
              <a:gd name="connsiteY48" fmla="*/ 102490 h 110081"/>
              <a:gd name="connsiteX49" fmla="*/ 200628 w 597652"/>
              <a:gd name="connsiteY49" fmla="*/ 87804 h 110081"/>
              <a:gd name="connsiteX50" fmla="*/ 213825 w 597652"/>
              <a:gd name="connsiteY50" fmla="*/ 95458 h 110081"/>
              <a:gd name="connsiteX51" fmla="*/ 229201 w 597652"/>
              <a:gd name="connsiteY51" fmla="*/ 97823 h 110081"/>
              <a:gd name="connsiteX52" fmla="*/ 246195 w 597652"/>
              <a:gd name="connsiteY52" fmla="*/ 91102 h 110081"/>
              <a:gd name="connsiteX53" fmla="*/ 252357 w 597652"/>
              <a:gd name="connsiteY53" fmla="*/ 73491 h 110081"/>
              <a:gd name="connsiteX54" fmla="*/ 246382 w 597652"/>
              <a:gd name="connsiteY54" fmla="*/ 56441 h 110081"/>
              <a:gd name="connsiteX55" fmla="*/ 231255 w 597652"/>
              <a:gd name="connsiteY55" fmla="*/ 51089 h 110081"/>
              <a:gd name="connsiteX56" fmla="*/ 220673 w 597652"/>
              <a:gd name="connsiteY56" fmla="*/ 53329 h 110081"/>
              <a:gd name="connsiteX57" fmla="*/ 214572 w 597652"/>
              <a:gd name="connsiteY57" fmla="*/ 57810 h 110081"/>
              <a:gd name="connsiteX58" fmla="*/ 203617 w 597652"/>
              <a:gd name="connsiteY58" fmla="*/ 57810 h 110081"/>
              <a:gd name="connsiteX59" fmla="*/ 203617 w 597652"/>
              <a:gd name="connsiteY59" fmla="*/ 1493 h 110081"/>
              <a:gd name="connsiteX60" fmla="*/ 261633 w 597652"/>
              <a:gd name="connsiteY60" fmla="*/ 1493 h 110081"/>
              <a:gd name="connsiteX61" fmla="*/ 261633 w 597652"/>
              <a:gd name="connsiteY61" fmla="*/ 14374 h 110081"/>
              <a:gd name="connsiteX62" fmla="*/ 215880 w 597652"/>
              <a:gd name="connsiteY62" fmla="*/ 14374 h 110081"/>
              <a:gd name="connsiteX63" fmla="*/ 215880 w 597652"/>
              <a:gd name="connsiteY63" fmla="*/ 44991 h 110081"/>
              <a:gd name="connsiteX64" fmla="*/ 223225 w 597652"/>
              <a:gd name="connsiteY64" fmla="*/ 41071 h 110081"/>
              <a:gd name="connsiteX65" fmla="*/ 233496 w 597652"/>
              <a:gd name="connsiteY65" fmla="*/ 39266 h 110081"/>
              <a:gd name="connsiteX66" fmla="*/ 250241 w 597652"/>
              <a:gd name="connsiteY66" fmla="*/ 43186 h 110081"/>
              <a:gd name="connsiteX67" fmla="*/ 262068 w 597652"/>
              <a:gd name="connsiteY67" fmla="*/ 54512 h 110081"/>
              <a:gd name="connsiteX68" fmla="*/ 266550 w 597652"/>
              <a:gd name="connsiteY68" fmla="*/ 73181 h 110081"/>
              <a:gd name="connsiteX69" fmla="*/ 261882 w 597652"/>
              <a:gd name="connsiteY69" fmla="*/ 92596 h 110081"/>
              <a:gd name="connsiteX70" fmla="*/ 249058 w 597652"/>
              <a:gd name="connsiteY70" fmla="*/ 105601 h 110081"/>
              <a:gd name="connsiteX71" fmla="*/ 229201 w 597652"/>
              <a:gd name="connsiteY71" fmla="*/ 110082 h 110081"/>
              <a:gd name="connsiteX72" fmla="*/ 316412 w 597652"/>
              <a:gd name="connsiteY72" fmla="*/ 110082 h 110081"/>
              <a:gd name="connsiteX73" fmla="*/ 297737 w 597652"/>
              <a:gd name="connsiteY73" fmla="*/ 106473 h 110081"/>
              <a:gd name="connsiteX74" fmla="*/ 285038 w 597652"/>
              <a:gd name="connsiteY74" fmla="*/ 96205 h 110081"/>
              <a:gd name="connsiteX75" fmla="*/ 280432 w 597652"/>
              <a:gd name="connsiteY75" fmla="*/ 79777 h 110081"/>
              <a:gd name="connsiteX76" fmla="*/ 285785 w 597652"/>
              <a:gd name="connsiteY76" fmla="*/ 62291 h 110081"/>
              <a:gd name="connsiteX77" fmla="*/ 300600 w 597652"/>
              <a:gd name="connsiteY77" fmla="*/ 51711 h 110081"/>
              <a:gd name="connsiteX78" fmla="*/ 288648 w 597652"/>
              <a:gd name="connsiteY78" fmla="*/ 42564 h 110081"/>
              <a:gd name="connsiteX79" fmla="*/ 284291 w 597652"/>
              <a:gd name="connsiteY79" fmla="*/ 27504 h 110081"/>
              <a:gd name="connsiteX80" fmla="*/ 288461 w 597652"/>
              <a:gd name="connsiteY80" fmla="*/ 12570 h 110081"/>
              <a:gd name="connsiteX81" fmla="*/ 299978 w 597652"/>
              <a:gd name="connsiteY81" fmla="*/ 3298 h 110081"/>
              <a:gd name="connsiteX82" fmla="*/ 316412 w 597652"/>
              <a:gd name="connsiteY82" fmla="*/ 186 h 110081"/>
              <a:gd name="connsiteX83" fmla="*/ 332534 w 597652"/>
              <a:gd name="connsiteY83" fmla="*/ 3298 h 110081"/>
              <a:gd name="connsiteX84" fmla="*/ 343925 w 597652"/>
              <a:gd name="connsiteY84" fmla="*/ 12259 h 110081"/>
              <a:gd name="connsiteX85" fmla="*/ 348221 w 597652"/>
              <a:gd name="connsiteY85" fmla="*/ 27194 h 110081"/>
              <a:gd name="connsiteX86" fmla="*/ 343739 w 597652"/>
              <a:gd name="connsiteY86" fmla="*/ 42439 h 110081"/>
              <a:gd name="connsiteX87" fmla="*/ 331974 w 597652"/>
              <a:gd name="connsiteY87" fmla="*/ 51711 h 110081"/>
              <a:gd name="connsiteX88" fmla="*/ 346291 w 597652"/>
              <a:gd name="connsiteY88" fmla="*/ 61855 h 110081"/>
              <a:gd name="connsiteX89" fmla="*/ 351831 w 597652"/>
              <a:gd name="connsiteY89" fmla="*/ 79341 h 110081"/>
              <a:gd name="connsiteX90" fmla="*/ 347163 w 597652"/>
              <a:gd name="connsiteY90" fmla="*/ 95893 h 110081"/>
              <a:gd name="connsiteX91" fmla="*/ 334463 w 597652"/>
              <a:gd name="connsiteY91" fmla="*/ 106473 h 110081"/>
              <a:gd name="connsiteX92" fmla="*/ 316412 w 597652"/>
              <a:gd name="connsiteY92" fmla="*/ 110082 h 110081"/>
              <a:gd name="connsiteX93" fmla="*/ 316412 w 597652"/>
              <a:gd name="connsiteY93" fmla="*/ 46298 h 110081"/>
              <a:gd name="connsiteX94" fmla="*/ 329422 w 597652"/>
              <a:gd name="connsiteY94" fmla="*/ 41817 h 110081"/>
              <a:gd name="connsiteX95" fmla="*/ 334650 w 597652"/>
              <a:gd name="connsiteY95" fmla="*/ 29122 h 110081"/>
              <a:gd name="connsiteX96" fmla="*/ 329422 w 597652"/>
              <a:gd name="connsiteY96" fmla="*/ 16615 h 110081"/>
              <a:gd name="connsiteX97" fmla="*/ 316412 w 597652"/>
              <a:gd name="connsiteY97" fmla="*/ 11947 h 110081"/>
              <a:gd name="connsiteX98" fmla="*/ 303091 w 597652"/>
              <a:gd name="connsiteY98" fmla="*/ 16615 h 110081"/>
              <a:gd name="connsiteX99" fmla="*/ 297861 w 597652"/>
              <a:gd name="connsiteY99" fmla="*/ 29122 h 110081"/>
              <a:gd name="connsiteX100" fmla="*/ 303091 w 597652"/>
              <a:gd name="connsiteY100" fmla="*/ 41817 h 110081"/>
              <a:gd name="connsiteX101" fmla="*/ 316412 w 597652"/>
              <a:gd name="connsiteY101" fmla="*/ 46298 h 110081"/>
              <a:gd name="connsiteX102" fmla="*/ 316412 w 597652"/>
              <a:gd name="connsiteY102" fmla="*/ 98258 h 110081"/>
              <a:gd name="connsiteX103" fmla="*/ 331787 w 597652"/>
              <a:gd name="connsiteY103" fmla="*/ 92907 h 110081"/>
              <a:gd name="connsiteX104" fmla="*/ 338074 w 597652"/>
              <a:gd name="connsiteY104" fmla="*/ 77536 h 110081"/>
              <a:gd name="connsiteX105" fmla="*/ 331787 w 597652"/>
              <a:gd name="connsiteY105" fmla="*/ 62291 h 110081"/>
              <a:gd name="connsiteX106" fmla="*/ 316412 w 597652"/>
              <a:gd name="connsiteY106" fmla="*/ 56752 h 110081"/>
              <a:gd name="connsiteX107" fmla="*/ 300413 w 597652"/>
              <a:gd name="connsiteY107" fmla="*/ 62291 h 110081"/>
              <a:gd name="connsiteX108" fmla="*/ 294126 w 597652"/>
              <a:gd name="connsiteY108" fmla="*/ 77536 h 110081"/>
              <a:gd name="connsiteX109" fmla="*/ 300413 w 597652"/>
              <a:gd name="connsiteY109" fmla="*/ 92907 h 110081"/>
              <a:gd name="connsiteX110" fmla="*/ 316412 w 597652"/>
              <a:gd name="connsiteY110" fmla="*/ 98258 h 110081"/>
              <a:gd name="connsiteX111" fmla="*/ 432630 w 597652"/>
              <a:gd name="connsiteY111" fmla="*/ 108588 h 110081"/>
              <a:gd name="connsiteX112" fmla="*/ 364343 w 597652"/>
              <a:gd name="connsiteY112" fmla="*/ 108588 h 110081"/>
              <a:gd name="connsiteX113" fmla="*/ 364343 w 597652"/>
              <a:gd name="connsiteY113" fmla="*/ 94400 h 110081"/>
              <a:gd name="connsiteX114" fmla="*/ 390488 w 597652"/>
              <a:gd name="connsiteY114" fmla="*/ 72433 h 110081"/>
              <a:gd name="connsiteX115" fmla="*/ 406486 w 597652"/>
              <a:gd name="connsiteY115" fmla="*/ 56628 h 110081"/>
              <a:gd name="connsiteX116" fmla="*/ 414516 w 597652"/>
              <a:gd name="connsiteY116" fmla="*/ 43933 h 110081"/>
              <a:gd name="connsiteX117" fmla="*/ 416943 w 597652"/>
              <a:gd name="connsiteY117" fmla="*/ 32109 h 110081"/>
              <a:gd name="connsiteX118" fmla="*/ 411403 w 597652"/>
              <a:gd name="connsiteY118" fmla="*/ 17610 h 110081"/>
              <a:gd name="connsiteX119" fmla="*/ 396152 w 597652"/>
              <a:gd name="connsiteY119" fmla="*/ 12383 h 110081"/>
              <a:gd name="connsiteX120" fmla="*/ 367206 w 597652"/>
              <a:gd name="connsiteY120" fmla="*/ 27194 h 110081"/>
              <a:gd name="connsiteX121" fmla="*/ 367206 w 597652"/>
              <a:gd name="connsiteY121" fmla="*/ 12134 h 110081"/>
              <a:gd name="connsiteX122" fmla="*/ 396589 w 597652"/>
              <a:gd name="connsiteY122" fmla="*/ 0 h 110081"/>
              <a:gd name="connsiteX123" fmla="*/ 421986 w 597652"/>
              <a:gd name="connsiteY123" fmla="*/ 8401 h 110081"/>
              <a:gd name="connsiteX124" fmla="*/ 431448 w 597652"/>
              <a:gd name="connsiteY124" fmla="*/ 30803 h 110081"/>
              <a:gd name="connsiteX125" fmla="*/ 429020 w 597652"/>
              <a:gd name="connsiteY125" fmla="*/ 44804 h 110081"/>
              <a:gd name="connsiteX126" fmla="*/ 420990 w 597652"/>
              <a:gd name="connsiteY126" fmla="*/ 58681 h 110081"/>
              <a:gd name="connsiteX127" fmla="*/ 405303 w 597652"/>
              <a:gd name="connsiteY127" fmla="*/ 74860 h 110081"/>
              <a:gd name="connsiteX128" fmla="*/ 379906 w 597652"/>
              <a:gd name="connsiteY128" fmla="*/ 95769 h 110081"/>
              <a:gd name="connsiteX129" fmla="*/ 432630 w 597652"/>
              <a:gd name="connsiteY129" fmla="*/ 95769 h 110081"/>
              <a:gd name="connsiteX130" fmla="*/ 432630 w 597652"/>
              <a:gd name="connsiteY130" fmla="*/ 108588 h 110081"/>
              <a:gd name="connsiteX131" fmla="*/ 480562 w 597652"/>
              <a:gd name="connsiteY131" fmla="*/ 110082 h 110081"/>
              <a:gd name="connsiteX132" fmla="*/ 462323 w 597652"/>
              <a:gd name="connsiteY132" fmla="*/ 104233 h 110081"/>
              <a:gd name="connsiteX133" fmla="*/ 449624 w 597652"/>
              <a:gd name="connsiteY133" fmla="*/ 86311 h 110081"/>
              <a:gd name="connsiteX134" fmla="*/ 445142 w 597652"/>
              <a:gd name="connsiteY134" fmla="*/ 54947 h 110081"/>
              <a:gd name="connsiteX135" fmla="*/ 449624 w 597652"/>
              <a:gd name="connsiteY135" fmla="*/ 23584 h 110081"/>
              <a:gd name="connsiteX136" fmla="*/ 462323 w 597652"/>
              <a:gd name="connsiteY136" fmla="*/ 5849 h 110081"/>
              <a:gd name="connsiteX137" fmla="*/ 480562 w 597652"/>
              <a:gd name="connsiteY137" fmla="*/ 186 h 110081"/>
              <a:gd name="connsiteX138" fmla="*/ 498614 w 597652"/>
              <a:gd name="connsiteY138" fmla="*/ 5849 h 110081"/>
              <a:gd name="connsiteX139" fmla="*/ 511001 w 597652"/>
              <a:gd name="connsiteY139" fmla="*/ 23584 h 110081"/>
              <a:gd name="connsiteX140" fmla="*/ 515484 w 597652"/>
              <a:gd name="connsiteY140" fmla="*/ 54698 h 110081"/>
              <a:gd name="connsiteX141" fmla="*/ 511001 w 597652"/>
              <a:gd name="connsiteY141" fmla="*/ 86062 h 110081"/>
              <a:gd name="connsiteX142" fmla="*/ 498614 w 597652"/>
              <a:gd name="connsiteY142" fmla="*/ 104233 h 110081"/>
              <a:gd name="connsiteX143" fmla="*/ 480562 w 597652"/>
              <a:gd name="connsiteY143" fmla="*/ 110082 h 110081"/>
              <a:gd name="connsiteX144" fmla="*/ 480375 w 597652"/>
              <a:gd name="connsiteY144" fmla="*/ 98258 h 110081"/>
              <a:gd name="connsiteX145" fmla="*/ 491767 w 597652"/>
              <a:gd name="connsiteY145" fmla="*/ 94275 h 110081"/>
              <a:gd name="connsiteX146" fmla="*/ 498925 w 597652"/>
              <a:gd name="connsiteY146" fmla="*/ 80648 h 110081"/>
              <a:gd name="connsiteX147" fmla="*/ 501478 w 597652"/>
              <a:gd name="connsiteY147" fmla="*/ 55134 h 110081"/>
              <a:gd name="connsiteX148" fmla="*/ 499050 w 597652"/>
              <a:gd name="connsiteY148" fmla="*/ 29745 h 110081"/>
              <a:gd name="connsiteX149" fmla="*/ 491891 w 597652"/>
              <a:gd name="connsiteY149" fmla="*/ 16117 h 110081"/>
              <a:gd name="connsiteX150" fmla="*/ 480562 w 597652"/>
              <a:gd name="connsiteY150" fmla="*/ 11947 h 110081"/>
              <a:gd name="connsiteX151" fmla="*/ 469046 w 597652"/>
              <a:gd name="connsiteY151" fmla="*/ 16117 h 110081"/>
              <a:gd name="connsiteX152" fmla="*/ 461701 w 597652"/>
              <a:gd name="connsiteY152" fmla="*/ 29745 h 110081"/>
              <a:gd name="connsiteX153" fmla="*/ 459148 w 597652"/>
              <a:gd name="connsiteY153" fmla="*/ 55134 h 110081"/>
              <a:gd name="connsiteX154" fmla="*/ 461576 w 597652"/>
              <a:gd name="connsiteY154" fmla="*/ 80648 h 110081"/>
              <a:gd name="connsiteX155" fmla="*/ 468860 w 597652"/>
              <a:gd name="connsiteY155" fmla="*/ 94275 h 110081"/>
              <a:gd name="connsiteX156" fmla="*/ 480375 w 597652"/>
              <a:gd name="connsiteY156" fmla="*/ 98258 h 110081"/>
              <a:gd name="connsiteX157" fmla="*/ 562668 w 597652"/>
              <a:gd name="connsiteY157" fmla="*/ 110082 h 110081"/>
              <a:gd name="connsiteX158" fmla="*/ 544430 w 597652"/>
              <a:gd name="connsiteY158" fmla="*/ 104233 h 110081"/>
              <a:gd name="connsiteX159" fmla="*/ 531731 w 597652"/>
              <a:gd name="connsiteY159" fmla="*/ 86311 h 110081"/>
              <a:gd name="connsiteX160" fmla="*/ 527249 w 597652"/>
              <a:gd name="connsiteY160" fmla="*/ 54947 h 110081"/>
              <a:gd name="connsiteX161" fmla="*/ 531731 w 597652"/>
              <a:gd name="connsiteY161" fmla="*/ 23584 h 110081"/>
              <a:gd name="connsiteX162" fmla="*/ 544430 w 597652"/>
              <a:gd name="connsiteY162" fmla="*/ 5849 h 110081"/>
              <a:gd name="connsiteX163" fmla="*/ 562668 w 597652"/>
              <a:gd name="connsiteY163" fmla="*/ 186 h 110081"/>
              <a:gd name="connsiteX164" fmla="*/ 580783 w 597652"/>
              <a:gd name="connsiteY164" fmla="*/ 5849 h 110081"/>
              <a:gd name="connsiteX165" fmla="*/ 593170 w 597652"/>
              <a:gd name="connsiteY165" fmla="*/ 23584 h 110081"/>
              <a:gd name="connsiteX166" fmla="*/ 597652 w 597652"/>
              <a:gd name="connsiteY166" fmla="*/ 54698 h 110081"/>
              <a:gd name="connsiteX167" fmla="*/ 593170 w 597652"/>
              <a:gd name="connsiteY167" fmla="*/ 86062 h 110081"/>
              <a:gd name="connsiteX168" fmla="*/ 580783 w 597652"/>
              <a:gd name="connsiteY168" fmla="*/ 104233 h 110081"/>
              <a:gd name="connsiteX169" fmla="*/ 562668 w 597652"/>
              <a:gd name="connsiteY169" fmla="*/ 110082 h 110081"/>
              <a:gd name="connsiteX170" fmla="*/ 562544 w 597652"/>
              <a:gd name="connsiteY170" fmla="*/ 98258 h 110081"/>
              <a:gd name="connsiteX171" fmla="*/ 573873 w 597652"/>
              <a:gd name="connsiteY171" fmla="*/ 94275 h 110081"/>
              <a:gd name="connsiteX172" fmla="*/ 581031 w 597652"/>
              <a:gd name="connsiteY172" fmla="*/ 80648 h 110081"/>
              <a:gd name="connsiteX173" fmla="*/ 583584 w 597652"/>
              <a:gd name="connsiteY173" fmla="*/ 55134 h 110081"/>
              <a:gd name="connsiteX174" fmla="*/ 581218 w 597652"/>
              <a:gd name="connsiteY174" fmla="*/ 29745 h 110081"/>
              <a:gd name="connsiteX175" fmla="*/ 574060 w 597652"/>
              <a:gd name="connsiteY175" fmla="*/ 16117 h 110081"/>
              <a:gd name="connsiteX176" fmla="*/ 562668 w 597652"/>
              <a:gd name="connsiteY176" fmla="*/ 11947 h 110081"/>
              <a:gd name="connsiteX177" fmla="*/ 551152 w 597652"/>
              <a:gd name="connsiteY177" fmla="*/ 16117 h 110081"/>
              <a:gd name="connsiteX178" fmla="*/ 543869 w 597652"/>
              <a:gd name="connsiteY178" fmla="*/ 29745 h 110081"/>
              <a:gd name="connsiteX179" fmla="*/ 541317 w 597652"/>
              <a:gd name="connsiteY179" fmla="*/ 55134 h 110081"/>
              <a:gd name="connsiteX180" fmla="*/ 543682 w 597652"/>
              <a:gd name="connsiteY180" fmla="*/ 80648 h 110081"/>
              <a:gd name="connsiteX181" fmla="*/ 551028 w 597652"/>
              <a:gd name="connsiteY181" fmla="*/ 94275 h 110081"/>
              <a:gd name="connsiteX182" fmla="*/ 562544 w 597652"/>
              <a:gd name="connsiteY182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65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89672" y="108588"/>
                </a:moveTo>
                <a:lnTo>
                  <a:pt x="174733" y="108588"/>
                </a:lnTo>
                <a:lnTo>
                  <a:pt x="163715" y="77972"/>
                </a:lnTo>
                <a:lnTo>
                  <a:pt x="116344" y="77972"/>
                </a:lnTo>
                <a:lnTo>
                  <a:pt x="105450" y="108588"/>
                </a:lnTo>
                <a:lnTo>
                  <a:pt x="92316" y="108588"/>
                </a:lnTo>
                <a:lnTo>
                  <a:pt x="130412" y="1493"/>
                </a:lnTo>
                <a:lnTo>
                  <a:pt x="151328" y="1493"/>
                </a:lnTo>
                <a:lnTo>
                  <a:pt x="189672" y="108588"/>
                </a:lnTo>
                <a:close/>
                <a:moveTo>
                  <a:pt x="120950" y="65278"/>
                </a:moveTo>
                <a:lnTo>
                  <a:pt x="159233" y="65278"/>
                </a:lnTo>
                <a:lnTo>
                  <a:pt x="140122" y="11947"/>
                </a:lnTo>
                <a:lnTo>
                  <a:pt x="120950" y="65278"/>
                </a:lnTo>
                <a:close/>
                <a:moveTo>
                  <a:pt x="229201" y="110082"/>
                </a:moveTo>
                <a:cubicBezTo>
                  <a:pt x="217249" y="110082"/>
                  <a:pt x="207725" y="107530"/>
                  <a:pt x="200628" y="102490"/>
                </a:cubicBezTo>
                <a:lnTo>
                  <a:pt x="200628" y="87804"/>
                </a:lnTo>
                <a:cubicBezTo>
                  <a:pt x="204862" y="91226"/>
                  <a:pt x="209219" y="93778"/>
                  <a:pt x="213825" y="95458"/>
                </a:cubicBezTo>
                <a:cubicBezTo>
                  <a:pt x="218370" y="97014"/>
                  <a:pt x="223536" y="97823"/>
                  <a:pt x="229201" y="97823"/>
                </a:cubicBezTo>
                <a:cubicBezTo>
                  <a:pt x="236546" y="97823"/>
                  <a:pt x="242211" y="95583"/>
                  <a:pt x="246195" y="91102"/>
                </a:cubicBezTo>
                <a:cubicBezTo>
                  <a:pt x="250304" y="86621"/>
                  <a:pt x="252357" y="80772"/>
                  <a:pt x="252357" y="73491"/>
                </a:cubicBezTo>
                <a:cubicBezTo>
                  <a:pt x="252357" y="65713"/>
                  <a:pt x="250365" y="60050"/>
                  <a:pt x="246382" y="56441"/>
                </a:cubicBezTo>
                <a:cubicBezTo>
                  <a:pt x="242398" y="52894"/>
                  <a:pt x="237355" y="51089"/>
                  <a:pt x="231255" y="51089"/>
                </a:cubicBezTo>
                <a:cubicBezTo>
                  <a:pt x="226898" y="51089"/>
                  <a:pt x="223349" y="51836"/>
                  <a:pt x="220673" y="53329"/>
                </a:cubicBezTo>
                <a:cubicBezTo>
                  <a:pt x="217996" y="54698"/>
                  <a:pt x="215942" y="56192"/>
                  <a:pt x="214572" y="57810"/>
                </a:cubicBezTo>
                <a:lnTo>
                  <a:pt x="203617" y="57810"/>
                </a:lnTo>
                <a:lnTo>
                  <a:pt x="203617" y="1493"/>
                </a:lnTo>
                <a:lnTo>
                  <a:pt x="261633" y="1493"/>
                </a:lnTo>
                <a:lnTo>
                  <a:pt x="261633" y="14374"/>
                </a:lnTo>
                <a:lnTo>
                  <a:pt x="215880" y="14374"/>
                </a:lnTo>
                <a:lnTo>
                  <a:pt x="215880" y="44991"/>
                </a:lnTo>
                <a:cubicBezTo>
                  <a:pt x="217871" y="43498"/>
                  <a:pt x="220299" y="42190"/>
                  <a:pt x="223225" y="41071"/>
                </a:cubicBezTo>
                <a:cubicBezTo>
                  <a:pt x="226089" y="39888"/>
                  <a:pt x="229512" y="39266"/>
                  <a:pt x="233496" y="39266"/>
                </a:cubicBezTo>
                <a:cubicBezTo>
                  <a:pt x="239721" y="39266"/>
                  <a:pt x="245261" y="40572"/>
                  <a:pt x="250241" y="43186"/>
                </a:cubicBezTo>
                <a:cubicBezTo>
                  <a:pt x="255221" y="45675"/>
                  <a:pt x="259142" y="49471"/>
                  <a:pt x="262068" y="54512"/>
                </a:cubicBezTo>
                <a:cubicBezTo>
                  <a:pt x="265057" y="59490"/>
                  <a:pt x="266550" y="65713"/>
                  <a:pt x="266550" y="73181"/>
                </a:cubicBezTo>
                <a:cubicBezTo>
                  <a:pt x="266550" y="80586"/>
                  <a:pt x="264994" y="87058"/>
                  <a:pt x="261882" y="92596"/>
                </a:cubicBezTo>
                <a:cubicBezTo>
                  <a:pt x="258893" y="98196"/>
                  <a:pt x="254661" y="102490"/>
                  <a:pt x="249058" y="105601"/>
                </a:cubicBezTo>
                <a:cubicBezTo>
                  <a:pt x="243456" y="108588"/>
                  <a:pt x="236858" y="110082"/>
                  <a:pt x="229201" y="110082"/>
                </a:cubicBezTo>
                <a:close/>
                <a:moveTo>
                  <a:pt x="316412" y="110082"/>
                </a:moveTo>
                <a:cubicBezTo>
                  <a:pt x="309440" y="110082"/>
                  <a:pt x="303215" y="108900"/>
                  <a:pt x="297737" y="106473"/>
                </a:cubicBezTo>
                <a:cubicBezTo>
                  <a:pt x="292383" y="104108"/>
                  <a:pt x="288151" y="100685"/>
                  <a:pt x="285038" y="96205"/>
                </a:cubicBezTo>
                <a:cubicBezTo>
                  <a:pt x="281926" y="91600"/>
                  <a:pt x="280432" y="86124"/>
                  <a:pt x="280432" y="79777"/>
                </a:cubicBezTo>
                <a:cubicBezTo>
                  <a:pt x="280432" y="72869"/>
                  <a:pt x="282175" y="67082"/>
                  <a:pt x="285785" y="62291"/>
                </a:cubicBezTo>
                <a:cubicBezTo>
                  <a:pt x="289458" y="57437"/>
                  <a:pt x="294376" y="53889"/>
                  <a:pt x="300600" y="51711"/>
                </a:cubicBezTo>
                <a:cubicBezTo>
                  <a:pt x="295620" y="49720"/>
                  <a:pt x="291636" y="46671"/>
                  <a:pt x="288648" y="42564"/>
                </a:cubicBezTo>
                <a:cubicBezTo>
                  <a:pt x="285723" y="38519"/>
                  <a:pt x="284291" y="33479"/>
                  <a:pt x="284291" y="27504"/>
                </a:cubicBezTo>
                <a:cubicBezTo>
                  <a:pt x="284291" y="21593"/>
                  <a:pt x="285661" y="16615"/>
                  <a:pt x="288461" y="12570"/>
                </a:cubicBezTo>
                <a:cubicBezTo>
                  <a:pt x="291263" y="8463"/>
                  <a:pt x="295122" y="5414"/>
                  <a:pt x="299978" y="3298"/>
                </a:cubicBezTo>
                <a:cubicBezTo>
                  <a:pt x="304833" y="1182"/>
                  <a:pt x="310311" y="186"/>
                  <a:pt x="316412" y="186"/>
                </a:cubicBezTo>
                <a:cubicBezTo>
                  <a:pt x="322388" y="186"/>
                  <a:pt x="327741" y="1182"/>
                  <a:pt x="332534" y="3298"/>
                </a:cubicBezTo>
                <a:cubicBezTo>
                  <a:pt x="337327" y="5289"/>
                  <a:pt x="341125" y="8276"/>
                  <a:pt x="343925" y="12259"/>
                </a:cubicBezTo>
                <a:cubicBezTo>
                  <a:pt x="346789" y="16242"/>
                  <a:pt x="348221" y="21219"/>
                  <a:pt x="348221" y="27194"/>
                </a:cubicBezTo>
                <a:cubicBezTo>
                  <a:pt x="348221" y="33292"/>
                  <a:pt x="346727" y="38332"/>
                  <a:pt x="343739" y="42439"/>
                </a:cubicBezTo>
                <a:cubicBezTo>
                  <a:pt x="340751" y="46484"/>
                  <a:pt x="336829" y="49596"/>
                  <a:pt x="331974" y="51711"/>
                </a:cubicBezTo>
                <a:cubicBezTo>
                  <a:pt x="337950" y="53765"/>
                  <a:pt x="342681" y="57188"/>
                  <a:pt x="346291" y="61855"/>
                </a:cubicBezTo>
                <a:cubicBezTo>
                  <a:pt x="349963" y="66522"/>
                  <a:pt x="351831" y="72372"/>
                  <a:pt x="351831" y="79341"/>
                </a:cubicBezTo>
                <a:cubicBezTo>
                  <a:pt x="351831" y="85688"/>
                  <a:pt x="350275" y="91226"/>
                  <a:pt x="347163" y="95893"/>
                </a:cubicBezTo>
                <a:cubicBezTo>
                  <a:pt x="344112" y="100498"/>
                  <a:pt x="339879" y="103983"/>
                  <a:pt x="334463" y="106473"/>
                </a:cubicBezTo>
                <a:cubicBezTo>
                  <a:pt x="329235" y="108900"/>
                  <a:pt x="323197" y="110082"/>
                  <a:pt x="316412" y="110082"/>
                </a:cubicBezTo>
                <a:close/>
                <a:moveTo>
                  <a:pt x="316412" y="46298"/>
                </a:moveTo>
                <a:cubicBezTo>
                  <a:pt x="321703" y="46298"/>
                  <a:pt x="325998" y="44804"/>
                  <a:pt x="329422" y="41817"/>
                </a:cubicBezTo>
                <a:cubicBezTo>
                  <a:pt x="332907" y="38768"/>
                  <a:pt x="334650" y="34536"/>
                  <a:pt x="334650" y="29122"/>
                </a:cubicBezTo>
                <a:cubicBezTo>
                  <a:pt x="334650" y="23771"/>
                  <a:pt x="332907" y="19601"/>
                  <a:pt x="329422" y="16615"/>
                </a:cubicBezTo>
                <a:cubicBezTo>
                  <a:pt x="325998" y="13503"/>
                  <a:pt x="321703" y="11947"/>
                  <a:pt x="316412" y="11947"/>
                </a:cubicBezTo>
                <a:cubicBezTo>
                  <a:pt x="311120" y="11947"/>
                  <a:pt x="306701" y="13503"/>
                  <a:pt x="303091" y="16615"/>
                </a:cubicBezTo>
                <a:cubicBezTo>
                  <a:pt x="299604" y="19601"/>
                  <a:pt x="297861" y="23771"/>
                  <a:pt x="297861" y="29122"/>
                </a:cubicBezTo>
                <a:cubicBezTo>
                  <a:pt x="297861" y="34536"/>
                  <a:pt x="299604" y="38768"/>
                  <a:pt x="303091" y="41817"/>
                </a:cubicBezTo>
                <a:cubicBezTo>
                  <a:pt x="306701" y="44804"/>
                  <a:pt x="311120" y="46298"/>
                  <a:pt x="316412" y="46298"/>
                </a:cubicBezTo>
                <a:close/>
                <a:moveTo>
                  <a:pt x="316412" y="98258"/>
                </a:moveTo>
                <a:cubicBezTo>
                  <a:pt x="322574" y="98258"/>
                  <a:pt x="327741" y="96516"/>
                  <a:pt x="331787" y="92907"/>
                </a:cubicBezTo>
                <a:cubicBezTo>
                  <a:pt x="335957" y="89235"/>
                  <a:pt x="338074" y="84071"/>
                  <a:pt x="338074" y="77536"/>
                </a:cubicBezTo>
                <a:cubicBezTo>
                  <a:pt x="338074" y="70940"/>
                  <a:pt x="335957" y="65900"/>
                  <a:pt x="331787" y="62291"/>
                </a:cubicBezTo>
                <a:cubicBezTo>
                  <a:pt x="327741" y="58619"/>
                  <a:pt x="322574" y="56752"/>
                  <a:pt x="316412" y="56752"/>
                </a:cubicBezTo>
                <a:cubicBezTo>
                  <a:pt x="310062" y="56752"/>
                  <a:pt x="304709" y="58619"/>
                  <a:pt x="300413" y="62291"/>
                </a:cubicBezTo>
                <a:cubicBezTo>
                  <a:pt x="296243" y="65900"/>
                  <a:pt x="294126" y="70940"/>
                  <a:pt x="294126" y="77536"/>
                </a:cubicBezTo>
                <a:cubicBezTo>
                  <a:pt x="294126" y="84071"/>
                  <a:pt x="296243" y="89235"/>
                  <a:pt x="300413" y="92907"/>
                </a:cubicBezTo>
                <a:cubicBezTo>
                  <a:pt x="304709" y="96516"/>
                  <a:pt x="310062" y="98258"/>
                  <a:pt x="316412" y="98258"/>
                </a:cubicBezTo>
                <a:close/>
                <a:moveTo>
                  <a:pt x="432630" y="108588"/>
                </a:moveTo>
                <a:lnTo>
                  <a:pt x="364343" y="108588"/>
                </a:lnTo>
                <a:lnTo>
                  <a:pt x="364343" y="94400"/>
                </a:lnTo>
                <a:cubicBezTo>
                  <a:pt x="374988" y="85812"/>
                  <a:pt x="383703" y="78532"/>
                  <a:pt x="390488" y="72433"/>
                </a:cubicBezTo>
                <a:cubicBezTo>
                  <a:pt x="397336" y="66397"/>
                  <a:pt x="402689" y="61108"/>
                  <a:pt x="406486" y="56628"/>
                </a:cubicBezTo>
                <a:cubicBezTo>
                  <a:pt x="410345" y="52023"/>
                  <a:pt x="413022" y="47791"/>
                  <a:pt x="414516" y="43933"/>
                </a:cubicBezTo>
                <a:cubicBezTo>
                  <a:pt x="416134" y="40012"/>
                  <a:pt x="416943" y="36092"/>
                  <a:pt x="416943" y="32109"/>
                </a:cubicBezTo>
                <a:cubicBezTo>
                  <a:pt x="416943" y="25949"/>
                  <a:pt x="415076" y="21095"/>
                  <a:pt x="411403" y="17610"/>
                </a:cubicBezTo>
                <a:cubicBezTo>
                  <a:pt x="407731" y="14125"/>
                  <a:pt x="402627" y="12383"/>
                  <a:pt x="396152" y="12383"/>
                </a:cubicBezTo>
                <a:cubicBezTo>
                  <a:pt x="385819" y="12383"/>
                  <a:pt x="376171" y="17361"/>
                  <a:pt x="367206" y="27194"/>
                </a:cubicBezTo>
                <a:lnTo>
                  <a:pt x="367206" y="12134"/>
                </a:lnTo>
                <a:cubicBezTo>
                  <a:pt x="375424" y="4044"/>
                  <a:pt x="385259" y="0"/>
                  <a:pt x="396589" y="0"/>
                </a:cubicBezTo>
                <a:cubicBezTo>
                  <a:pt x="407358" y="0"/>
                  <a:pt x="415823" y="2800"/>
                  <a:pt x="421986" y="8401"/>
                </a:cubicBezTo>
                <a:cubicBezTo>
                  <a:pt x="428273" y="13877"/>
                  <a:pt x="431448" y="21344"/>
                  <a:pt x="431448" y="30803"/>
                </a:cubicBezTo>
                <a:cubicBezTo>
                  <a:pt x="431448" y="35657"/>
                  <a:pt x="430639" y="40324"/>
                  <a:pt x="429020" y="44804"/>
                </a:cubicBezTo>
                <a:cubicBezTo>
                  <a:pt x="427526" y="49222"/>
                  <a:pt x="424849" y="53827"/>
                  <a:pt x="420990" y="58681"/>
                </a:cubicBezTo>
                <a:cubicBezTo>
                  <a:pt x="417193" y="63473"/>
                  <a:pt x="411964" y="68887"/>
                  <a:pt x="405303" y="74860"/>
                </a:cubicBezTo>
                <a:cubicBezTo>
                  <a:pt x="398580" y="80835"/>
                  <a:pt x="390114" y="87804"/>
                  <a:pt x="379906" y="95769"/>
                </a:cubicBezTo>
                <a:lnTo>
                  <a:pt x="432630" y="95769"/>
                </a:lnTo>
                <a:lnTo>
                  <a:pt x="432630" y="108588"/>
                </a:lnTo>
                <a:close/>
                <a:moveTo>
                  <a:pt x="480562" y="110082"/>
                </a:moveTo>
                <a:cubicBezTo>
                  <a:pt x="473777" y="110082"/>
                  <a:pt x="467676" y="108153"/>
                  <a:pt x="462323" y="104233"/>
                </a:cubicBezTo>
                <a:cubicBezTo>
                  <a:pt x="456907" y="100374"/>
                  <a:pt x="452674" y="94400"/>
                  <a:pt x="449624" y="86311"/>
                </a:cubicBezTo>
                <a:cubicBezTo>
                  <a:pt x="446636" y="78159"/>
                  <a:pt x="445142" y="67705"/>
                  <a:pt x="445142" y="54947"/>
                </a:cubicBezTo>
                <a:cubicBezTo>
                  <a:pt x="445142" y="42128"/>
                  <a:pt x="446636" y="31674"/>
                  <a:pt x="449624" y="23584"/>
                </a:cubicBezTo>
                <a:cubicBezTo>
                  <a:pt x="452674" y="15557"/>
                  <a:pt x="456907" y="9645"/>
                  <a:pt x="462323" y="5849"/>
                </a:cubicBezTo>
                <a:cubicBezTo>
                  <a:pt x="467676" y="2053"/>
                  <a:pt x="473777" y="186"/>
                  <a:pt x="480562" y="186"/>
                </a:cubicBezTo>
                <a:cubicBezTo>
                  <a:pt x="487285" y="186"/>
                  <a:pt x="493323" y="2053"/>
                  <a:pt x="498614" y="5849"/>
                </a:cubicBezTo>
                <a:cubicBezTo>
                  <a:pt x="503906" y="9645"/>
                  <a:pt x="508014" y="15557"/>
                  <a:pt x="511001" y="23584"/>
                </a:cubicBezTo>
                <a:cubicBezTo>
                  <a:pt x="513990" y="31549"/>
                  <a:pt x="515484" y="41942"/>
                  <a:pt x="515484" y="54698"/>
                </a:cubicBezTo>
                <a:cubicBezTo>
                  <a:pt x="515484" y="67331"/>
                  <a:pt x="513990" y="77786"/>
                  <a:pt x="511001" y="86062"/>
                </a:cubicBezTo>
                <a:cubicBezTo>
                  <a:pt x="508014" y="94213"/>
                  <a:pt x="503906" y="100250"/>
                  <a:pt x="498614" y="104233"/>
                </a:cubicBezTo>
                <a:cubicBezTo>
                  <a:pt x="493323" y="108153"/>
                  <a:pt x="487285" y="110082"/>
                  <a:pt x="480562" y="110082"/>
                </a:cubicBezTo>
                <a:close/>
                <a:moveTo>
                  <a:pt x="480375" y="98258"/>
                </a:moveTo>
                <a:cubicBezTo>
                  <a:pt x="484857" y="98258"/>
                  <a:pt x="488654" y="96952"/>
                  <a:pt x="491767" y="94275"/>
                </a:cubicBezTo>
                <a:cubicBezTo>
                  <a:pt x="494941" y="91475"/>
                  <a:pt x="497307" y="86933"/>
                  <a:pt x="498925" y="80648"/>
                </a:cubicBezTo>
                <a:cubicBezTo>
                  <a:pt x="500606" y="74300"/>
                  <a:pt x="501478" y="65775"/>
                  <a:pt x="501478" y="55134"/>
                </a:cubicBezTo>
                <a:cubicBezTo>
                  <a:pt x="501478" y="44493"/>
                  <a:pt x="500669" y="36030"/>
                  <a:pt x="499050" y="29745"/>
                </a:cubicBezTo>
                <a:cubicBezTo>
                  <a:pt x="497494" y="23336"/>
                  <a:pt x="495066" y="18855"/>
                  <a:pt x="491891" y="16117"/>
                </a:cubicBezTo>
                <a:cubicBezTo>
                  <a:pt x="488779" y="13379"/>
                  <a:pt x="485044" y="11947"/>
                  <a:pt x="480562" y="11947"/>
                </a:cubicBezTo>
                <a:cubicBezTo>
                  <a:pt x="476080" y="11947"/>
                  <a:pt x="472220" y="13379"/>
                  <a:pt x="469046" y="16117"/>
                </a:cubicBezTo>
                <a:cubicBezTo>
                  <a:pt x="465871" y="18855"/>
                  <a:pt x="463382" y="23336"/>
                  <a:pt x="461701" y="29745"/>
                </a:cubicBezTo>
                <a:cubicBezTo>
                  <a:pt x="460020" y="36030"/>
                  <a:pt x="459148" y="44493"/>
                  <a:pt x="459148" y="55134"/>
                </a:cubicBezTo>
                <a:cubicBezTo>
                  <a:pt x="459148" y="65775"/>
                  <a:pt x="459958" y="74300"/>
                  <a:pt x="461576" y="80648"/>
                </a:cubicBezTo>
                <a:cubicBezTo>
                  <a:pt x="463257" y="86933"/>
                  <a:pt x="465685" y="91475"/>
                  <a:pt x="468860" y="94275"/>
                </a:cubicBezTo>
                <a:cubicBezTo>
                  <a:pt x="472096" y="96952"/>
                  <a:pt x="475894" y="98258"/>
                  <a:pt x="480375" y="98258"/>
                </a:cubicBezTo>
                <a:close/>
                <a:moveTo>
                  <a:pt x="562668" y="110082"/>
                </a:moveTo>
                <a:cubicBezTo>
                  <a:pt x="555883" y="110082"/>
                  <a:pt x="549845" y="108153"/>
                  <a:pt x="544430" y="104233"/>
                </a:cubicBezTo>
                <a:cubicBezTo>
                  <a:pt x="539076" y="100374"/>
                  <a:pt x="534843" y="94400"/>
                  <a:pt x="531731" y="86311"/>
                </a:cubicBezTo>
                <a:cubicBezTo>
                  <a:pt x="528743" y="78159"/>
                  <a:pt x="527249" y="67705"/>
                  <a:pt x="527249" y="54947"/>
                </a:cubicBezTo>
                <a:cubicBezTo>
                  <a:pt x="527249" y="42128"/>
                  <a:pt x="528743" y="31674"/>
                  <a:pt x="531731" y="23584"/>
                </a:cubicBezTo>
                <a:cubicBezTo>
                  <a:pt x="534843" y="15557"/>
                  <a:pt x="539076" y="9645"/>
                  <a:pt x="544430" y="5849"/>
                </a:cubicBezTo>
                <a:cubicBezTo>
                  <a:pt x="549845" y="2053"/>
                  <a:pt x="555883" y="186"/>
                  <a:pt x="562668" y="186"/>
                </a:cubicBezTo>
                <a:cubicBezTo>
                  <a:pt x="569453" y="186"/>
                  <a:pt x="575492" y="2053"/>
                  <a:pt x="580783" y="5849"/>
                </a:cubicBezTo>
                <a:cubicBezTo>
                  <a:pt x="586012" y="9645"/>
                  <a:pt x="590183" y="15557"/>
                  <a:pt x="593170" y="23584"/>
                </a:cubicBezTo>
                <a:cubicBezTo>
                  <a:pt x="596158" y="31549"/>
                  <a:pt x="597652" y="41942"/>
                  <a:pt x="597652" y="54698"/>
                </a:cubicBezTo>
                <a:cubicBezTo>
                  <a:pt x="597652" y="67331"/>
                  <a:pt x="596158" y="77786"/>
                  <a:pt x="593170" y="86062"/>
                </a:cubicBezTo>
                <a:cubicBezTo>
                  <a:pt x="590183" y="94213"/>
                  <a:pt x="586012" y="100250"/>
                  <a:pt x="580783" y="104233"/>
                </a:cubicBezTo>
                <a:cubicBezTo>
                  <a:pt x="575492" y="108153"/>
                  <a:pt x="569453" y="110082"/>
                  <a:pt x="562668" y="110082"/>
                </a:cubicBezTo>
                <a:close/>
                <a:moveTo>
                  <a:pt x="562544" y="98258"/>
                </a:moveTo>
                <a:cubicBezTo>
                  <a:pt x="567025" y="98258"/>
                  <a:pt x="570823" y="96952"/>
                  <a:pt x="573873" y="94275"/>
                </a:cubicBezTo>
                <a:cubicBezTo>
                  <a:pt x="577048" y="91475"/>
                  <a:pt x="579475" y="86933"/>
                  <a:pt x="581031" y="80648"/>
                </a:cubicBezTo>
                <a:cubicBezTo>
                  <a:pt x="582775" y="74300"/>
                  <a:pt x="583584" y="65775"/>
                  <a:pt x="583584" y="55134"/>
                </a:cubicBezTo>
                <a:cubicBezTo>
                  <a:pt x="583584" y="44493"/>
                  <a:pt x="582775" y="36030"/>
                  <a:pt x="581218" y="29745"/>
                </a:cubicBezTo>
                <a:cubicBezTo>
                  <a:pt x="579600" y="23336"/>
                  <a:pt x="577234" y="18855"/>
                  <a:pt x="574060" y="16117"/>
                </a:cubicBezTo>
                <a:cubicBezTo>
                  <a:pt x="570947" y="13379"/>
                  <a:pt x="567150" y="11947"/>
                  <a:pt x="562668" y="11947"/>
                </a:cubicBezTo>
                <a:cubicBezTo>
                  <a:pt x="558187" y="11947"/>
                  <a:pt x="554390" y="13379"/>
                  <a:pt x="551152" y="16117"/>
                </a:cubicBezTo>
                <a:cubicBezTo>
                  <a:pt x="547978" y="18855"/>
                  <a:pt x="545550" y="23336"/>
                  <a:pt x="543869" y="29745"/>
                </a:cubicBezTo>
                <a:cubicBezTo>
                  <a:pt x="542188" y="36030"/>
                  <a:pt x="541317" y="44493"/>
                  <a:pt x="541317" y="55134"/>
                </a:cubicBezTo>
                <a:cubicBezTo>
                  <a:pt x="541317" y="65775"/>
                  <a:pt x="542126" y="74300"/>
                  <a:pt x="543682" y="80648"/>
                </a:cubicBezTo>
                <a:cubicBezTo>
                  <a:pt x="545425" y="86933"/>
                  <a:pt x="547853" y="91475"/>
                  <a:pt x="551028" y="94275"/>
                </a:cubicBezTo>
                <a:cubicBezTo>
                  <a:pt x="554203" y="96952"/>
                  <a:pt x="558062" y="98258"/>
                  <a:pt x="56254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5" name="Полилиния 1084">
            <a:extLst>
              <a:ext uri="{FF2B5EF4-FFF2-40B4-BE49-F238E27FC236}">
                <a16:creationId xmlns:a16="http://schemas.microsoft.com/office/drawing/2014/main" id="{6B6D4F78-4979-9F76-73CF-FCD40AE6DE3A}"/>
              </a:ext>
            </a:extLst>
          </p:cNvPr>
          <p:cNvSpPr/>
          <p:nvPr userDrawn="1"/>
        </p:nvSpPr>
        <p:spPr>
          <a:xfrm>
            <a:off x="21534071" y="5240073"/>
            <a:ext cx="1398954" cy="726227"/>
          </a:xfrm>
          <a:custGeom>
            <a:avLst/>
            <a:gdLst>
              <a:gd name="connsiteX0" fmla="*/ 1275 w 1198727"/>
              <a:gd name="connsiteY0" fmla="*/ 1222 h 622284"/>
              <a:gd name="connsiteX1" fmla="*/ 1200003 w 1198727"/>
              <a:gd name="connsiteY1" fmla="*/ 1222 h 622284"/>
              <a:gd name="connsiteX2" fmla="*/ 1200003 w 1198727"/>
              <a:gd name="connsiteY2" fmla="*/ 623506 h 622284"/>
              <a:gd name="connsiteX3" fmla="*/ 1275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222"/>
                </a:moveTo>
                <a:lnTo>
                  <a:pt x="1200003" y="1222"/>
                </a:lnTo>
                <a:lnTo>
                  <a:pt x="1200003" y="623506"/>
                </a:lnTo>
                <a:lnTo>
                  <a:pt x="1275" y="623506"/>
                </a:lnTo>
                <a:close/>
              </a:path>
            </a:pathLst>
          </a:custGeom>
          <a:solidFill>
            <a:srgbClr val="CDA5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6" name="Полилиния 1085">
            <a:extLst>
              <a:ext uri="{FF2B5EF4-FFF2-40B4-BE49-F238E27FC236}">
                <a16:creationId xmlns:a16="http://schemas.microsoft.com/office/drawing/2014/main" id="{D04215F1-B48A-B765-C803-519C5226E1A3}"/>
              </a:ext>
            </a:extLst>
          </p:cNvPr>
          <p:cNvSpPr/>
          <p:nvPr userDrawn="1"/>
        </p:nvSpPr>
        <p:spPr>
          <a:xfrm>
            <a:off x="21657280" y="5542037"/>
            <a:ext cx="746661" cy="128252"/>
          </a:xfrm>
          <a:custGeom>
            <a:avLst/>
            <a:gdLst>
              <a:gd name="connsiteX0" fmla="*/ 22099 w 639794"/>
              <a:gd name="connsiteY0" fmla="*/ 108402 h 109895"/>
              <a:gd name="connsiteX1" fmla="*/ 10147 w 639794"/>
              <a:gd name="connsiteY1" fmla="*/ 108402 h 109895"/>
              <a:gd name="connsiteX2" fmla="*/ 16434 w 639794"/>
              <a:gd name="connsiteY2" fmla="*/ 77475 h 109895"/>
              <a:gd name="connsiteX3" fmla="*/ 0 w 639794"/>
              <a:gd name="connsiteY3" fmla="*/ 77475 h 109895"/>
              <a:gd name="connsiteX4" fmla="*/ 0 w 639794"/>
              <a:gd name="connsiteY4" fmla="*/ 67020 h 109895"/>
              <a:gd name="connsiteX5" fmla="*/ 18675 w 639794"/>
              <a:gd name="connsiteY5" fmla="*/ 67020 h 109895"/>
              <a:gd name="connsiteX6" fmla="*/ 24215 w 639794"/>
              <a:gd name="connsiteY6" fmla="*/ 39826 h 109895"/>
              <a:gd name="connsiteX7" fmla="*/ 4046 w 639794"/>
              <a:gd name="connsiteY7" fmla="*/ 39826 h 109895"/>
              <a:gd name="connsiteX8" fmla="*/ 4046 w 639794"/>
              <a:gd name="connsiteY8" fmla="*/ 29372 h 109895"/>
              <a:gd name="connsiteX9" fmla="*/ 26269 w 639794"/>
              <a:gd name="connsiteY9" fmla="*/ 29372 h 109895"/>
              <a:gd name="connsiteX10" fmla="*/ 32121 w 639794"/>
              <a:gd name="connsiteY10" fmla="*/ 1307 h 109895"/>
              <a:gd name="connsiteX11" fmla="*/ 44073 w 639794"/>
              <a:gd name="connsiteY11" fmla="*/ 1307 h 109895"/>
              <a:gd name="connsiteX12" fmla="*/ 38221 w 639794"/>
              <a:gd name="connsiteY12" fmla="*/ 29372 h 109895"/>
              <a:gd name="connsiteX13" fmla="*/ 60630 w 639794"/>
              <a:gd name="connsiteY13" fmla="*/ 29372 h 109895"/>
              <a:gd name="connsiteX14" fmla="*/ 66482 w 639794"/>
              <a:gd name="connsiteY14" fmla="*/ 1307 h 109895"/>
              <a:gd name="connsiteX15" fmla="*/ 78434 w 639794"/>
              <a:gd name="connsiteY15" fmla="*/ 1307 h 109895"/>
              <a:gd name="connsiteX16" fmla="*/ 72582 w 639794"/>
              <a:gd name="connsiteY16" fmla="*/ 29372 h 109895"/>
              <a:gd name="connsiteX17" fmla="*/ 89327 w 639794"/>
              <a:gd name="connsiteY17" fmla="*/ 29372 h 109895"/>
              <a:gd name="connsiteX18" fmla="*/ 89327 w 639794"/>
              <a:gd name="connsiteY18" fmla="*/ 39826 h 109895"/>
              <a:gd name="connsiteX19" fmla="*/ 70529 w 639794"/>
              <a:gd name="connsiteY19" fmla="*/ 39826 h 109895"/>
              <a:gd name="connsiteX20" fmla="*/ 64988 w 639794"/>
              <a:gd name="connsiteY20" fmla="*/ 67020 h 109895"/>
              <a:gd name="connsiteX21" fmla="*/ 85282 w 639794"/>
              <a:gd name="connsiteY21" fmla="*/ 67020 h 109895"/>
              <a:gd name="connsiteX22" fmla="*/ 85282 w 639794"/>
              <a:gd name="connsiteY22" fmla="*/ 77475 h 109895"/>
              <a:gd name="connsiteX23" fmla="*/ 62747 w 639794"/>
              <a:gd name="connsiteY23" fmla="*/ 77475 h 109895"/>
              <a:gd name="connsiteX24" fmla="*/ 56460 w 639794"/>
              <a:gd name="connsiteY24" fmla="*/ 108402 h 109895"/>
              <a:gd name="connsiteX25" fmla="*/ 44508 w 639794"/>
              <a:gd name="connsiteY25" fmla="*/ 108402 h 109895"/>
              <a:gd name="connsiteX26" fmla="*/ 50795 w 639794"/>
              <a:gd name="connsiteY26" fmla="*/ 77475 h 109895"/>
              <a:gd name="connsiteX27" fmla="*/ 28386 w 639794"/>
              <a:gd name="connsiteY27" fmla="*/ 77475 h 109895"/>
              <a:gd name="connsiteX28" fmla="*/ 22099 w 639794"/>
              <a:gd name="connsiteY28" fmla="*/ 108402 h 109895"/>
              <a:gd name="connsiteX29" fmla="*/ 30627 w 639794"/>
              <a:gd name="connsiteY29" fmla="*/ 67020 h 109895"/>
              <a:gd name="connsiteX30" fmla="*/ 53036 w 639794"/>
              <a:gd name="connsiteY30" fmla="*/ 67020 h 109895"/>
              <a:gd name="connsiteX31" fmla="*/ 58576 w 639794"/>
              <a:gd name="connsiteY31" fmla="*/ 39826 h 109895"/>
              <a:gd name="connsiteX32" fmla="*/ 36167 w 639794"/>
              <a:gd name="connsiteY32" fmla="*/ 39826 h 109895"/>
              <a:gd name="connsiteX33" fmla="*/ 30627 w 639794"/>
              <a:gd name="connsiteY33" fmla="*/ 67020 h 109895"/>
              <a:gd name="connsiteX34" fmla="*/ 154315 w 639794"/>
              <a:gd name="connsiteY34" fmla="*/ 109896 h 109895"/>
              <a:gd name="connsiteX35" fmla="*/ 126490 w 639794"/>
              <a:gd name="connsiteY35" fmla="*/ 103300 h 109895"/>
              <a:gd name="connsiteX36" fmla="*/ 108126 w 639794"/>
              <a:gd name="connsiteY36" fmla="*/ 84507 h 109895"/>
              <a:gd name="connsiteX37" fmla="*/ 101528 w 639794"/>
              <a:gd name="connsiteY37" fmla="*/ 54948 h 109895"/>
              <a:gd name="connsiteX38" fmla="*/ 115161 w 639794"/>
              <a:gd name="connsiteY38" fmla="*/ 14624 h 109895"/>
              <a:gd name="connsiteX39" fmla="*/ 154004 w 639794"/>
              <a:gd name="connsiteY39" fmla="*/ 0 h 109895"/>
              <a:gd name="connsiteX40" fmla="*/ 171932 w 639794"/>
              <a:gd name="connsiteY40" fmla="*/ 2054 h 109895"/>
              <a:gd name="connsiteX41" fmla="*/ 186560 w 639794"/>
              <a:gd name="connsiteY41" fmla="*/ 7716 h 109895"/>
              <a:gd name="connsiteX42" fmla="*/ 186560 w 639794"/>
              <a:gd name="connsiteY42" fmla="*/ 21158 h 109895"/>
              <a:gd name="connsiteX43" fmla="*/ 171496 w 639794"/>
              <a:gd name="connsiteY43" fmla="*/ 14935 h 109895"/>
              <a:gd name="connsiteX44" fmla="*/ 153818 w 639794"/>
              <a:gd name="connsiteY44" fmla="*/ 12695 h 109895"/>
              <a:gd name="connsiteX45" fmla="*/ 125930 w 639794"/>
              <a:gd name="connsiteY45" fmla="*/ 23273 h 109895"/>
              <a:gd name="connsiteX46" fmla="*/ 116779 w 639794"/>
              <a:gd name="connsiteY46" fmla="*/ 54948 h 109895"/>
              <a:gd name="connsiteX47" fmla="*/ 126676 w 639794"/>
              <a:gd name="connsiteY47" fmla="*/ 86747 h 109895"/>
              <a:gd name="connsiteX48" fmla="*/ 155498 w 639794"/>
              <a:gd name="connsiteY48" fmla="*/ 97201 h 109895"/>
              <a:gd name="connsiteX49" fmla="*/ 186560 w 639794"/>
              <a:gd name="connsiteY49" fmla="*/ 87369 h 109895"/>
              <a:gd name="connsiteX50" fmla="*/ 186560 w 639794"/>
              <a:gd name="connsiteY50" fmla="*/ 100811 h 109895"/>
              <a:gd name="connsiteX51" fmla="*/ 172679 w 639794"/>
              <a:gd name="connsiteY51" fmla="*/ 107531 h 109895"/>
              <a:gd name="connsiteX52" fmla="*/ 154315 w 639794"/>
              <a:gd name="connsiteY52" fmla="*/ 109896 h 109895"/>
              <a:gd name="connsiteX53" fmla="*/ 208036 w 639794"/>
              <a:gd name="connsiteY53" fmla="*/ 1307 h 109895"/>
              <a:gd name="connsiteX54" fmla="*/ 244079 w 639794"/>
              <a:gd name="connsiteY54" fmla="*/ 1307 h 109895"/>
              <a:gd name="connsiteX55" fmla="*/ 264060 w 639794"/>
              <a:gd name="connsiteY55" fmla="*/ 3858 h 109895"/>
              <a:gd name="connsiteX56" fmla="*/ 280245 w 639794"/>
              <a:gd name="connsiteY56" fmla="*/ 12197 h 109895"/>
              <a:gd name="connsiteX57" fmla="*/ 290952 w 639794"/>
              <a:gd name="connsiteY57" fmla="*/ 27443 h 109895"/>
              <a:gd name="connsiteX58" fmla="*/ 294873 w 639794"/>
              <a:gd name="connsiteY58" fmla="*/ 51215 h 109895"/>
              <a:gd name="connsiteX59" fmla="*/ 287964 w 639794"/>
              <a:gd name="connsiteY59" fmla="*/ 82889 h 109895"/>
              <a:gd name="connsiteX60" fmla="*/ 269476 w 639794"/>
              <a:gd name="connsiteY60" fmla="*/ 101992 h 109895"/>
              <a:gd name="connsiteX61" fmla="*/ 242398 w 639794"/>
              <a:gd name="connsiteY61" fmla="*/ 108402 h 109895"/>
              <a:gd name="connsiteX62" fmla="*/ 208036 w 639794"/>
              <a:gd name="connsiteY62" fmla="*/ 108402 h 109895"/>
              <a:gd name="connsiteX63" fmla="*/ 208036 w 639794"/>
              <a:gd name="connsiteY63" fmla="*/ 1307 h 109895"/>
              <a:gd name="connsiteX64" fmla="*/ 242398 w 639794"/>
              <a:gd name="connsiteY64" fmla="*/ 95707 h 109895"/>
              <a:gd name="connsiteX65" fmla="*/ 261819 w 639794"/>
              <a:gd name="connsiteY65" fmla="*/ 91227 h 109895"/>
              <a:gd name="connsiteX66" fmla="*/ 274829 w 639794"/>
              <a:gd name="connsiteY66" fmla="*/ 77039 h 109895"/>
              <a:gd name="connsiteX67" fmla="*/ 279623 w 639794"/>
              <a:gd name="connsiteY67" fmla="*/ 52272 h 109895"/>
              <a:gd name="connsiteX68" fmla="*/ 275016 w 639794"/>
              <a:gd name="connsiteY68" fmla="*/ 28936 h 109895"/>
              <a:gd name="connsiteX69" fmla="*/ 262317 w 639794"/>
              <a:gd name="connsiteY69" fmla="*/ 17424 h 109895"/>
              <a:gd name="connsiteX70" fmla="*/ 244079 w 639794"/>
              <a:gd name="connsiteY70" fmla="*/ 14188 h 109895"/>
              <a:gd name="connsiteX71" fmla="*/ 222105 w 639794"/>
              <a:gd name="connsiteY71" fmla="*/ 14188 h 109895"/>
              <a:gd name="connsiteX72" fmla="*/ 222105 w 639794"/>
              <a:gd name="connsiteY72" fmla="*/ 95707 h 109895"/>
              <a:gd name="connsiteX73" fmla="*/ 242398 w 639794"/>
              <a:gd name="connsiteY73" fmla="*/ 95707 h 109895"/>
              <a:gd name="connsiteX74" fmla="*/ 396152 w 639794"/>
              <a:gd name="connsiteY74" fmla="*/ 108402 h 109895"/>
              <a:gd name="connsiteX75" fmla="*/ 381213 w 639794"/>
              <a:gd name="connsiteY75" fmla="*/ 108402 h 109895"/>
              <a:gd name="connsiteX76" fmla="*/ 370133 w 639794"/>
              <a:gd name="connsiteY76" fmla="*/ 77786 h 109895"/>
              <a:gd name="connsiteX77" fmla="*/ 322761 w 639794"/>
              <a:gd name="connsiteY77" fmla="*/ 77786 h 109895"/>
              <a:gd name="connsiteX78" fmla="*/ 311867 w 639794"/>
              <a:gd name="connsiteY78" fmla="*/ 108402 h 109895"/>
              <a:gd name="connsiteX79" fmla="*/ 298733 w 639794"/>
              <a:gd name="connsiteY79" fmla="*/ 108402 h 109895"/>
              <a:gd name="connsiteX80" fmla="*/ 336829 w 639794"/>
              <a:gd name="connsiteY80" fmla="*/ 1307 h 109895"/>
              <a:gd name="connsiteX81" fmla="*/ 357745 w 639794"/>
              <a:gd name="connsiteY81" fmla="*/ 1307 h 109895"/>
              <a:gd name="connsiteX82" fmla="*/ 396152 w 639794"/>
              <a:gd name="connsiteY82" fmla="*/ 108402 h 109895"/>
              <a:gd name="connsiteX83" fmla="*/ 327429 w 639794"/>
              <a:gd name="connsiteY83" fmla="*/ 65091 h 109895"/>
              <a:gd name="connsiteX84" fmla="*/ 365650 w 639794"/>
              <a:gd name="connsiteY84" fmla="*/ 65091 h 109895"/>
              <a:gd name="connsiteX85" fmla="*/ 346540 w 639794"/>
              <a:gd name="connsiteY85" fmla="*/ 11761 h 109895"/>
              <a:gd name="connsiteX86" fmla="*/ 327429 w 639794"/>
              <a:gd name="connsiteY86" fmla="*/ 65091 h 109895"/>
              <a:gd name="connsiteX87" fmla="*/ 435618 w 639794"/>
              <a:gd name="connsiteY87" fmla="*/ 109896 h 109895"/>
              <a:gd name="connsiteX88" fmla="*/ 407108 w 639794"/>
              <a:gd name="connsiteY88" fmla="*/ 102304 h 109895"/>
              <a:gd name="connsiteX89" fmla="*/ 407108 w 639794"/>
              <a:gd name="connsiteY89" fmla="*/ 87618 h 109895"/>
              <a:gd name="connsiteX90" fmla="*/ 420243 w 639794"/>
              <a:gd name="connsiteY90" fmla="*/ 95272 h 109895"/>
              <a:gd name="connsiteX91" fmla="*/ 435618 w 639794"/>
              <a:gd name="connsiteY91" fmla="*/ 97637 h 109895"/>
              <a:gd name="connsiteX92" fmla="*/ 452674 w 639794"/>
              <a:gd name="connsiteY92" fmla="*/ 90916 h 109895"/>
              <a:gd name="connsiteX93" fmla="*/ 458775 w 639794"/>
              <a:gd name="connsiteY93" fmla="*/ 73305 h 109895"/>
              <a:gd name="connsiteX94" fmla="*/ 452799 w 639794"/>
              <a:gd name="connsiteY94" fmla="*/ 56255 h 109895"/>
              <a:gd name="connsiteX95" fmla="*/ 437735 w 639794"/>
              <a:gd name="connsiteY95" fmla="*/ 50903 h 109895"/>
              <a:gd name="connsiteX96" fmla="*/ 427090 w 639794"/>
              <a:gd name="connsiteY96" fmla="*/ 53143 h 109895"/>
              <a:gd name="connsiteX97" fmla="*/ 420990 w 639794"/>
              <a:gd name="connsiteY97" fmla="*/ 57624 h 109895"/>
              <a:gd name="connsiteX98" fmla="*/ 410096 w 639794"/>
              <a:gd name="connsiteY98" fmla="*/ 57624 h 109895"/>
              <a:gd name="connsiteX99" fmla="*/ 410096 w 639794"/>
              <a:gd name="connsiteY99" fmla="*/ 1307 h 109895"/>
              <a:gd name="connsiteX100" fmla="*/ 468050 w 639794"/>
              <a:gd name="connsiteY100" fmla="*/ 1307 h 109895"/>
              <a:gd name="connsiteX101" fmla="*/ 468050 w 639794"/>
              <a:gd name="connsiteY101" fmla="*/ 14188 h 109895"/>
              <a:gd name="connsiteX102" fmla="*/ 422359 w 639794"/>
              <a:gd name="connsiteY102" fmla="*/ 14188 h 109895"/>
              <a:gd name="connsiteX103" fmla="*/ 422359 w 639794"/>
              <a:gd name="connsiteY103" fmla="*/ 44805 h 109895"/>
              <a:gd name="connsiteX104" fmla="*/ 429642 w 639794"/>
              <a:gd name="connsiteY104" fmla="*/ 40885 h 109895"/>
              <a:gd name="connsiteX105" fmla="*/ 439976 w 639794"/>
              <a:gd name="connsiteY105" fmla="*/ 39080 h 109895"/>
              <a:gd name="connsiteX106" fmla="*/ 456721 w 639794"/>
              <a:gd name="connsiteY106" fmla="*/ 43000 h 109895"/>
              <a:gd name="connsiteX107" fmla="*/ 468486 w 639794"/>
              <a:gd name="connsiteY107" fmla="*/ 54326 h 109895"/>
              <a:gd name="connsiteX108" fmla="*/ 472967 w 639794"/>
              <a:gd name="connsiteY108" fmla="*/ 72995 h 109895"/>
              <a:gd name="connsiteX109" fmla="*/ 468361 w 639794"/>
              <a:gd name="connsiteY109" fmla="*/ 92410 h 109895"/>
              <a:gd name="connsiteX110" fmla="*/ 455476 w 639794"/>
              <a:gd name="connsiteY110" fmla="*/ 105415 h 109895"/>
              <a:gd name="connsiteX111" fmla="*/ 435618 w 639794"/>
              <a:gd name="connsiteY111" fmla="*/ 109896 h 109895"/>
              <a:gd name="connsiteX112" fmla="*/ 522704 w 639794"/>
              <a:gd name="connsiteY112" fmla="*/ 109896 h 109895"/>
              <a:gd name="connsiteX113" fmla="*/ 504466 w 639794"/>
              <a:gd name="connsiteY113" fmla="*/ 104047 h 109895"/>
              <a:gd name="connsiteX114" fmla="*/ 491767 w 639794"/>
              <a:gd name="connsiteY114" fmla="*/ 86125 h 109895"/>
              <a:gd name="connsiteX115" fmla="*/ 487285 w 639794"/>
              <a:gd name="connsiteY115" fmla="*/ 54761 h 109895"/>
              <a:gd name="connsiteX116" fmla="*/ 491767 w 639794"/>
              <a:gd name="connsiteY116" fmla="*/ 23398 h 109895"/>
              <a:gd name="connsiteX117" fmla="*/ 504466 w 639794"/>
              <a:gd name="connsiteY117" fmla="*/ 5663 h 109895"/>
              <a:gd name="connsiteX118" fmla="*/ 522704 w 639794"/>
              <a:gd name="connsiteY118" fmla="*/ 0 h 109895"/>
              <a:gd name="connsiteX119" fmla="*/ 540757 w 639794"/>
              <a:gd name="connsiteY119" fmla="*/ 5663 h 109895"/>
              <a:gd name="connsiteX120" fmla="*/ 553206 w 639794"/>
              <a:gd name="connsiteY120" fmla="*/ 23398 h 109895"/>
              <a:gd name="connsiteX121" fmla="*/ 557688 w 639794"/>
              <a:gd name="connsiteY121" fmla="*/ 54512 h 109895"/>
              <a:gd name="connsiteX122" fmla="*/ 553206 w 639794"/>
              <a:gd name="connsiteY122" fmla="*/ 85876 h 109895"/>
              <a:gd name="connsiteX123" fmla="*/ 540757 w 639794"/>
              <a:gd name="connsiteY123" fmla="*/ 104047 h 109895"/>
              <a:gd name="connsiteX124" fmla="*/ 522704 w 639794"/>
              <a:gd name="connsiteY124" fmla="*/ 109896 h 109895"/>
              <a:gd name="connsiteX125" fmla="*/ 522580 w 639794"/>
              <a:gd name="connsiteY125" fmla="*/ 98072 h 109895"/>
              <a:gd name="connsiteX126" fmla="*/ 533909 w 639794"/>
              <a:gd name="connsiteY126" fmla="*/ 94089 h 109895"/>
              <a:gd name="connsiteX127" fmla="*/ 541068 w 639794"/>
              <a:gd name="connsiteY127" fmla="*/ 80462 h 109895"/>
              <a:gd name="connsiteX128" fmla="*/ 543621 w 639794"/>
              <a:gd name="connsiteY128" fmla="*/ 54948 h 109895"/>
              <a:gd name="connsiteX129" fmla="*/ 541255 w 639794"/>
              <a:gd name="connsiteY129" fmla="*/ 29559 h 109895"/>
              <a:gd name="connsiteX130" fmla="*/ 534034 w 639794"/>
              <a:gd name="connsiteY130" fmla="*/ 15931 h 109895"/>
              <a:gd name="connsiteX131" fmla="*/ 522704 w 639794"/>
              <a:gd name="connsiteY131" fmla="*/ 11761 h 109895"/>
              <a:gd name="connsiteX132" fmla="*/ 511188 w 639794"/>
              <a:gd name="connsiteY132" fmla="*/ 15931 h 109895"/>
              <a:gd name="connsiteX133" fmla="*/ 503906 w 639794"/>
              <a:gd name="connsiteY133" fmla="*/ 29559 h 109895"/>
              <a:gd name="connsiteX134" fmla="*/ 501353 w 639794"/>
              <a:gd name="connsiteY134" fmla="*/ 54948 h 109895"/>
              <a:gd name="connsiteX135" fmla="*/ 503719 w 639794"/>
              <a:gd name="connsiteY135" fmla="*/ 80462 h 109895"/>
              <a:gd name="connsiteX136" fmla="*/ 511064 w 639794"/>
              <a:gd name="connsiteY136" fmla="*/ 94089 h 109895"/>
              <a:gd name="connsiteX137" fmla="*/ 522580 w 639794"/>
              <a:gd name="connsiteY137" fmla="*/ 98072 h 109895"/>
              <a:gd name="connsiteX138" fmla="*/ 604873 w 639794"/>
              <a:gd name="connsiteY138" fmla="*/ 109896 h 109895"/>
              <a:gd name="connsiteX139" fmla="*/ 586634 w 639794"/>
              <a:gd name="connsiteY139" fmla="*/ 104047 h 109895"/>
              <a:gd name="connsiteX140" fmla="*/ 573936 w 639794"/>
              <a:gd name="connsiteY140" fmla="*/ 86125 h 109895"/>
              <a:gd name="connsiteX141" fmla="*/ 569453 w 639794"/>
              <a:gd name="connsiteY141" fmla="*/ 54761 h 109895"/>
              <a:gd name="connsiteX142" fmla="*/ 573936 w 639794"/>
              <a:gd name="connsiteY142" fmla="*/ 23398 h 109895"/>
              <a:gd name="connsiteX143" fmla="*/ 586634 w 639794"/>
              <a:gd name="connsiteY143" fmla="*/ 5663 h 109895"/>
              <a:gd name="connsiteX144" fmla="*/ 604873 w 639794"/>
              <a:gd name="connsiteY144" fmla="*/ 0 h 109895"/>
              <a:gd name="connsiteX145" fmla="*/ 622926 w 639794"/>
              <a:gd name="connsiteY145" fmla="*/ 5663 h 109895"/>
              <a:gd name="connsiteX146" fmla="*/ 635313 w 639794"/>
              <a:gd name="connsiteY146" fmla="*/ 23398 h 109895"/>
              <a:gd name="connsiteX147" fmla="*/ 639795 w 639794"/>
              <a:gd name="connsiteY147" fmla="*/ 54512 h 109895"/>
              <a:gd name="connsiteX148" fmla="*/ 635313 w 639794"/>
              <a:gd name="connsiteY148" fmla="*/ 85876 h 109895"/>
              <a:gd name="connsiteX149" fmla="*/ 622926 w 639794"/>
              <a:gd name="connsiteY149" fmla="*/ 104047 h 109895"/>
              <a:gd name="connsiteX150" fmla="*/ 604873 w 639794"/>
              <a:gd name="connsiteY150" fmla="*/ 109896 h 109895"/>
              <a:gd name="connsiteX151" fmla="*/ 604686 w 639794"/>
              <a:gd name="connsiteY151" fmla="*/ 98072 h 109895"/>
              <a:gd name="connsiteX152" fmla="*/ 616078 w 639794"/>
              <a:gd name="connsiteY152" fmla="*/ 94089 h 109895"/>
              <a:gd name="connsiteX153" fmla="*/ 623236 w 639794"/>
              <a:gd name="connsiteY153" fmla="*/ 80462 h 109895"/>
              <a:gd name="connsiteX154" fmla="*/ 625789 w 639794"/>
              <a:gd name="connsiteY154" fmla="*/ 54948 h 109895"/>
              <a:gd name="connsiteX155" fmla="*/ 623361 w 639794"/>
              <a:gd name="connsiteY155" fmla="*/ 29559 h 109895"/>
              <a:gd name="connsiteX156" fmla="*/ 616202 w 639794"/>
              <a:gd name="connsiteY156" fmla="*/ 15931 h 109895"/>
              <a:gd name="connsiteX157" fmla="*/ 604873 w 639794"/>
              <a:gd name="connsiteY157" fmla="*/ 11761 h 109895"/>
              <a:gd name="connsiteX158" fmla="*/ 593357 w 639794"/>
              <a:gd name="connsiteY158" fmla="*/ 15931 h 109895"/>
              <a:gd name="connsiteX159" fmla="*/ 586012 w 639794"/>
              <a:gd name="connsiteY159" fmla="*/ 29559 h 109895"/>
              <a:gd name="connsiteX160" fmla="*/ 583459 w 639794"/>
              <a:gd name="connsiteY160" fmla="*/ 54948 h 109895"/>
              <a:gd name="connsiteX161" fmla="*/ 585887 w 639794"/>
              <a:gd name="connsiteY161" fmla="*/ 80462 h 109895"/>
              <a:gd name="connsiteX162" fmla="*/ 593170 w 639794"/>
              <a:gd name="connsiteY162" fmla="*/ 94089 h 109895"/>
              <a:gd name="connsiteX163" fmla="*/ 604686 w 639794"/>
              <a:gd name="connsiteY163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639794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54315" y="109896"/>
                </a:moveTo>
                <a:cubicBezTo>
                  <a:pt x="143733" y="109896"/>
                  <a:pt x="134458" y="107718"/>
                  <a:pt x="126490" y="103300"/>
                </a:cubicBezTo>
                <a:cubicBezTo>
                  <a:pt x="118647" y="98943"/>
                  <a:pt x="112484" y="92658"/>
                  <a:pt x="108126" y="84507"/>
                </a:cubicBezTo>
                <a:cubicBezTo>
                  <a:pt x="103769" y="76230"/>
                  <a:pt x="101528" y="66398"/>
                  <a:pt x="101528" y="54948"/>
                </a:cubicBezTo>
                <a:cubicBezTo>
                  <a:pt x="101528" y="37711"/>
                  <a:pt x="106072" y="24269"/>
                  <a:pt x="115161" y="14624"/>
                </a:cubicBezTo>
                <a:cubicBezTo>
                  <a:pt x="124187" y="4854"/>
                  <a:pt x="137135" y="0"/>
                  <a:pt x="154004" y="0"/>
                </a:cubicBezTo>
                <a:cubicBezTo>
                  <a:pt x="160291" y="0"/>
                  <a:pt x="166267" y="684"/>
                  <a:pt x="171932" y="2054"/>
                </a:cubicBezTo>
                <a:cubicBezTo>
                  <a:pt x="177721" y="3361"/>
                  <a:pt x="182577" y="5228"/>
                  <a:pt x="186560" y="7716"/>
                </a:cubicBezTo>
                <a:lnTo>
                  <a:pt x="186560" y="21158"/>
                </a:lnTo>
                <a:cubicBezTo>
                  <a:pt x="182265" y="18482"/>
                  <a:pt x="177223" y="16428"/>
                  <a:pt x="171496" y="14935"/>
                </a:cubicBezTo>
                <a:cubicBezTo>
                  <a:pt x="165769" y="13442"/>
                  <a:pt x="159918" y="12695"/>
                  <a:pt x="153818" y="12695"/>
                </a:cubicBezTo>
                <a:cubicBezTo>
                  <a:pt x="141306" y="12695"/>
                  <a:pt x="131968" y="16180"/>
                  <a:pt x="125930" y="23273"/>
                </a:cubicBezTo>
                <a:cubicBezTo>
                  <a:pt x="119829" y="30368"/>
                  <a:pt x="116779" y="40885"/>
                  <a:pt x="116779" y="54948"/>
                </a:cubicBezTo>
                <a:cubicBezTo>
                  <a:pt x="116779" y="69074"/>
                  <a:pt x="120078" y="79653"/>
                  <a:pt x="126676" y="86747"/>
                </a:cubicBezTo>
                <a:cubicBezTo>
                  <a:pt x="133213" y="93716"/>
                  <a:pt x="142862" y="97201"/>
                  <a:pt x="155498" y="97201"/>
                </a:cubicBezTo>
                <a:cubicBezTo>
                  <a:pt x="167450" y="97201"/>
                  <a:pt x="177783" y="93903"/>
                  <a:pt x="186560" y="87369"/>
                </a:cubicBezTo>
                <a:lnTo>
                  <a:pt x="186560" y="100811"/>
                </a:lnTo>
                <a:cubicBezTo>
                  <a:pt x="183074" y="103548"/>
                  <a:pt x="178468" y="105788"/>
                  <a:pt x="172679" y="107531"/>
                </a:cubicBezTo>
                <a:cubicBezTo>
                  <a:pt x="166890" y="109087"/>
                  <a:pt x="160790" y="109896"/>
                  <a:pt x="154315" y="109896"/>
                </a:cubicBezTo>
                <a:close/>
                <a:moveTo>
                  <a:pt x="208036" y="1307"/>
                </a:moveTo>
                <a:lnTo>
                  <a:pt x="244079" y="1307"/>
                </a:lnTo>
                <a:cubicBezTo>
                  <a:pt x="251237" y="1307"/>
                  <a:pt x="257898" y="2179"/>
                  <a:pt x="264060" y="3858"/>
                </a:cubicBezTo>
                <a:cubicBezTo>
                  <a:pt x="270285" y="5538"/>
                  <a:pt x="275639" y="8339"/>
                  <a:pt x="280245" y="12197"/>
                </a:cubicBezTo>
                <a:cubicBezTo>
                  <a:pt x="284789" y="15993"/>
                  <a:pt x="288400" y="21096"/>
                  <a:pt x="290952" y="27443"/>
                </a:cubicBezTo>
                <a:cubicBezTo>
                  <a:pt x="293566" y="33853"/>
                  <a:pt x="294873" y="41756"/>
                  <a:pt x="294873" y="51215"/>
                </a:cubicBezTo>
                <a:cubicBezTo>
                  <a:pt x="294873" y="63722"/>
                  <a:pt x="292570" y="74301"/>
                  <a:pt x="287964" y="82889"/>
                </a:cubicBezTo>
                <a:cubicBezTo>
                  <a:pt x="283482" y="91352"/>
                  <a:pt x="277319" y="97699"/>
                  <a:pt x="269476" y="101992"/>
                </a:cubicBezTo>
                <a:cubicBezTo>
                  <a:pt x="261570" y="106287"/>
                  <a:pt x="252607" y="108402"/>
                  <a:pt x="242398" y="108402"/>
                </a:cubicBezTo>
                <a:lnTo>
                  <a:pt x="208036" y="108402"/>
                </a:lnTo>
                <a:lnTo>
                  <a:pt x="208036" y="1307"/>
                </a:lnTo>
                <a:close/>
                <a:moveTo>
                  <a:pt x="242398" y="95707"/>
                </a:moveTo>
                <a:cubicBezTo>
                  <a:pt x="249805" y="95707"/>
                  <a:pt x="256279" y="94214"/>
                  <a:pt x="261819" y="91227"/>
                </a:cubicBezTo>
                <a:cubicBezTo>
                  <a:pt x="267422" y="88116"/>
                  <a:pt x="271779" y="83386"/>
                  <a:pt x="274829" y="77039"/>
                </a:cubicBezTo>
                <a:cubicBezTo>
                  <a:pt x="278004" y="70568"/>
                  <a:pt x="279623" y="62291"/>
                  <a:pt x="279623" y="52272"/>
                </a:cubicBezTo>
                <a:cubicBezTo>
                  <a:pt x="279623" y="42191"/>
                  <a:pt x="278066" y="34413"/>
                  <a:pt x="275016" y="28936"/>
                </a:cubicBezTo>
                <a:cubicBezTo>
                  <a:pt x="271904" y="23460"/>
                  <a:pt x="267670" y="19664"/>
                  <a:pt x="262317" y="17424"/>
                </a:cubicBezTo>
                <a:cubicBezTo>
                  <a:pt x="257026" y="15246"/>
                  <a:pt x="250926" y="14188"/>
                  <a:pt x="244079" y="14188"/>
                </a:cubicBezTo>
                <a:lnTo>
                  <a:pt x="222105" y="14188"/>
                </a:lnTo>
                <a:lnTo>
                  <a:pt x="222105" y="95707"/>
                </a:lnTo>
                <a:lnTo>
                  <a:pt x="242398" y="95707"/>
                </a:lnTo>
                <a:close/>
                <a:moveTo>
                  <a:pt x="396152" y="108402"/>
                </a:moveTo>
                <a:lnTo>
                  <a:pt x="381213" y="108402"/>
                </a:lnTo>
                <a:lnTo>
                  <a:pt x="370133" y="77786"/>
                </a:lnTo>
                <a:lnTo>
                  <a:pt x="322761" y="77786"/>
                </a:lnTo>
                <a:lnTo>
                  <a:pt x="311867" y="108402"/>
                </a:lnTo>
                <a:lnTo>
                  <a:pt x="298733" y="108402"/>
                </a:lnTo>
                <a:lnTo>
                  <a:pt x="336829" y="1307"/>
                </a:lnTo>
                <a:lnTo>
                  <a:pt x="357745" y="1307"/>
                </a:lnTo>
                <a:lnTo>
                  <a:pt x="396152" y="108402"/>
                </a:lnTo>
                <a:close/>
                <a:moveTo>
                  <a:pt x="327429" y="65091"/>
                </a:moveTo>
                <a:lnTo>
                  <a:pt x="365650" y="65091"/>
                </a:lnTo>
                <a:lnTo>
                  <a:pt x="346540" y="11761"/>
                </a:lnTo>
                <a:lnTo>
                  <a:pt x="327429" y="65091"/>
                </a:lnTo>
                <a:close/>
                <a:moveTo>
                  <a:pt x="435618" y="109896"/>
                </a:moveTo>
                <a:cubicBezTo>
                  <a:pt x="423667" y="109896"/>
                  <a:pt x="414142" y="107344"/>
                  <a:pt x="407108" y="102304"/>
                </a:cubicBezTo>
                <a:lnTo>
                  <a:pt x="407108" y="87618"/>
                </a:lnTo>
                <a:cubicBezTo>
                  <a:pt x="411279" y="91040"/>
                  <a:pt x="415636" y="93592"/>
                  <a:pt x="420243" y="95272"/>
                </a:cubicBezTo>
                <a:cubicBezTo>
                  <a:pt x="424849" y="96828"/>
                  <a:pt x="429954" y="97637"/>
                  <a:pt x="435618" y="97637"/>
                </a:cubicBezTo>
                <a:cubicBezTo>
                  <a:pt x="443026" y="97637"/>
                  <a:pt x="448691" y="95397"/>
                  <a:pt x="452674" y="90916"/>
                </a:cubicBezTo>
                <a:cubicBezTo>
                  <a:pt x="456721" y="86435"/>
                  <a:pt x="458775" y="80586"/>
                  <a:pt x="458775" y="73305"/>
                </a:cubicBezTo>
                <a:cubicBezTo>
                  <a:pt x="458775" y="65527"/>
                  <a:pt x="456783" y="59864"/>
                  <a:pt x="452799" y="56255"/>
                </a:cubicBezTo>
                <a:cubicBezTo>
                  <a:pt x="448815" y="52708"/>
                  <a:pt x="443773" y="50903"/>
                  <a:pt x="437735" y="50903"/>
                </a:cubicBezTo>
                <a:cubicBezTo>
                  <a:pt x="433315" y="50903"/>
                  <a:pt x="429829" y="51650"/>
                  <a:pt x="427090" y="53143"/>
                </a:cubicBezTo>
                <a:cubicBezTo>
                  <a:pt x="424414" y="54512"/>
                  <a:pt x="422359" y="56006"/>
                  <a:pt x="420990" y="57624"/>
                </a:cubicBezTo>
                <a:lnTo>
                  <a:pt x="410096" y="57624"/>
                </a:lnTo>
                <a:lnTo>
                  <a:pt x="410096" y="1307"/>
                </a:lnTo>
                <a:lnTo>
                  <a:pt x="468050" y="1307"/>
                </a:lnTo>
                <a:lnTo>
                  <a:pt x="468050" y="14188"/>
                </a:lnTo>
                <a:lnTo>
                  <a:pt x="422359" y="14188"/>
                </a:lnTo>
                <a:lnTo>
                  <a:pt x="422359" y="44805"/>
                </a:lnTo>
                <a:cubicBezTo>
                  <a:pt x="424351" y="43312"/>
                  <a:pt x="426779" y="42004"/>
                  <a:pt x="429642" y="40885"/>
                </a:cubicBezTo>
                <a:cubicBezTo>
                  <a:pt x="432568" y="39702"/>
                  <a:pt x="435992" y="39080"/>
                  <a:pt x="439976" y="39080"/>
                </a:cubicBezTo>
                <a:cubicBezTo>
                  <a:pt x="446138" y="39080"/>
                  <a:pt x="451741" y="40386"/>
                  <a:pt x="456721" y="43000"/>
                </a:cubicBezTo>
                <a:cubicBezTo>
                  <a:pt x="461701" y="45489"/>
                  <a:pt x="465622" y="49285"/>
                  <a:pt x="468486" y="54326"/>
                </a:cubicBezTo>
                <a:cubicBezTo>
                  <a:pt x="471473" y="59304"/>
                  <a:pt x="472967" y="65527"/>
                  <a:pt x="472967" y="72995"/>
                </a:cubicBezTo>
                <a:cubicBezTo>
                  <a:pt x="472967" y="80399"/>
                  <a:pt x="471411" y="86871"/>
                  <a:pt x="468361" y="92410"/>
                </a:cubicBezTo>
                <a:cubicBezTo>
                  <a:pt x="465373" y="98010"/>
                  <a:pt x="461078" y="102304"/>
                  <a:pt x="455476" y="105415"/>
                </a:cubicBezTo>
                <a:cubicBezTo>
                  <a:pt x="449936" y="108402"/>
                  <a:pt x="443275" y="109896"/>
                  <a:pt x="435618" y="109896"/>
                </a:cubicBezTo>
                <a:close/>
                <a:moveTo>
                  <a:pt x="522704" y="109896"/>
                </a:moveTo>
                <a:cubicBezTo>
                  <a:pt x="515919" y="109896"/>
                  <a:pt x="509881" y="107967"/>
                  <a:pt x="504466" y="104047"/>
                </a:cubicBezTo>
                <a:cubicBezTo>
                  <a:pt x="499112" y="100188"/>
                  <a:pt x="494879" y="94214"/>
                  <a:pt x="491767" y="86125"/>
                </a:cubicBezTo>
                <a:cubicBezTo>
                  <a:pt x="488779" y="77972"/>
                  <a:pt x="487285" y="67518"/>
                  <a:pt x="487285" y="54761"/>
                </a:cubicBezTo>
                <a:cubicBezTo>
                  <a:pt x="487285" y="41942"/>
                  <a:pt x="488779" y="31488"/>
                  <a:pt x="491767" y="23398"/>
                </a:cubicBezTo>
                <a:cubicBezTo>
                  <a:pt x="494879" y="15371"/>
                  <a:pt x="499112" y="9459"/>
                  <a:pt x="504466" y="5663"/>
                </a:cubicBezTo>
                <a:cubicBezTo>
                  <a:pt x="509881" y="1867"/>
                  <a:pt x="515919" y="0"/>
                  <a:pt x="522704" y="0"/>
                </a:cubicBezTo>
                <a:cubicBezTo>
                  <a:pt x="529490" y="0"/>
                  <a:pt x="535528" y="1867"/>
                  <a:pt x="540757" y="5663"/>
                </a:cubicBezTo>
                <a:cubicBezTo>
                  <a:pt x="546048" y="9459"/>
                  <a:pt x="550219" y="15371"/>
                  <a:pt x="553206" y="23398"/>
                </a:cubicBezTo>
                <a:cubicBezTo>
                  <a:pt x="556194" y="31363"/>
                  <a:pt x="557688" y="41756"/>
                  <a:pt x="557688" y="54512"/>
                </a:cubicBezTo>
                <a:cubicBezTo>
                  <a:pt x="557688" y="67145"/>
                  <a:pt x="556194" y="77599"/>
                  <a:pt x="553206" y="85876"/>
                </a:cubicBezTo>
                <a:cubicBezTo>
                  <a:pt x="550219" y="94027"/>
                  <a:pt x="546048" y="100064"/>
                  <a:pt x="540757" y="104047"/>
                </a:cubicBezTo>
                <a:cubicBezTo>
                  <a:pt x="535528" y="107967"/>
                  <a:pt x="529490" y="109896"/>
                  <a:pt x="522704" y="109896"/>
                </a:cubicBezTo>
                <a:close/>
                <a:moveTo>
                  <a:pt x="522580" y="98072"/>
                </a:moveTo>
                <a:cubicBezTo>
                  <a:pt x="527062" y="98072"/>
                  <a:pt x="530797" y="96766"/>
                  <a:pt x="533909" y="94089"/>
                </a:cubicBezTo>
                <a:cubicBezTo>
                  <a:pt x="537084" y="91289"/>
                  <a:pt x="539512" y="86747"/>
                  <a:pt x="541068" y="80462"/>
                </a:cubicBezTo>
                <a:cubicBezTo>
                  <a:pt x="542749" y="74114"/>
                  <a:pt x="543621" y="65589"/>
                  <a:pt x="543621" y="54948"/>
                </a:cubicBezTo>
                <a:cubicBezTo>
                  <a:pt x="543621" y="44307"/>
                  <a:pt x="542811" y="35844"/>
                  <a:pt x="541255" y="29559"/>
                </a:cubicBezTo>
                <a:cubicBezTo>
                  <a:pt x="539637" y="23150"/>
                  <a:pt x="537271" y="18669"/>
                  <a:pt x="534034" y="15931"/>
                </a:cubicBezTo>
                <a:cubicBezTo>
                  <a:pt x="530984" y="13192"/>
                  <a:pt x="527187" y="11761"/>
                  <a:pt x="522704" y="11761"/>
                </a:cubicBezTo>
                <a:cubicBezTo>
                  <a:pt x="518223" y="11761"/>
                  <a:pt x="514363" y="13192"/>
                  <a:pt x="511188" y="15931"/>
                </a:cubicBezTo>
                <a:cubicBezTo>
                  <a:pt x="508014" y="18669"/>
                  <a:pt x="505586" y="23150"/>
                  <a:pt x="503906" y="29559"/>
                </a:cubicBezTo>
                <a:cubicBezTo>
                  <a:pt x="502163" y="35844"/>
                  <a:pt x="501353" y="44307"/>
                  <a:pt x="501353" y="54948"/>
                </a:cubicBezTo>
                <a:cubicBezTo>
                  <a:pt x="501353" y="65589"/>
                  <a:pt x="502163" y="74114"/>
                  <a:pt x="503719" y="80462"/>
                </a:cubicBezTo>
                <a:cubicBezTo>
                  <a:pt x="505400" y="86747"/>
                  <a:pt x="507889" y="91289"/>
                  <a:pt x="511064" y="94089"/>
                </a:cubicBezTo>
                <a:cubicBezTo>
                  <a:pt x="514238" y="96766"/>
                  <a:pt x="518098" y="98072"/>
                  <a:pt x="522580" y="98072"/>
                </a:cubicBezTo>
                <a:close/>
                <a:moveTo>
                  <a:pt x="604873" y="109896"/>
                </a:moveTo>
                <a:cubicBezTo>
                  <a:pt x="598088" y="109896"/>
                  <a:pt x="591987" y="107967"/>
                  <a:pt x="586634" y="104047"/>
                </a:cubicBezTo>
                <a:cubicBezTo>
                  <a:pt x="581218" y="100188"/>
                  <a:pt x="576986" y="94214"/>
                  <a:pt x="573936" y="86125"/>
                </a:cubicBezTo>
                <a:cubicBezTo>
                  <a:pt x="570947" y="77972"/>
                  <a:pt x="569453" y="67518"/>
                  <a:pt x="569453" y="54761"/>
                </a:cubicBezTo>
                <a:cubicBezTo>
                  <a:pt x="569453" y="41942"/>
                  <a:pt x="570947" y="31488"/>
                  <a:pt x="573936" y="23398"/>
                </a:cubicBezTo>
                <a:cubicBezTo>
                  <a:pt x="576986" y="15371"/>
                  <a:pt x="581218" y="9459"/>
                  <a:pt x="586634" y="5663"/>
                </a:cubicBezTo>
                <a:cubicBezTo>
                  <a:pt x="591987" y="1867"/>
                  <a:pt x="598088" y="0"/>
                  <a:pt x="604873" y="0"/>
                </a:cubicBezTo>
                <a:cubicBezTo>
                  <a:pt x="611596" y="0"/>
                  <a:pt x="617634" y="1867"/>
                  <a:pt x="622926" y="5663"/>
                </a:cubicBezTo>
                <a:cubicBezTo>
                  <a:pt x="628217" y="9459"/>
                  <a:pt x="632325" y="15371"/>
                  <a:pt x="635313" y="23398"/>
                </a:cubicBezTo>
                <a:cubicBezTo>
                  <a:pt x="638301" y="31363"/>
                  <a:pt x="639795" y="41756"/>
                  <a:pt x="639795" y="54512"/>
                </a:cubicBezTo>
                <a:cubicBezTo>
                  <a:pt x="639795" y="67145"/>
                  <a:pt x="638301" y="77599"/>
                  <a:pt x="635313" y="85876"/>
                </a:cubicBezTo>
                <a:cubicBezTo>
                  <a:pt x="632325" y="94027"/>
                  <a:pt x="628217" y="100064"/>
                  <a:pt x="622926" y="104047"/>
                </a:cubicBezTo>
                <a:cubicBezTo>
                  <a:pt x="617634" y="107967"/>
                  <a:pt x="611596" y="109896"/>
                  <a:pt x="604873" y="109896"/>
                </a:cubicBezTo>
                <a:close/>
                <a:moveTo>
                  <a:pt x="604686" y="98072"/>
                </a:moveTo>
                <a:cubicBezTo>
                  <a:pt x="609168" y="98072"/>
                  <a:pt x="612965" y="96766"/>
                  <a:pt x="616078" y="94089"/>
                </a:cubicBezTo>
                <a:cubicBezTo>
                  <a:pt x="619252" y="91289"/>
                  <a:pt x="621618" y="86747"/>
                  <a:pt x="623236" y="80462"/>
                </a:cubicBezTo>
                <a:cubicBezTo>
                  <a:pt x="624917" y="74114"/>
                  <a:pt x="625789" y="65589"/>
                  <a:pt x="625789" y="54948"/>
                </a:cubicBezTo>
                <a:cubicBezTo>
                  <a:pt x="625789" y="44307"/>
                  <a:pt x="624980" y="35844"/>
                  <a:pt x="623361" y="29559"/>
                </a:cubicBezTo>
                <a:cubicBezTo>
                  <a:pt x="621805" y="23150"/>
                  <a:pt x="619377" y="18669"/>
                  <a:pt x="616202" y="15931"/>
                </a:cubicBezTo>
                <a:cubicBezTo>
                  <a:pt x="613090" y="13192"/>
                  <a:pt x="609355" y="11761"/>
                  <a:pt x="604873" y="11761"/>
                </a:cubicBezTo>
                <a:cubicBezTo>
                  <a:pt x="600392" y="11761"/>
                  <a:pt x="596532" y="13192"/>
                  <a:pt x="593357" y="15931"/>
                </a:cubicBezTo>
                <a:cubicBezTo>
                  <a:pt x="590183" y="18669"/>
                  <a:pt x="587693" y="23150"/>
                  <a:pt x="586012" y="29559"/>
                </a:cubicBezTo>
                <a:cubicBezTo>
                  <a:pt x="584331" y="35844"/>
                  <a:pt x="583459" y="44307"/>
                  <a:pt x="583459" y="54948"/>
                </a:cubicBezTo>
                <a:cubicBezTo>
                  <a:pt x="583459" y="65589"/>
                  <a:pt x="584269" y="74114"/>
                  <a:pt x="585887" y="80462"/>
                </a:cubicBezTo>
                <a:cubicBezTo>
                  <a:pt x="587568" y="86747"/>
                  <a:pt x="589996" y="91289"/>
                  <a:pt x="593170" y="94089"/>
                </a:cubicBezTo>
                <a:cubicBezTo>
                  <a:pt x="596408" y="96766"/>
                  <a:pt x="600205" y="98072"/>
                  <a:pt x="604686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7" name="Полилиния 1086">
            <a:extLst>
              <a:ext uri="{FF2B5EF4-FFF2-40B4-BE49-F238E27FC236}">
                <a16:creationId xmlns:a16="http://schemas.microsoft.com/office/drawing/2014/main" id="{F7132325-7F93-96E9-A165-CFB602F55DD9}"/>
              </a:ext>
            </a:extLst>
          </p:cNvPr>
          <p:cNvSpPr/>
          <p:nvPr userDrawn="1"/>
        </p:nvSpPr>
        <p:spPr>
          <a:xfrm>
            <a:off x="21534071" y="5966300"/>
            <a:ext cx="1398954" cy="726227"/>
          </a:xfrm>
          <a:custGeom>
            <a:avLst/>
            <a:gdLst>
              <a:gd name="connsiteX0" fmla="*/ 1275 w 1198727"/>
              <a:gd name="connsiteY0" fmla="*/ 1322 h 622284"/>
              <a:gd name="connsiteX1" fmla="*/ 1200003 w 1198727"/>
              <a:gd name="connsiteY1" fmla="*/ 1322 h 622284"/>
              <a:gd name="connsiteX2" fmla="*/ 1200003 w 1198727"/>
              <a:gd name="connsiteY2" fmla="*/ 623606 h 622284"/>
              <a:gd name="connsiteX3" fmla="*/ 1275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322"/>
                </a:moveTo>
                <a:lnTo>
                  <a:pt x="1200003" y="1322"/>
                </a:lnTo>
                <a:lnTo>
                  <a:pt x="1200003" y="623606"/>
                </a:lnTo>
                <a:lnTo>
                  <a:pt x="1275" y="623606"/>
                </a:lnTo>
                <a:close/>
              </a:path>
            </a:pathLst>
          </a:custGeom>
          <a:solidFill>
            <a:srgbClr val="F5C3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8" name="Полилиния 1087">
            <a:extLst>
              <a:ext uri="{FF2B5EF4-FFF2-40B4-BE49-F238E27FC236}">
                <a16:creationId xmlns:a16="http://schemas.microsoft.com/office/drawing/2014/main" id="{AC6EBD56-9373-DAF0-2F36-D802A4543049}"/>
              </a:ext>
            </a:extLst>
          </p:cNvPr>
          <p:cNvSpPr/>
          <p:nvPr userDrawn="1"/>
        </p:nvSpPr>
        <p:spPr>
          <a:xfrm>
            <a:off x="21657280" y="6268047"/>
            <a:ext cx="703945" cy="128468"/>
          </a:xfrm>
          <a:custGeom>
            <a:avLst/>
            <a:gdLst>
              <a:gd name="connsiteX0" fmla="*/ 22099 w 603192"/>
              <a:gd name="connsiteY0" fmla="*/ 108588 h 110081"/>
              <a:gd name="connsiteX1" fmla="*/ 10147 w 603192"/>
              <a:gd name="connsiteY1" fmla="*/ 108588 h 110081"/>
              <a:gd name="connsiteX2" fmla="*/ 16434 w 603192"/>
              <a:gd name="connsiteY2" fmla="*/ 77661 h 110081"/>
              <a:gd name="connsiteX3" fmla="*/ 0 w 603192"/>
              <a:gd name="connsiteY3" fmla="*/ 77661 h 110081"/>
              <a:gd name="connsiteX4" fmla="*/ 0 w 603192"/>
              <a:gd name="connsiteY4" fmla="*/ 67206 h 110081"/>
              <a:gd name="connsiteX5" fmla="*/ 18675 w 603192"/>
              <a:gd name="connsiteY5" fmla="*/ 67206 h 110081"/>
              <a:gd name="connsiteX6" fmla="*/ 24215 w 603192"/>
              <a:gd name="connsiteY6" fmla="*/ 40012 h 110081"/>
              <a:gd name="connsiteX7" fmla="*/ 4046 w 603192"/>
              <a:gd name="connsiteY7" fmla="*/ 40012 h 110081"/>
              <a:gd name="connsiteX8" fmla="*/ 4046 w 603192"/>
              <a:gd name="connsiteY8" fmla="*/ 29559 h 110081"/>
              <a:gd name="connsiteX9" fmla="*/ 26269 w 603192"/>
              <a:gd name="connsiteY9" fmla="*/ 29559 h 110081"/>
              <a:gd name="connsiteX10" fmla="*/ 32121 w 603192"/>
              <a:gd name="connsiteY10" fmla="*/ 1493 h 110081"/>
              <a:gd name="connsiteX11" fmla="*/ 44073 w 603192"/>
              <a:gd name="connsiteY11" fmla="*/ 1493 h 110081"/>
              <a:gd name="connsiteX12" fmla="*/ 38221 w 603192"/>
              <a:gd name="connsiteY12" fmla="*/ 29559 h 110081"/>
              <a:gd name="connsiteX13" fmla="*/ 60630 w 603192"/>
              <a:gd name="connsiteY13" fmla="*/ 29559 h 110081"/>
              <a:gd name="connsiteX14" fmla="*/ 66482 w 603192"/>
              <a:gd name="connsiteY14" fmla="*/ 1493 h 110081"/>
              <a:gd name="connsiteX15" fmla="*/ 78434 w 603192"/>
              <a:gd name="connsiteY15" fmla="*/ 1493 h 110081"/>
              <a:gd name="connsiteX16" fmla="*/ 72582 w 603192"/>
              <a:gd name="connsiteY16" fmla="*/ 29559 h 110081"/>
              <a:gd name="connsiteX17" fmla="*/ 89327 w 603192"/>
              <a:gd name="connsiteY17" fmla="*/ 29559 h 110081"/>
              <a:gd name="connsiteX18" fmla="*/ 89327 w 603192"/>
              <a:gd name="connsiteY18" fmla="*/ 40012 h 110081"/>
              <a:gd name="connsiteX19" fmla="*/ 70529 w 603192"/>
              <a:gd name="connsiteY19" fmla="*/ 40012 h 110081"/>
              <a:gd name="connsiteX20" fmla="*/ 64988 w 603192"/>
              <a:gd name="connsiteY20" fmla="*/ 67206 h 110081"/>
              <a:gd name="connsiteX21" fmla="*/ 85282 w 603192"/>
              <a:gd name="connsiteY21" fmla="*/ 67206 h 110081"/>
              <a:gd name="connsiteX22" fmla="*/ 85282 w 603192"/>
              <a:gd name="connsiteY22" fmla="*/ 77661 h 110081"/>
              <a:gd name="connsiteX23" fmla="*/ 62747 w 603192"/>
              <a:gd name="connsiteY23" fmla="*/ 77661 h 110081"/>
              <a:gd name="connsiteX24" fmla="*/ 56460 w 603192"/>
              <a:gd name="connsiteY24" fmla="*/ 108588 h 110081"/>
              <a:gd name="connsiteX25" fmla="*/ 44508 w 603192"/>
              <a:gd name="connsiteY25" fmla="*/ 108588 h 110081"/>
              <a:gd name="connsiteX26" fmla="*/ 50795 w 603192"/>
              <a:gd name="connsiteY26" fmla="*/ 77661 h 110081"/>
              <a:gd name="connsiteX27" fmla="*/ 28386 w 603192"/>
              <a:gd name="connsiteY27" fmla="*/ 77661 h 110081"/>
              <a:gd name="connsiteX28" fmla="*/ 22099 w 603192"/>
              <a:gd name="connsiteY28" fmla="*/ 108588 h 110081"/>
              <a:gd name="connsiteX29" fmla="*/ 30627 w 603192"/>
              <a:gd name="connsiteY29" fmla="*/ 67206 h 110081"/>
              <a:gd name="connsiteX30" fmla="*/ 53036 w 603192"/>
              <a:gd name="connsiteY30" fmla="*/ 67206 h 110081"/>
              <a:gd name="connsiteX31" fmla="*/ 58576 w 603192"/>
              <a:gd name="connsiteY31" fmla="*/ 40012 h 110081"/>
              <a:gd name="connsiteX32" fmla="*/ 36167 w 603192"/>
              <a:gd name="connsiteY32" fmla="*/ 40012 h 110081"/>
              <a:gd name="connsiteX33" fmla="*/ 30627 w 603192"/>
              <a:gd name="connsiteY33" fmla="*/ 67206 h 110081"/>
              <a:gd name="connsiteX34" fmla="*/ 107816 w 603192"/>
              <a:gd name="connsiteY34" fmla="*/ 1493 h 110081"/>
              <a:gd name="connsiteX35" fmla="*/ 173239 w 603192"/>
              <a:gd name="connsiteY35" fmla="*/ 1493 h 110081"/>
              <a:gd name="connsiteX36" fmla="*/ 173239 w 603192"/>
              <a:gd name="connsiteY36" fmla="*/ 14374 h 110081"/>
              <a:gd name="connsiteX37" fmla="*/ 121884 w 603192"/>
              <a:gd name="connsiteY37" fmla="*/ 14374 h 110081"/>
              <a:gd name="connsiteX38" fmla="*/ 121884 w 603192"/>
              <a:gd name="connsiteY38" fmla="*/ 49907 h 110081"/>
              <a:gd name="connsiteX39" fmla="*/ 165520 w 603192"/>
              <a:gd name="connsiteY39" fmla="*/ 49907 h 110081"/>
              <a:gd name="connsiteX40" fmla="*/ 165520 w 603192"/>
              <a:gd name="connsiteY40" fmla="*/ 62601 h 110081"/>
              <a:gd name="connsiteX41" fmla="*/ 121884 w 603192"/>
              <a:gd name="connsiteY41" fmla="*/ 62601 h 110081"/>
              <a:gd name="connsiteX42" fmla="*/ 121884 w 603192"/>
              <a:gd name="connsiteY42" fmla="*/ 108588 h 110081"/>
              <a:gd name="connsiteX43" fmla="*/ 107816 w 603192"/>
              <a:gd name="connsiteY43" fmla="*/ 108588 h 110081"/>
              <a:gd name="connsiteX44" fmla="*/ 107816 w 603192"/>
              <a:gd name="connsiteY44" fmla="*/ 1493 h 110081"/>
              <a:gd name="connsiteX45" fmla="*/ 216627 w 603192"/>
              <a:gd name="connsiteY45" fmla="*/ 110082 h 110081"/>
              <a:gd name="connsiteX46" fmla="*/ 188116 w 603192"/>
              <a:gd name="connsiteY46" fmla="*/ 102490 h 110081"/>
              <a:gd name="connsiteX47" fmla="*/ 188116 w 603192"/>
              <a:gd name="connsiteY47" fmla="*/ 87804 h 110081"/>
              <a:gd name="connsiteX48" fmla="*/ 201251 w 603192"/>
              <a:gd name="connsiteY48" fmla="*/ 95458 h 110081"/>
              <a:gd name="connsiteX49" fmla="*/ 216627 w 603192"/>
              <a:gd name="connsiteY49" fmla="*/ 97823 h 110081"/>
              <a:gd name="connsiteX50" fmla="*/ 233683 w 603192"/>
              <a:gd name="connsiteY50" fmla="*/ 91102 h 110081"/>
              <a:gd name="connsiteX51" fmla="*/ 239783 w 603192"/>
              <a:gd name="connsiteY51" fmla="*/ 73491 h 110081"/>
              <a:gd name="connsiteX52" fmla="*/ 233807 w 603192"/>
              <a:gd name="connsiteY52" fmla="*/ 56441 h 110081"/>
              <a:gd name="connsiteX53" fmla="*/ 218743 w 603192"/>
              <a:gd name="connsiteY53" fmla="*/ 51089 h 110081"/>
              <a:gd name="connsiteX54" fmla="*/ 208099 w 603192"/>
              <a:gd name="connsiteY54" fmla="*/ 53329 h 110081"/>
              <a:gd name="connsiteX55" fmla="*/ 201998 w 603192"/>
              <a:gd name="connsiteY55" fmla="*/ 57810 h 110081"/>
              <a:gd name="connsiteX56" fmla="*/ 191105 w 603192"/>
              <a:gd name="connsiteY56" fmla="*/ 57810 h 110081"/>
              <a:gd name="connsiteX57" fmla="*/ 191105 w 603192"/>
              <a:gd name="connsiteY57" fmla="*/ 1493 h 110081"/>
              <a:gd name="connsiteX58" fmla="*/ 249058 w 603192"/>
              <a:gd name="connsiteY58" fmla="*/ 1493 h 110081"/>
              <a:gd name="connsiteX59" fmla="*/ 249058 w 603192"/>
              <a:gd name="connsiteY59" fmla="*/ 14374 h 110081"/>
              <a:gd name="connsiteX60" fmla="*/ 203368 w 603192"/>
              <a:gd name="connsiteY60" fmla="*/ 14374 h 110081"/>
              <a:gd name="connsiteX61" fmla="*/ 203368 w 603192"/>
              <a:gd name="connsiteY61" fmla="*/ 44991 h 110081"/>
              <a:gd name="connsiteX62" fmla="*/ 210650 w 603192"/>
              <a:gd name="connsiteY62" fmla="*/ 41071 h 110081"/>
              <a:gd name="connsiteX63" fmla="*/ 220984 w 603192"/>
              <a:gd name="connsiteY63" fmla="*/ 39266 h 110081"/>
              <a:gd name="connsiteX64" fmla="*/ 237729 w 603192"/>
              <a:gd name="connsiteY64" fmla="*/ 43186 h 110081"/>
              <a:gd name="connsiteX65" fmla="*/ 249494 w 603192"/>
              <a:gd name="connsiteY65" fmla="*/ 54512 h 110081"/>
              <a:gd name="connsiteX66" fmla="*/ 253976 w 603192"/>
              <a:gd name="connsiteY66" fmla="*/ 73181 h 110081"/>
              <a:gd name="connsiteX67" fmla="*/ 249370 w 603192"/>
              <a:gd name="connsiteY67" fmla="*/ 92596 h 110081"/>
              <a:gd name="connsiteX68" fmla="*/ 236484 w 603192"/>
              <a:gd name="connsiteY68" fmla="*/ 105601 h 110081"/>
              <a:gd name="connsiteX69" fmla="*/ 216627 w 603192"/>
              <a:gd name="connsiteY69" fmla="*/ 110082 h 110081"/>
              <a:gd name="connsiteX70" fmla="*/ 321329 w 603192"/>
              <a:gd name="connsiteY70" fmla="*/ 110082 h 110081"/>
              <a:gd name="connsiteX71" fmla="*/ 293566 w 603192"/>
              <a:gd name="connsiteY71" fmla="*/ 103486 h 110081"/>
              <a:gd name="connsiteX72" fmla="*/ 275203 w 603192"/>
              <a:gd name="connsiteY72" fmla="*/ 84693 h 110081"/>
              <a:gd name="connsiteX73" fmla="*/ 268604 w 603192"/>
              <a:gd name="connsiteY73" fmla="*/ 55134 h 110081"/>
              <a:gd name="connsiteX74" fmla="*/ 282175 w 603192"/>
              <a:gd name="connsiteY74" fmla="*/ 14810 h 110081"/>
              <a:gd name="connsiteX75" fmla="*/ 321018 w 603192"/>
              <a:gd name="connsiteY75" fmla="*/ 186 h 110081"/>
              <a:gd name="connsiteX76" fmla="*/ 338946 w 603192"/>
              <a:gd name="connsiteY76" fmla="*/ 2240 h 110081"/>
              <a:gd name="connsiteX77" fmla="*/ 353637 w 603192"/>
              <a:gd name="connsiteY77" fmla="*/ 7902 h 110081"/>
              <a:gd name="connsiteX78" fmla="*/ 353637 w 603192"/>
              <a:gd name="connsiteY78" fmla="*/ 21344 h 110081"/>
              <a:gd name="connsiteX79" fmla="*/ 338510 w 603192"/>
              <a:gd name="connsiteY79" fmla="*/ 15121 h 110081"/>
              <a:gd name="connsiteX80" fmla="*/ 320894 w 603192"/>
              <a:gd name="connsiteY80" fmla="*/ 12881 h 110081"/>
              <a:gd name="connsiteX81" fmla="*/ 292944 w 603192"/>
              <a:gd name="connsiteY81" fmla="*/ 23459 h 110081"/>
              <a:gd name="connsiteX82" fmla="*/ 283855 w 603192"/>
              <a:gd name="connsiteY82" fmla="*/ 55134 h 110081"/>
              <a:gd name="connsiteX83" fmla="*/ 293691 w 603192"/>
              <a:gd name="connsiteY83" fmla="*/ 86933 h 110081"/>
              <a:gd name="connsiteX84" fmla="*/ 322512 w 603192"/>
              <a:gd name="connsiteY84" fmla="*/ 97387 h 110081"/>
              <a:gd name="connsiteX85" fmla="*/ 353637 w 603192"/>
              <a:gd name="connsiteY85" fmla="*/ 87555 h 110081"/>
              <a:gd name="connsiteX86" fmla="*/ 353637 w 603192"/>
              <a:gd name="connsiteY86" fmla="*/ 100997 h 110081"/>
              <a:gd name="connsiteX87" fmla="*/ 339693 w 603192"/>
              <a:gd name="connsiteY87" fmla="*/ 107717 h 110081"/>
              <a:gd name="connsiteX88" fmla="*/ 321329 w 603192"/>
              <a:gd name="connsiteY88" fmla="*/ 110082 h 110081"/>
              <a:gd name="connsiteX89" fmla="*/ 387375 w 603192"/>
              <a:gd name="connsiteY89" fmla="*/ 58992 h 110081"/>
              <a:gd name="connsiteX90" fmla="*/ 387375 w 603192"/>
              <a:gd name="connsiteY90" fmla="*/ 46298 h 110081"/>
              <a:gd name="connsiteX91" fmla="*/ 401693 w 603192"/>
              <a:gd name="connsiteY91" fmla="*/ 46298 h 110081"/>
              <a:gd name="connsiteX92" fmla="*/ 415325 w 603192"/>
              <a:gd name="connsiteY92" fmla="*/ 41817 h 110081"/>
              <a:gd name="connsiteX93" fmla="*/ 420679 w 603192"/>
              <a:gd name="connsiteY93" fmla="*/ 28812 h 110081"/>
              <a:gd name="connsiteX94" fmla="*/ 415761 w 603192"/>
              <a:gd name="connsiteY94" fmla="*/ 16864 h 110081"/>
              <a:gd name="connsiteX95" fmla="*/ 401568 w 603192"/>
              <a:gd name="connsiteY95" fmla="*/ 12383 h 110081"/>
              <a:gd name="connsiteX96" fmla="*/ 386940 w 603192"/>
              <a:gd name="connsiteY96" fmla="*/ 15246 h 110081"/>
              <a:gd name="connsiteX97" fmla="*/ 372871 w 603192"/>
              <a:gd name="connsiteY97" fmla="*/ 24331 h 110081"/>
              <a:gd name="connsiteX98" fmla="*/ 372871 w 603192"/>
              <a:gd name="connsiteY98" fmla="*/ 9707 h 110081"/>
              <a:gd name="connsiteX99" fmla="*/ 401693 w 603192"/>
              <a:gd name="connsiteY99" fmla="*/ 0 h 110081"/>
              <a:gd name="connsiteX100" fmla="*/ 425783 w 603192"/>
              <a:gd name="connsiteY100" fmla="*/ 7779 h 110081"/>
              <a:gd name="connsiteX101" fmla="*/ 434560 w 603192"/>
              <a:gd name="connsiteY101" fmla="*/ 28065 h 110081"/>
              <a:gd name="connsiteX102" fmla="*/ 428895 w 603192"/>
              <a:gd name="connsiteY102" fmla="*/ 44244 h 110081"/>
              <a:gd name="connsiteX103" fmla="*/ 415574 w 603192"/>
              <a:gd name="connsiteY103" fmla="*/ 52147 h 110081"/>
              <a:gd name="connsiteX104" fmla="*/ 427090 w 603192"/>
              <a:gd name="connsiteY104" fmla="*/ 56441 h 110081"/>
              <a:gd name="connsiteX105" fmla="*/ 435743 w 603192"/>
              <a:gd name="connsiteY105" fmla="*/ 65153 h 110081"/>
              <a:gd name="connsiteX106" fmla="*/ 439042 w 603192"/>
              <a:gd name="connsiteY106" fmla="*/ 77661 h 110081"/>
              <a:gd name="connsiteX107" fmla="*/ 434124 w 603192"/>
              <a:gd name="connsiteY107" fmla="*/ 94836 h 110081"/>
              <a:gd name="connsiteX108" fmla="*/ 420554 w 603192"/>
              <a:gd name="connsiteY108" fmla="*/ 106224 h 110081"/>
              <a:gd name="connsiteX109" fmla="*/ 400634 w 603192"/>
              <a:gd name="connsiteY109" fmla="*/ 110082 h 110081"/>
              <a:gd name="connsiteX110" fmla="*/ 370194 w 603192"/>
              <a:gd name="connsiteY110" fmla="*/ 100997 h 110081"/>
              <a:gd name="connsiteX111" fmla="*/ 370194 w 603192"/>
              <a:gd name="connsiteY111" fmla="*/ 86062 h 110081"/>
              <a:gd name="connsiteX112" fmla="*/ 383952 w 603192"/>
              <a:gd name="connsiteY112" fmla="*/ 94711 h 110081"/>
              <a:gd name="connsiteX113" fmla="*/ 400821 w 603192"/>
              <a:gd name="connsiteY113" fmla="*/ 97823 h 110081"/>
              <a:gd name="connsiteX114" fmla="*/ 418126 w 603192"/>
              <a:gd name="connsiteY114" fmla="*/ 92596 h 110081"/>
              <a:gd name="connsiteX115" fmla="*/ 424538 w 603192"/>
              <a:gd name="connsiteY115" fmla="*/ 77972 h 110081"/>
              <a:gd name="connsiteX116" fmla="*/ 418749 w 603192"/>
              <a:gd name="connsiteY116" fmla="*/ 64095 h 110081"/>
              <a:gd name="connsiteX117" fmla="*/ 401133 w 603192"/>
              <a:gd name="connsiteY117" fmla="*/ 58992 h 110081"/>
              <a:gd name="connsiteX118" fmla="*/ 387375 w 603192"/>
              <a:gd name="connsiteY118" fmla="*/ 58992 h 110081"/>
              <a:gd name="connsiteX119" fmla="*/ 486102 w 603192"/>
              <a:gd name="connsiteY119" fmla="*/ 110082 h 110081"/>
              <a:gd name="connsiteX120" fmla="*/ 467863 w 603192"/>
              <a:gd name="connsiteY120" fmla="*/ 104233 h 110081"/>
              <a:gd name="connsiteX121" fmla="*/ 455164 w 603192"/>
              <a:gd name="connsiteY121" fmla="*/ 86311 h 110081"/>
              <a:gd name="connsiteX122" fmla="*/ 450683 w 603192"/>
              <a:gd name="connsiteY122" fmla="*/ 54947 h 110081"/>
              <a:gd name="connsiteX123" fmla="*/ 455164 w 603192"/>
              <a:gd name="connsiteY123" fmla="*/ 23584 h 110081"/>
              <a:gd name="connsiteX124" fmla="*/ 467863 w 603192"/>
              <a:gd name="connsiteY124" fmla="*/ 5849 h 110081"/>
              <a:gd name="connsiteX125" fmla="*/ 486102 w 603192"/>
              <a:gd name="connsiteY125" fmla="*/ 186 h 110081"/>
              <a:gd name="connsiteX126" fmla="*/ 504154 w 603192"/>
              <a:gd name="connsiteY126" fmla="*/ 5849 h 110081"/>
              <a:gd name="connsiteX127" fmla="*/ 516542 w 603192"/>
              <a:gd name="connsiteY127" fmla="*/ 23584 h 110081"/>
              <a:gd name="connsiteX128" fmla="*/ 521024 w 603192"/>
              <a:gd name="connsiteY128" fmla="*/ 54698 h 110081"/>
              <a:gd name="connsiteX129" fmla="*/ 516542 w 603192"/>
              <a:gd name="connsiteY129" fmla="*/ 86062 h 110081"/>
              <a:gd name="connsiteX130" fmla="*/ 504154 w 603192"/>
              <a:gd name="connsiteY130" fmla="*/ 104233 h 110081"/>
              <a:gd name="connsiteX131" fmla="*/ 486102 w 603192"/>
              <a:gd name="connsiteY131" fmla="*/ 110082 h 110081"/>
              <a:gd name="connsiteX132" fmla="*/ 485916 w 603192"/>
              <a:gd name="connsiteY132" fmla="*/ 98258 h 110081"/>
              <a:gd name="connsiteX133" fmla="*/ 497307 w 603192"/>
              <a:gd name="connsiteY133" fmla="*/ 94275 h 110081"/>
              <a:gd name="connsiteX134" fmla="*/ 504466 w 603192"/>
              <a:gd name="connsiteY134" fmla="*/ 80648 h 110081"/>
              <a:gd name="connsiteX135" fmla="*/ 507018 w 603192"/>
              <a:gd name="connsiteY135" fmla="*/ 55134 h 110081"/>
              <a:gd name="connsiteX136" fmla="*/ 504590 w 603192"/>
              <a:gd name="connsiteY136" fmla="*/ 29745 h 110081"/>
              <a:gd name="connsiteX137" fmla="*/ 497432 w 603192"/>
              <a:gd name="connsiteY137" fmla="*/ 16117 h 110081"/>
              <a:gd name="connsiteX138" fmla="*/ 486102 w 603192"/>
              <a:gd name="connsiteY138" fmla="*/ 11947 h 110081"/>
              <a:gd name="connsiteX139" fmla="*/ 474586 w 603192"/>
              <a:gd name="connsiteY139" fmla="*/ 16117 h 110081"/>
              <a:gd name="connsiteX140" fmla="*/ 467241 w 603192"/>
              <a:gd name="connsiteY140" fmla="*/ 29745 h 110081"/>
              <a:gd name="connsiteX141" fmla="*/ 464751 w 603192"/>
              <a:gd name="connsiteY141" fmla="*/ 55134 h 110081"/>
              <a:gd name="connsiteX142" fmla="*/ 467116 w 603192"/>
              <a:gd name="connsiteY142" fmla="*/ 80648 h 110081"/>
              <a:gd name="connsiteX143" fmla="*/ 474461 w 603192"/>
              <a:gd name="connsiteY143" fmla="*/ 94275 h 110081"/>
              <a:gd name="connsiteX144" fmla="*/ 485916 w 603192"/>
              <a:gd name="connsiteY144" fmla="*/ 98258 h 110081"/>
              <a:gd name="connsiteX145" fmla="*/ 568209 w 603192"/>
              <a:gd name="connsiteY145" fmla="*/ 110082 h 110081"/>
              <a:gd name="connsiteX146" fmla="*/ 549969 w 603192"/>
              <a:gd name="connsiteY146" fmla="*/ 104233 h 110081"/>
              <a:gd name="connsiteX147" fmla="*/ 537271 w 603192"/>
              <a:gd name="connsiteY147" fmla="*/ 86311 h 110081"/>
              <a:gd name="connsiteX148" fmla="*/ 532789 w 603192"/>
              <a:gd name="connsiteY148" fmla="*/ 54947 h 110081"/>
              <a:gd name="connsiteX149" fmla="*/ 537271 w 603192"/>
              <a:gd name="connsiteY149" fmla="*/ 23584 h 110081"/>
              <a:gd name="connsiteX150" fmla="*/ 549969 w 603192"/>
              <a:gd name="connsiteY150" fmla="*/ 5849 h 110081"/>
              <a:gd name="connsiteX151" fmla="*/ 568209 w 603192"/>
              <a:gd name="connsiteY151" fmla="*/ 186 h 110081"/>
              <a:gd name="connsiteX152" fmla="*/ 586323 w 603192"/>
              <a:gd name="connsiteY152" fmla="*/ 5849 h 110081"/>
              <a:gd name="connsiteX153" fmla="*/ 598711 w 603192"/>
              <a:gd name="connsiteY153" fmla="*/ 23584 h 110081"/>
              <a:gd name="connsiteX154" fmla="*/ 603192 w 603192"/>
              <a:gd name="connsiteY154" fmla="*/ 54698 h 110081"/>
              <a:gd name="connsiteX155" fmla="*/ 598711 w 603192"/>
              <a:gd name="connsiteY155" fmla="*/ 86062 h 110081"/>
              <a:gd name="connsiteX156" fmla="*/ 586323 w 603192"/>
              <a:gd name="connsiteY156" fmla="*/ 104233 h 110081"/>
              <a:gd name="connsiteX157" fmla="*/ 568209 w 603192"/>
              <a:gd name="connsiteY157" fmla="*/ 110082 h 110081"/>
              <a:gd name="connsiteX158" fmla="*/ 568084 w 603192"/>
              <a:gd name="connsiteY158" fmla="*/ 98258 h 110081"/>
              <a:gd name="connsiteX159" fmla="*/ 579414 w 603192"/>
              <a:gd name="connsiteY159" fmla="*/ 94275 h 110081"/>
              <a:gd name="connsiteX160" fmla="*/ 586572 w 603192"/>
              <a:gd name="connsiteY160" fmla="*/ 80648 h 110081"/>
              <a:gd name="connsiteX161" fmla="*/ 589124 w 603192"/>
              <a:gd name="connsiteY161" fmla="*/ 55134 h 110081"/>
              <a:gd name="connsiteX162" fmla="*/ 586759 w 603192"/>
              <a:gd name="connsiteY162" fmla="*/ 29745 h 110081"/>
              <a:gd name="connsiteX163" fmla="*/ 579600 w 603192"/>
              <a:gd name="connsiteY163" fmla="*/ 16117 h 110081"/>
              <a:gd name="connsiteX164" fmla="*/ 568209 w 603192"/>
              <a:gd name="connsiteY164" fmla="*/ 11947 h 110081"/>
              <a:gd name="connsiteX165" fmla="*/ 556693 w 603192"/>
              <a:gd name="connsiteY165" fmla="*/ 16117 h 110081"/>
              <a:gd name="connsiteX166" fmla="*/ 549409 w 603192"/>
              <a:gd name="connsiteY166" fmla="*/ 29745 h 110081"/>
              <a:gd name="connsiteX167" fmla="*/ 546857 w 603192"/>
              <a:gd name="connsiteY167" fmla="*/ 55134 h 110081"/>
              <a:gd name="connsiteX168" fmla="*/ 549222 w 603192"/>
              <a:gd name="connsiteY168" fmla="*/ 80648 h 110081"/>
              <a:gd name="connsiteX169" fmla="*/ 556568 w 603192"/>
              <a:gd name="connsiteY169" fmla="*/ 94275 h 110081"/>
              <a:gd name="connsiteX170" fmla="*/ 568084 w 603192"/>
              <a:gd name="connsiteY17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</a:cxnLst>
            <a:rect l="l" t="t" r="r" b="b"/>
            <a:pathLst>
              <a:path w="60319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216627" y="110082"/>
                </a:moveTo>
                <a:cubicBezTo>
                  <a:pt x="204675" y="110082"/>
                  <a:pt x="195150" y="107530"/>
                  <a:pt x="188116" y="102490"/>
                </a:cubicBezTo>
                <a:lnTo>
                  <a:pt x="188116" y="87804"/>
                </a:lnTo>
                <a:cubicBezTo>
                  <a:pt x="192287" y="91226"/>
                  <a:pt x="196644" y="93778"/>
                  <a:pt x="201251" y="95458"/>
                </a:cubicBezTo>
                <a:cubicBezTo>
                  <a:pt x="205858" y="97014"/>
                  <a:pt x="210962" y="97823"/>
                  <a:pt x="216627" y="97823"/>
                </a:cubicBezTo>
                <a:cubicBezTo>
                  <a:pt x="224034" y="97823"/>
                  <a:pt x="229699" y="95583"/>
                  <a:pt x="233683" y="91102"/>
                </a:cubicBezTo>
                <a:cubicBezTo>
                  <a:pt x="237729" y="86621"/>
                  <a:pt x="239783" y="80772"/>
                  <a:pt x="239783" y="73491"/>
                </a:cubicBezTo>
                <a:cubicBezTo>
                  <a:pt x="239783" y="65713"/>
                  <a:pt x="237791" y="60050"/>
                  <a:pt x="233807" y="56441"/>
                </a:cubicBezTo>
                <a:cubicBezTo>
                  <a:pt x="229823" y="52894"/>
                  <a:pt x="224781" y="51089"/>
                  <a:pt x="218743" y="51089"/>
                </a:cubicBezTo>
                <a:cubicBezTo>
                  <a:pt x="214323" y="51089"/>
                  <a:pt x="210837" y="51836"/>
                  <a:pt x="208099" y="53329"/>
                </a:cubicBezTo>
                <a:cubicBezTo>
                  <a:pt x="205422" y="54698"/>
                  <a:pt x="203368" y="56192"/>
                  <a:pt x="201998" y="57810"/>
                </a:cubicBezTo>
                <a:lnTo>
                  <a:pt x="191105" y="57810"/>
                </a:lnTo>
                <a:lnTo>
                  <a:pt x="191105" y="1493"/>
                </a:lnTo>
                <a:lnTo>
                  <a:pt x="249058" y="1493"/>
                </a:lnTo>
                <a:lnTo>
                  <a:pt x="249058" y="14374"/>
                </a:lnTo>
                <a:lnTo>
                  <a:pt x="203368" y="14374"/>
                </a:lnTo>
                <a:lnTo>
                  <a:pt x="203368" y="44991"/>
                </a:lnTo>
                <a:cubicBezTo>
                  <a:pt x="205359" y="43498"/>
                  <a:pt x="207787" y="42190"/>
                  <a:pt x="210650" y="41071"/>
                </a:cubicBezTo>
                <a:cubicBezTo>
                  <a:pt x="213577" y="39888"/>
                  <a:pt x="217000" y="39266"/>
                  <a:pt x="220984" y="39266"/>
                </a:cubicBezTo>
                <a:cubicBezTo>
                  <a:pt x="227146" y="39266"/>
                  <a:pt x="232749" y="40572"/>
                  <a:pt x="237729" y="43186"/>
                </a:cubicBezTo>
                <a:cubicBezTo>
                  <a:pt x="242709" y="45675"/>
                  <a:pt x="246630" y="49471"/>
                  <a:pt x="249494" y="54512"/>
                </a:cubicBezTo>
                <a:cubicBezTo>
                  <a:pt x="252482" y="59490"/>
                  <a:pt x="253976" y="65713"/>
                  <a:pt x="253976" y="73181"/>
                </a:cubicBezTo>
                <a:cubicBezTo>
                  <a:pt x="253976" y="80586"/>
                  <a:pt x="252420" y="87058"/>
                  <a:pt x="249370" y="92596"/>
                </a:cubicBezTo>
                <a:cubicBezTo>
                  <a:pt x="246382" y="98196"/>
                  <a:pt x="242086" y="102490"/>
                  <a:pt x="236484" y="105601"/>
                </a:cubicBezTo>
                <a:cubicBezTo>
                  <a:pt x="230943" y="108588"/>
                  <a:pt x="224283" y="110082"/>
                  <a:pt x="216627" y="110082"/>
                </a:cubicBezTo>
                <a:close/>
                <a:moveTo>
                  <a:pt x="321329" y="110082"/>
                </a:moveTo>
                <a:cubicBezTo>
                  <a:pt x="310809" y="110082"/>
                  <a:pt x="301534" y="107904"/>
                  <a:pt x="293566" y="103486"/>
                </a:cubicBezTo>
                <a:cubicBezTo>
                  <a:pt x="285661" y="99129"/>
                  <a:pt x="279560" y="92844"/>
                  <a:pt x="275203" y="84693"/>
                </a:cubicBezTo>
                <a:cubicBezTo>
                  <a:pt x="270783" y="76416"/>
                  <a:pt x="268604" y="66584"/>
                  <a:pt x="268604" y="55134"/>
                </a:cubicBezTo>
                <a:cubicBezTo>
                  <a:pt x="268604" y="37897"/>
                  <a:pt x="273148" y="24455"/>
                  <a:pt x="282175" y="14810"/>
                </a:cubicBezTo>
                <a:cubicBezTo>
                  <a:pt x="291263" y="5040"/>
                  <a:pt x="304211" y="186"/>
                  <a:pt x="321018" y="186"/>
                </a:cubicBezTo>
                <a:cubicBezTo>
                  <a:pt x="327305" y="186"/>
                  <a:pt x="333281" y="871"/>
                  <a:pt x="338946" y="2240"/>
                </a:cubicBezTo>
                <a:cubicBezTo>
                  <a:pt x="344735" y="3547"/>
                  <a:pt x="349653" y="5414"/>
                  <a:pt x="353637" y="7902"/>
                </a:cubicBezTo>
                <a:lnTo>
                  <a:pt x="353637" y="21344"/>
                </a:lnTo>
                <a:cubicBezTo>
                  <a:pt x="349341" y="18669"/>
                  <a:pt x="344299" y="16615"/>
                  <a:pt x="338510" y="15121"/>
                </a:cubicBezTo>
                <a:cubicBezTo>
                  <a:pt x="332845" y="13628"/>
                  <a:pt x="326994" y="12881"/>
                  <a:pt x="320894" y="12881"/>
                </a:cubicBezTo>
                <a:cubicBezTo>
                  <a:pt x="308319" y="12881"/>
                  <a:pt x="299044" y="16366"/>
                  <a:pt x="292944" y="23459"/>
                </a:cubicBezTo>
                <a:cubicBezTo>
                  <a:pt x="286905" y="30554"/>
                  <a:pt x="283855" y="41071"/>
                  <a:pt x="283855" y="55134"/>
                </a:cubicBezTo>
                <a:cubicBezTo>
                  <a:pt x="283855" y="69260"/>
                  <a:pt x="287154" y="79839"/>
                  <a:pt x="293691" y="86933"/>
                </a:cubicBezTo>
                <a:cubicBezTo>
                  <a:pt x="300289" y="93902"/>
                  <a:pt x="309875" y="97387"/>
                  <a:pt x="322512" y="97387"/>
                </a:cubicBezTo>
                <a:cubicBezTo>
                  <a:pt x="334463" y="97387"/>
                  <a:pt x="344859" y="94089"/>
                  <a:pt x="353637" y="87555"/>
                </a:cubicBezTo>
                <a:lnTo>
                  <a:pt x="353637" y="100997"/>
                </a:lnTo>
                <a:cubicBezTo>
                  <a:pt x="350150" y="103734"/>
                  <a:pt x="345482" y="105974"/>
                  <a:pt x="339693" y="107717"/>
                </a:cubicBezTo>
                <a:cubicBezTo>
                  <a:pt x="333966" y="109273"/>
                  <a:pt x="327803" y="110082"/>
                  <a:pt x="321329" y="110082"/>
                </a:cubicBezTo>
                <a:close/>
                <a:moveTo>
                  <a:pt x="387375" y="58992"/>
                </a:moveTo>
                <a:lnTo>
                  <a:pt x="387375" y="46298"/>
                </a:lnTo>
                <a:lnTo>
                  <a:pt x="401693" y="46298"/>
                </a:lnTo>
                <a:cubicBezTo>
                  <a:pt x="407295" y="46298"/>
                  <a:pt x="411839" y="44804"/>
                  <a:pt x="415325" y="41817"/>
                </a:cubicBezTo>
                <a:cubicBezTo>
                  <a:pt x="418873" y="38768"/>
                  <a:pt x="420679" y="34412"/>
                  <a:pt x="420679" y="28812"/>
                </a:cubicBezTo>
                <a:cubicBezTo>
                  <a:pt x="420679" y="23771"/>
                  <a:pt x="419060" y="19788"/>
                  <a:pt x="415761" y="16864"/>
                </a:cubicBezTo>
                <a:cubicBezTo>
                  <a:pt x="412462" y="13877"/>
                  <a:pt x="407731" y="12383"/>
                  <a:pt x="401568" y="12383"/>
                </a:cubicBezTo>
                <a:cubicBezTo>
                  <a:pt x="396402" y="12383"/>
                  <a:pt x="391484" y="13379"/>
                  <a:pt x="386940" y="15246"/>
                </a:cubicBezTo>
                <a:cubicBezTo>
                  <a:pt x="382458" y="17113"/>
                  <a:pt x="377727" y="20162"/>
                  <a:pt x="372871" y="24331"/>
                </a:cubicBezTo>
                <a:lnTo>
                  <a:pt x="372871" y="9707"/>
                </a:lnTo>
                <a:cubicBezTo>
                  <a:pt x="380839" y="3235"/>
                  <a:pt x="390425" y="0"/>
                  <a:pt x="401693" y="0"/>
                </a:cubicBezTo>
                <a:cubicBezTo>
                  <a:pt x="411964" y="0"/>
                  <a:pt x="419993" y="2613"/>
                  <a:pt x="425783" y="7779"/>
                </a:cubicBezTo>
                <a:cubicBezTo>
                  <a:pt x="431634" y="12943"/>
                  <a:pt x="434560" y="19726"/>
                  <a:pt x="434560" y="28065"/>
                </a:cubicBezTo>
                <a:cubicBezTo>
                  <a:pt x="434560" y="34848"/>
                  <a:pt x="432693" y="40262"/>
                  <a:pt x="428895" y="44244"/>
                </a:cubicBezTo>
                <a:cubicBezTo>
                  <a:pt x="425223" y="48227"/>
                  <a:pt x="420803" y="50840"/>
                  <a:pt x="415574" y="52147"/>
                </a:cubicBezTo>
                <a:cubicBezTo>
                  <a:pt x="419807" y="52707"/>
                  <a:pt x="423604" y="54201"/>
                  <a:pt x="427090" y="56441"/>
                </a:cubicBezTo>
                <a:cubicBezTo>
                  <a:pt x="430701" y="58681"/>
                  <a:pt x="433564" y="61543"/>
                  <a:pt x="435743" y="65153"/>
                </a:cubicBezTo>
                <a:cubicBezTo>
                  <a:pt x="437984" y="68700"/>
                  <a:pt x="439042" y="72869"/>
                  <a:pt x="439042" y="77661"/>
                </a:cubicBezTo>
                <a:cubicBezTo>
                  <a:pt x="439042" y="84257"/>
                  <a:pt x="437423" y="89982"/>
                  <a:pt x="434124" y="94836"/>
                </a:cubicBezTo>
                <a:cubicBezTo>
                  <a:pt x="430826" y="99752"/>
                  <a:pt x="426281" y="103486"/>
                  <a:pt x="420554" y="106224"/>
                </a:cubicBezTo>
                <a:cubicBezTo>
                  <a:pt x="414827" y="108775"/>
                  <a:pt x="408229" y="110082"/>
                  <a:pt x="400634" y="110082"/>
                </a:cubicBezTo>
                <a:cubicBezTo>
                  <a:pt x="387500" y="110082"/>
                  <a:pt x="377353" y="107033"/>
                  <a:pt x="370194" y="100997"/>
                </a:cubicBezTo>
                <a:lnTo>
                  <a:pt x="370194" y="86062"/>
                </a:lnTo>
                <a:cubicBezTo>
                  <a:pt x="373992" y="89733"/>
                  <a:pt x="378536" y="92596"/>
                  <a:pt x="383952" y="94711"/>
                </a:cubicBezTo>
                <a:cubicBezTo>
                  <a:pt x="389305" y="96765"/>
                  <a:pt x="394908" y="97823"/>
                  <a:pt x="400821" y="97823"/>
                </a:cubicBezTo>
                <a:cubicBezTo>
                  <a:pt x="408167" y="97823"/>
                  <a:pt x="413956" y="96080"/>
                  <a:pt x="418126" y="92596"/>
                </a:cubicBezTo>
                <a:cubicBezTo>
                  <a:pt x="422421" y="89048"/>
                  <a:pt x="424538" y="84132"/>
                  <a:pt x="424538" y="77972"/>
                </a:cubicBezTo>
                <a:cubicBezTo>
                  <a:pt x="424538" y="71998"/>
                  <a:pt x="422608" y="67393"/>
                  <a:pt x="418749" y="64095"/>
                </a:cubicBezTo>
                <a:cubicBezTo>
                  <a:pt x="414952" y="60673"/>
                  <a:pt x="409100" y="58992"/>
                  <a:pt x="401133" y="58992"/>
                </a:cubicBezTo>
                <a:lnTo>
                  <a:pt x="387375" y="58992"/>
                </a:lnTo>
                <a:close/>
                <a:moveTo>
                  <a:pt x="486102" y="110082"/>
                </a:moveTo>
                <a:cubicBezTo>
                  <a:pt x="479317" y="110082"/>
                  <a:pt x="473217" y="108153"/>
                  <a:pt x="467863" y="104233"/>
                </a:cubicBezTo>
                <a:cubicBezTo>
                  <a:pt x="462510" y="100374"/>
                  <a:pt x="458277" y="94400"/>
                  <a:pt x="455164" y="86311"/>
                </a:cubicBezTo>
                <a:cubicBezTo>
                  <a:pt x="452176" y="78159"/>
                  <a:pt x="450683" y="67705"/>
                  <a:pt x="450683" y="54947"/>
                </a:cubicBezTo>
                <a:cubicBezTo>
                  <a:pt x="450683" y="42128"/>
                  <a:pt x="452176" y="31674"/>
                  <a:pt x="455164" y="23584"/>
                </a:cubicBezTo>
                <a:cubicBezTo>
                  <a:pt x="458277" y="15557"/>
                  <a:pt x="462510" y="9645"/>
                  <a:pt x="467863" y="5849"/>
                </a:cubicBezTo>
                <a:cubicBezTo>
                  <a:pt x="473217" y="2053"/>
                  <a:pt x="479317" y="186"/>
                  <a:pt x="486102" y="186"/>
                </a:cubicBezTo>
                <a:cubicBezTo>
                  <a:pt x="492888" y="186"/>
                  <a:pt x="498863" y="2053"/>
                  <a:pt x="504154" y="5849"/>
                </a:cubicBezTo>
                <a:cubicBezTo>
                  <a:pt x="509445" y="9645"/>
                  <a:pt x="513554" y="15557"/>
                  <a:pt x="516542" y="23584"/>
                </a:cubicBezTo>
                <a:cubicBezTo>
                  <a:pt x="519530" y="31549"/>
                  <a:pt x="521024" y="41942"/>
                  <a:pt x="521024" y="54698"/>
                </a:cubicBezTo>
                <a:cubicBezTo>
                  <a:pt x="521024" y="67331"/>
                  <a:pt x="519530" y="77786"/>
                  <a:pt x="516542" y="86062"/>
                </a:cubicBezTo>
                <a:cubicBezTo>
                  <a:pt x="513554" y="94213"/>
                  <a:pt x="509445" y="100250"/>
                  <a:pt x="504154" y="104233"/>
                </a:cubicBezTo>
                <a:cubicBezTo>
                  <a:pt x="498863" y="108153"/>
                  <a:pt x="492888" y="110082"/>
                  <a:pt x="486102" y="110082"/>
                </a:cubicBezTo>
                <a:close/>
                <a:moveTo>
                  <a:pt x="485916" y="98258"/>
                </a:moveTo>
                <a:cubicBezTo>
                  <a:pt x="490397" y="98258"/>
                  <a:pt x="494195" y="96952"/>
                  <a:pt x="497307" y="94275"/>
                </a:cubicBezTo>
                <a:cubicBezTo>
                  <a:pt x="500482" y="91475"/>
                  <a:pt x="502847" y="86933"/>
                  <a:pt x="504466" y="80648"/>
                </a:cubicBezTo>
                <a:cubicBezTo>
                  <a:pt x="506147" y="74300"/>
                  <a:pt x="507018" y="65775"/>
                  <a:pt x="507018" y="55134"/>
                </a:cubicBezTo>
                <a:cubicBezTo>
                  <a:pt x="507018" y="44493"/>
                  <a:pt x="506209" y="36030"/>
                  <a:pt x="504590" y="29745"/>
                </a:cubicBezTo>
                <a:cubicBezTo>
                  <a:pt x="503034" y="23336"/>
                  <a:pt x="500606" y="18855"/>
                  <a:pt x="497432" y="16117"/>
                </a:cubicBezTo>
                <a:cubicBezTo>
                  <a:pt x="494381" y="13379"/>
                  <a:pt x="490584" y="11947"/>
                  <a:pt x="486102" y="11947"/>
                </a:cubicBezTo>
                <a:cubicBezTo>
                  <a:pt x="481620" y="11947"/>
                  <a:pt x="477761" y="13379"/>
                  <a:pt x="474586" y="16117"/>
                </a:cubicBezTo>
                <a:cubicBezTo>
                  <a:pt x="471411" y="18855"/>
                  <a:pt x="468983" y="23336"/>
                  <a:pt x="467241" y="29745"/>
                </a:cubicBezTo>
                <a:cubicBezTo>
                  <a:pt x="465560" y="36030"/>
                  <a:pt x="464751" y="44493"/>
                  <a:pt x="464751" y="55134"/>
                </a:cubicBezTo>
                <a:cubicBezTo>
                  <a:pt x="464751" y="65775"/>
                  <a:pt x="465498" y="74300"/>
                  <a:pt x="467116" y="80648"/>
                </a:cubicBezTo>
                <a:cubicBezTo>
                  <a:pt x="468797" y="86933"/>
                  <a:pt x="471225" y="91475"/>
                  <a:pt x="474461" y="94275"/>
                </a:cubicBezTo>
                <a:cubicBezTo>
                  <a:pt x="477636" y="96952"/>
                  <a:pt x="481433" y="98258"/>
                  <a:pt x="485916" y="98258"/>
                </a:cubicBezTo>
                <a:close/>
                <a:moveTo>
                  <a:pt x="568209" y="110082"/>
                </a:moveTo>
                <a:cubicBezTo>
                  <a:pt x="561424" y="110082"/>
                  <a:pt x="555385" y="108153"/>
                  <a:pt x="549969" y="104233"/>
                </a:cubicBezTo>
                <a:cubicBezTo>
                  <a:pt x="544616" y="100374"/>
                  <a:pt x="540384" y="94400"/>
                  <a:pt x="537271" y="86311"/>
                </a:cubicBezTo>
                <a:cubicBezTo>
                  <a:pt x="534283" y="78159"/>
                  <a:pt x="532789" y="67705"/>
                  <a:pt x="532789" y="54947"/>
                </a:cubicBezTo>
                <a:cubicBezTo>
                  <a:pt x="532789" y="42128"/>
                  <a:pt x="534283" y="31674"/>
                  <a:pt x="537271" y="23584"/>
                </a:cubicBezTo>
                <a:cubicBezTo>
                  <a:pt x="540384" y="15557"/>
                  <a:pt x="544616" y="9645"/>
                  <a:pt x="549969" y="5849"/>
                </a:cubicBezTo>
                <a:cubicBezTo>
                  <a:pt x="555385" y="2053"/>
                  <a:pt x="561424" y="186"/>
                  <a:pt x="568209" y="186"/>
                </a:cubicBezTo>
                <a:cubicBezTo>
                  <a:pt x="574994" y="186"/>
                  <a:pt x="581031" y="2053"/>
                  <a:pt x="586323" y="5849"/>
                </a:cubicBezTo>
                <a:cubicBezTo>
                  <a:pt x="591552" y="9645"/>
                  <a:pt x="595723" y="15557"/>
                  <a:pt x="598711" y="23584"/>
                </a:cubicBezTo>
                <a:cubicBezTo>
                  <a:pt x="601699" y="31549"/>
                  <a:pt x="603192" y="41942"/>
                  <a:pt x="603192" y="54698"/>
                </a:cubicBezTo>
                <a:cubicBezTo>
                  <a:pt x="603192" y="67331"/>
                  <a:pt x="601699" y="77786"/>
                  <a:pt x="598711" y="86062"/>
                </a:cubicBezTo>
                <a:cubicBezTo>
                  <a:pt x="595723" y="94213"/>
                  <a:pt x="591552" y="100250"/>
                  <a:pt x="586323" y="104233"/>
                </a:cubicBezTo>
                <a:cubicBezTo>
                  <a:pt x="581031" y="108153"/>
                  <a:pt x="574994" y="110082"/>
                  <a:pt x="568209" y="110082"/>
                </a:cubicBezTo>
                <a:close/>
                <a:moveTo>
                  <a:pt x="568084" y="98258"/>
                </a:moveTo>
                <a:cubicBezTo>
                  <a:pt x="572566" y="98258"/>
                  <a:pt x="576363" y="96952"/>
                  <a:pt x="579414" y="94275"/>
                </a:cubicBezTo>
                <a:cubicBezTo>
                  <a:pt x="582588" y="91475"/>
                  <a:pt x="585016" y="86933"/>
                  <a:pt x="586572" y="80648"/>
                </a:cubicBezTo>
                <a:cubicBezTo>
                  <a:pt x="588315" y="74300"/>
                  <a:pt x="589124" y="65775"/>
                  <a:pt x="589124" y="55134"/>
                </a:cubicBezTo>
                <a:cubicBezTo>
                  <a:pt x="589124" y="44493"/>
                  <a:pt x="588315" y="36030"/>
                  <a:pt x="586759" y="29745"/>
                </a:cubicBezTo>
                <a:cubicBezTo>
                  <a:pt x="585140" y="23336"/>
                  <a:pt x="582775" y="18855"/>
                  <a:pt x="579600" y="16117"/>
                </a:cubicBezTo>
                <a:cubicBezTo>
                  <a:pt x="576487" y="13379"/>
                  <a:pt x="572690" y="11947"/>
                  <a:pt x="568209" y="11947"/>
                </a:cubicBezTo>
                <a:cubicBezTo>
                  <a:pt x="563727" y="11947"/>
                  <a:pt x="559930" y="13379"/>
                  <a:pt x="556693" y="16117"/>
                </a:cubicBezTo>
                <a:cubicBezTo>
                  <a:pt x="553518" y="18855"/>
                  <a:pt x="551090" y="23336"/>
                  <a:pt x="549409" y="29745"/>
                </a:cubicBezTo>
                <a:cubicBezTo>
                  <a:pt x="547728" y="36030"/>
                  <a:pt x="546857" y="44493"/>
                  <a:pt x="546857" y="55134"/>
                </a:cubicBezTo>
                <a:cubicBezTo>
                  <a:pt x="546857" y="65775"/>
                  <a:pt x="547666" y="74300"/>
                  <a:pt x="549222" y="80648"/>
                </a:cubicBezTo>
                <a:cubicBezTo>
                  <a:pt x="550966" y="86933"/>
                  <a:pt x="553393" y="91475"/>
                  <a:pt x="556568" y="94275"/>
                </a:cubicBezTo>
                <a:cubicBezTo>
                  <a:pt x="559743" y="96952"/>
                  <a:pt x="563602" y="98258"/>
                  <a:pt x="56808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9" name="Полилиния 1088">
            <a:extLst>
              <a:ext uri="{FF2B5EF4-FFF2-40B4-BE49-F238E27FC236}">
                <a16:creationId xmlns:a16="http://schemas.microsoft.com/office/drawing/2014/main" id="{E3672162-8A0D-F2A9-ACBD-99E59235FEFC}"/>
              </a:ext>
            </a:extLst>
          </p:cNvPr>
          <p:cNvSpPr/>
          <p:nvPr userDrawn="1"/>
        </p:nvSpPr>
        <p:spPr>
          <a:xfrm>
            <a:off x="21534071" y="6692525"/>
            <a:ext cx="1398954" cy="726227"/>
          </a:xfrm>
          <a:custGeom>
            <a:avLst/>
            <a:gdLst>
              <a:gd name="connsiteX0" fmla="*/ 1275 w 1198727"/>
              <a:gd name="connsiteY0" fmla="*/ 1422 h 622284"/>
              <a:gd name="connsiteX1" fmla="*/ 1200003 w 1198727"/>
              <a:gd name="connsiteY1" fmla="*/ 1422 h 622284"/>
              <a:gd name="connsiteX2" fmla="*/ 1200003 w 1198727"/>
              <a:gd name="connsiteY2" fmla="*/ 623706 h 622284"/>
              <a:gd name="connsiteX3" fmla="*/ 1275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422"/>
                </a:moveTo>
                <a:lnTo>
                  <a:pt x="1200003" y="1422"/>
                </a:lnTo>
                <a:lnTo>
                  <a:pt x="1200003" y="623706"/>
                </a:lnTo>
                <a:lnTo>
                  <a:pt x="1275" y="623706"/>
                </a:lnTo>
                <a:close/>
              </a:path>
            </a:pathLst>
          </a:custGeom>
          <a:solidFill>
            <a:srgbClr val="FFD21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0" name="Полилиния 1089">
            <a:extLst>
              <a:ext uri="{FF2B5EF4-FFF2-40B4-BE49-F238E27FC236}">
                <a16:creationId xmlns:a16="http://schemas.microsoft.com/office/drawing/2014/main" id="{DD746B6A-BDDB-6D05-6421-1D9FDA3FD702}"/>
              </a:ext>
            </a:extLst>
          </p:cNvPr>
          <p:cNvSpPr/>
          <p:nvPr userDrawn="1"/>
        </p:nvSpPr>
        <p:spPr>
          <a:xfrm>
            <a:off x="21657280" y="6994273"/>
            <a:ext cx="717167" cy="126725"/>
          </a:xfrm>
          <a:custGeom>
            <a:avLst/>
            <a:gdLst>
              <a:gd name="connsiteX0" fmla="*/ 22099 w 614521"/>
              <a:gd name="connsiteY0" fmla="*/ 108588 h 108588"/>
              <a:gd name="connsiteX1" fmla="*/ 10147 w 614521"/>
              <a:gd name="connsiteY1" fmla="*/ 108588 h 108588"/>
              <a:gd name="connsiteX2" fmla="*/ 16434 w 614521"/>
              <a:gd name="connsiteY2" fmla="*/ 77661 h 108588"/>
              <a:gd name="connsiteX3" fmla="*/ 0 w 614521"/>
              <a:gd name="connsiteY3" fmla="*/ 77661 h 108588"/>
              <a:gd name="connsiteX4" fmla="*/ 0 w 614521"/>
              <a:gd name="connsiteY4" fmla="*/ 67206 h 108588"/>
              <a:gd name="connsiteX5" fmla="*/ 18675 w 614521"/>
              <a:gd name="connsiteY5" fmla="*/ 67206 h 108588"/>
              <a:gd name="connsiteX6" fmla="*/ 24215 w 614521"/>
              <a:gd name="connsiteY6" fmla="*/ 40012 h 108588"/>
              <a:gd name="connsiteX7" fmla="*/ 4046 w 614521"/>
              <a:gd name="connsiteY7" fmla="*/ 40012 h 108588"/>
              <a:gd name="connsiteX8" fmla="*/ 4046 w 614521"/>
              <a:gd name="connsiteY8" fmla="*/ 29559 h 108588"/>
              <a:gd name="connsiteX9" fmla="*/ 26269 w 614521"/>
              <a:gd name="connsiteY9" fmla="*/ 29559 h 108588"/>
              <a:gd name="connsiteX10" fmla="*/ 32121 w 614521"/>
              <a:gd name="connsiteY10" fmla="*/ 1493 h 108588"/>
              <a:gd name="connsiteX11" fmla="*/ 44073 w 614521"/>
              <a:gd name="connsiteY11" fmla="*/ 1493 h 108588"/>
              <a:gd name="connsiteX12" fmla="*/ 38221 w 614521"/>
              <a:gd name="connsiteY12" fmla="*/ 29559 h 108588"/>
              <a:gd name="connsiteX13" fmla="*/ 60630 w 614521"/>
              <a:gd name="connsiteY13" fmla="*/ 29559 h 108588"/>
              <a:gd name="connsiteX14" fmla="*/ 66482 w 614521"/>
              <a:gd name="connsiteY14" fmla="*/ 1493 h 108588"/>
              <a:gd name="connsiteX15" fmla="*/ 78434 w 614521"/>
              <a:gd name="connsiteY15" fmla="*/ 1493 h 108588"/>
              <a:gd name="connsiteX16" fmla="*/ 72582 w 614521"/>
              <a:gd name="connsiteY16" fmla="*/ 29559 h 108588"/>
              <a:gd name="connsiteX17" fmla="*/ 89327 w 614521"/>
              <a:gd name="connsiteY17" fmla="*/ 29559 h 108588"/>
              <a:gd name="connsiteX18" fmla="*/ 89327 w 614521"/>
              <a:gd name="connsiteY18" fmla="*/ 40012 h 108588"/>
              <a:gd name="connsiteX19" fmla="*/ 70529 w 614521"/>
              <a:gd name="connsiteY19" fmla="*/ 40012 h 108588"/>
              <a:gd name="connsiteX20" fmla="*/ 64988 w 614521"/>
              <a:gd name="connsiteY20" fmla="*/ 67206 h 108588"/>
              <a:gd name="connsiteX21" fmla="*/ 85282 w 614521"/>
              <a:gd name="connsiteY21" fmla="*/ 67206 h 108588"/>
              <a:gd name="connsiteX22" fmla="*/ 85282 w 614521"/>
              <a:gd name="connsiteY22" fmla="*/ 77661 h 108588"/>
              <a:gd name="connsiteX23" fmla="*/ 62747 w 614521"/>
              <a:gd name="connsiteY23" fmla="*/ 77661 h 108588"/>
              <a:gd name="connsiteX24" fmla="*/ 56460 w 614521"/>
              <a:gd name="connsiteY24" fmla="*/ 108588 h 108588"/>
              <a:gd name="connsiteX25" fmla="*/ 44508 w 614521"/>
              <a:gd name="connsiteY25" fmla="*/ 108588 h 108588"/>
              <a:gd name="connsiteX26" fmla="*/ 50795 w 614521"/>
              <a:gd name="connsiteY26" fmla="*/ 77661 h 108588"/>
              <a:gd name="connsiteX27" fmla="*/ 28386 w 614521"/>
              <a:gd name="connsiteY27" fmla="*/ 77661 h 108588"/>
              <a:gd name="connsiteX28" fmla="*/ 22099 w 614521"/>
              <a:gd name="connsiteY28" fmla="*/ 108588 h 108588"/>
              <a:gd name="connsiteX29" fmla="*/ 30627 w 614521"/>
              <a:gd name="connsiteY29" fmla="*/ 67206 h 108588"/>
              <a:gd name="connsiteX30" fmla="*/ 53036 w 614521"/>
              <a:gd name="connsiteY30" fmla="*/ 67206 h 108588"/>
              <a:gd name="connsiteX31" fmla="*/ 58576 w 614521"/>
              <a:gd name="connsiteY31" fmla="*/ 40012 h 108588"/>
              <a:gd name="connsiteX32" fmla="*/ 36167 w 614521"/>
              <a:gd name="connsiteY32" fmla="*/ 40012 h 108588"/>
              <a:gd name="connsiteX33" fmla="*/ 30627 w 614521"/>
              <a:gd name="connsiteY33" fmla="*/ 67206 h 108588"/>
              <a:gd name="connsiteX34" fmla="*/ 107816 w 614521"/>
              <a:gd name="connsiteY34" fmla="*/ 1493 h 108588"/>
              <a:gd name="connsiteX35" fmla="*/ 173239 w 614521"/>
              <a:gd name="connsiteY35" fmla="*/ 1493 h 108588"/>
              <a:gd name="connsiteX36" fmla="*/ 173239 w 614521"/>
              <a:gd name="connsiteY36" fmla="*/ 14374 h 108588"/>
              <a:gd name="connsiteX37" fmla="*/ 121884 w 614521"/>
              <a:gd name="connsiteY37" fmla="*/ 14374 h 108588"/>
              <a:gd name="connsiteX38" fmla="*/ 121884 w 614521"/>
              <a:gd name="connsiteY38" fmla="*/ 49907 h 108588"/>
              <a:gd name="connsiteX39" fmla="*/ 165520 w 614521"/>
              <a:gd name="connsiteY39" fmla="*/ 49907 h 108588"/>
              <a:gd name="connsiteX40" fmla="*/ 165520 w 614521"/>
              <a:gd name="connsiteY40" fmla="*/ 62601 h 108588"/>
              <a:gd name="connsiteX41" fmla="*/ 121884 w 614521"/>
              <a:gd name="connsiteY41" fmla="*/ 62601 h 108588"/>
              <a:gd name="connsiteX42" fmla="*/ 121884 w 614521"/>
              <a:gd name="connsiteY42" fmla="*/ 108588 h 108588"/>
              <a:gd name="connsiteX43" fmla="*/ 107816 w 614521"/>
              <a:gd name="connsiteY43" fmla="*/ 108588 h 108588"/>
              <a:gd name="connsiteX44" fmla="*/ 107816 w 614521"/>
              <a:gd name="connsiteY44" fmla="*/ 1493 h 108588"/>
              <a:gd name="connsiteX45" fmla="*/ 192723 w 614521"/>
              <a:gd name="connsiteY45" fmla="*/ 1493 h 108588"/>
              <a:gd name="connsiteX46" fmla="*/ 258146 w 614521"/>
              <a:gd name="connsiteY46" fmla="*/ 1493 h 108588"/>
              <a:gd name="connsiteX47" fmla="*/ 258146 w 614521"/>
              <a:gd name="connsiteY47" fmla="*/ 14374 h 108588"/>
              <a:gd name="connsiteX48" fmla="*/ 206791 w 614521"/>
              <a:gd name="connsiteY48" fmla="*/ 14374 h 108588"/>
              <a:gd name="connsiteX49" fmla="*/ 206791 w 614521"/>
              <a:gd name="connsiteY49" fmla="*/ 49907 h 108588"/>
              <a:gd name="connsiteX50" fmla="*/ 250427 w 614521"/>
              <a:gd name="connsiteY50" fmla="*/ 49907 h 108588"/>
              <a:gd name="connsiteX51" fmla="*/ 250427 w 614521"/>
              <a:gd name="connsiteY51" fmla="*/ 62601 h 108588"/>
              <a:gd name="connsiteX52" fmla="*/ 206791 w 614521"/>
              <a:gd name="connsiteY52" fmla="*/ 62601 h 108588"/>
              <a:gd name="connsiteX53" fmla="*/ 206791 w 614521"/>
              <a:gd name="connsiteY53" fmla="*/ 108588 h 108588"/>
              <a:gd name="connsiteX54" fmla="*/ 192723 w 614521"/>
              <a:gd name="connsiteY54" fmla="*/ 108588 h 108588"/>
              <a:gd name="connsiteX55" fmla="*/ 192723 w 614521"/>
              <a:gd name="connsiteY55" fmla="*/ 1493 h 108588"/>
              <a:gd name="connsiteX56" fmla="*/ 277630 w 614521"/>
              <a:gd name="connsiteY56" fmla="*/ 1493 h 108588"/>
              <a:gd name="connsiteX57" fmla="*/ 313673 w 614521"/>
              <a:gd name="connsiteY57" fmla="*/ 1493 h 108588"/>
              <a:gd name="connsiteX58" fmla="*/ 333654 w 614521"/>
              <a:gd name="connsiteY58" fmla="*/ 4044 h 108588"/>
              <a:gd name="connsiteX59" fmla="*/ 349840 w 614521"/>
              <a:gd name="connsiteY59" fmla="*/ 12383 h 108588"/>
              <a:gd name="connsiteX60" fmla="*/ 360546 w 614521"/>
              <a:gd name="connsiteY60" fmla="*/ 27629 h 108588"/>
              <a:gd name="connsiteX61" fmla="*/ 364468 w 614521"/>
              <a:gd name="connsiteY61" fmla="*/ 51401 h 108588"/>
              <a:gd name="connsiteX62" fmla="*/ 357558 w 614521"/>
              <a:gd name="connsiteY62" fmla="*/ 83075 h 108588"/>
              <a:gd name="connsiteX63" fmla="*/ 339070 w 614521"/>
              <a:gd name="connsiteY63" fmla="*/ 102179 h 108588"/>
              <a:gd name="connsiteX64" fmla="*/ 311992 w 614521"/>
              <a:gd name="connsiteY64" fmla="*/ 108588 h 108588"/>
              <a:gd name="connsiteX65" fmla="*/ 277630 w 614521"/>
              <a:gd name="connsiteY65" fmla="*/ 108588 h 108588"/>
              <a:gd name="connsiteX66" fmla="*/ 277630 w 614521"/>
              <a:gd name="connsiteY66" fmla="*/ 1493 h 108588"/>
              <a:gd name="connsiteX67" fmla="*/ 311992 w 614521"/>
              <a:gd name="connsiteY67" fmla="*/ 95893 h 108588"/>
              <a:gd name="connsiteX68" fmla="*/ 331413 w 614521"/>
              <a:gd name="connsiteY68" fmla="*/ 91413 h 108588"/>
              <a:gd name="connsiteX69" fmla="*/ 344424 w 614521"/>
              <a:gd name="connsiteY69" fmla="*/ 77225 h 108588"/>
              <a:gd name="connsiteX70" fmla="*/ 349216 w 614521"/>
              <a:gd name="connsiteY70" fmla="*/ 52458 h 108588"/>
              <a:gd name="connsiteX71" fmla="*/ 344610 w 614521"/>
              <a:gd name="connsiteY71" fmla="*/ 29122 h 108588"/>
              <a:gd name="connsiteX72" fmla="*/ 331912 w 614521"/>
              <a:gd name="connsiteY72" fmla="*/ 17610 h 108588"/>
              <a:gd name="connsiteX73" fmla="*/ 313673 w 614521"/>
              <a:gd name="connsiteY73" fmla="*/ 14374 h 108588"/>
              <a:gd name="connsiteX74" fmla="*/ 291698 w 614521"/>
              <a:gd name="connsiteY74" fmla="*/ 14374 h 108588"/>
              <a:gd name="connsiteX75" fmla="*/ 291698 w 614521"/>
              <a:gd name="connsiteY75" fmla="*/ 95893 h 108588"/>
              <a:gd name="connsiteX76" fmla="*/ 311992 w 614521"/>
              <a:gd name="connsiteY76" fmla="*/ 95893 h 108588"/>
              <a:gd name="connsiteX77" fmla="*/ 446201 w 614521"/>
              <a:gd name="connsiteY77" fmla="*/ 108588 h 108588"/>
              <a:gd name="connsiteX78" fmla="*/ 377914 w 614521"/>
              <a:gd name="connsiteY78" fmla="*/ 108588 h 108588"/>
              <a:gd name="connsiteX79" fmla="*/ 377914 w 614521"/>
              <a:gd name="connsiteY79" fmla="*/ 94400 h 108588"/>
              <a:gd name="connsiteX80" fmla="*/ 404058 w 614521"/>
              <a:gd name="connsiteY80" fmla="*/ 72433 h 108588"/>
              <a:gd name="connsiteX81" fmla="*/ 420056 w 614521"/>
              <a:gd name="connsiteY81" fmla="*/ 56628 h 108588"/>
              <a:gd name="connsiteX82" fmla="*/ 428086 w 614521"/>
              <a:gd name="connsiteY82" fmla="*/ 43933 h 108588"/>
              <a:gd name="connsiteX83" fmla="*/ 430514 w 614521"/>
              <a:gd name="connsiteY83" fmla="*/ 32109 h 108588"/>
              <a:gd name="connsiteX84" fmla="*/ 424974 w 614521"/>
              <a:gd name="connsiteY84" fmla="*/ 17610 h 108588"/>
              <a:gd name="connsiteX85" fmla="*/ 409723 w 614521"/>
              <a:gd name="connsiteY85" fmla="*/ 12383 h 108588"/>
              <a:gd name="connsiteX86" fmla="*/ 380715 w 614521"/>
              <a:gd name="connsiteY86" fmla="*/ 27194 h 108588"/>
              <a:gd name="connsiteX87" fmla="*/ 380715 w 614521"/>
              <a:gd name="connsiteY87" fmla="*/ 12134 h 108588"/>
              <a:gd name="connsiteX88" fmla="*/ 410158 w 614521"/>
              <a:gd name="connsiteY88" fmla="*/ 0 h 108588"/>
              <a:gd name="connsiteX89" fmla="*/ 435556 w 614521"/>
              <a:gd name="connsiteY89" fmla="*/ 8401 h 108588"/>
              <a:gd name="connsiteX90" fmla="*/ 444955 w 614521"/>
              <a:gd name="connsiteY90" fmla="*/ 30803 h 108588"/>
              <a:gd name="connsiteX91" fmla="*/ 442590 w 614521"/>
              <a:gd name="connsiteY91" fmla="*/ 44804 h 108588"/>
              <a:gd name="connsiteX92" fmla="*/ 434498 w 614521"/>
              <a:gd name="connsiteY92" fmla="*/ 58681 h 108588"/>
              <a:gd name="connsiteX93" fmla="*/ 418811 w 614521"/>
              <a:gd name="connsiteY93" fmla="*/ 74860 h 108588"/>
              <a:gd name="connsiteX94" fmla="*/ 393414 w 614521"/>
              <a:gd name="connsiteY94" fmla="*/ 95769 h 108588"/>
              <a:gd name="connsiteX95" fmla="*/ 446201 w 614521"/>
              <a:gd name="connsiteY95" fmla="*/ 95769 h 108588"/>
              <a:gd name="connsiteX96" fmla="*/ 446201 w 614521"/>
              <a:gd name="connsiteY96" fmla="*/ 108588 h 108588"/>
              <a:gd name="connsiteX97" fmla="*/ 508325 w 614521"/>
              <a:gd name="connsiteY97" fmla="*/ 108588 h 108588"/>
              <a:gd name="connsiteX98" fmla="*/ 494692 w 614521"/>
              <a:gd name="connsiteY98" fmla="*/ 108588 h 108588"/>
              <a:gd name="connsiteX99" fmla="*/ 494692 w 614521"/>
              <a:gd name="connsiteY99" fmla="*/ 18357 h 108588"/>
              <a:gd name="connsiteX100" fmla="*/ 465124 w 614521"/>
              <a:gd name="connsiteY100" fmla="*/ 41071 h 108588"/>
              <a:gd name="connsiteX101" fmla="*/ 465124 w 614521"/>
              <a:gd name="connsiteY101" fmla="*/ 26011 h 108588"/>
              <a:gd name="connsiteX102" fmla="*/ 496934 w 614521"/>
              <a:gd name="connsiteY102" fmla="*/ 1493 h 108588"/>
              <a:gd name="connsiteX103" fmla="*/ 508325 w 614521"/>
              <a:gd name="connsiteY103" fmla="*/ 1493 h 108588"/>
              <a:gd name="connsiteX104" fmla="*/ 508325 w 614521"/>
              <a:gd name="connsiteY104" fmla="*/ 108588 h 108588"/>
              <a:gd name="connsiteX105" fmla="*/ 547418 w 614521"/>
              <a:gd name="connsiteY105" fmla="*/ 1493 h 108588"/>
              <a:gd name="connsiteX106" fmla="*/ 613775 w 614521"/>
              <a:gd name="connsiteY106" fmla="*/ 1493 h 108588"/>
              <a:gd name="connsiteX107" fmla="*/ 613775 w 614521"/>
              <a:gd name="connsiteY107" fmla="*/ 14374 h 108588"/>
              <a:gd name="connsiteX108" fmla="*/ 561486 w 614521"/>
              <a:gd name="connsiteY108" fmla="*/ 14374 h 108588"/>
              <a:gd name="connsiteX109" fmla="*/ 561486 w 614521"/>
              <a:gd name="connsiteY109" fmla="*/ 46734 h 108588"/>
              <a:gd name="connsiteX110" fmla="*/ 605807 w 614521"/>
              <a:gd name="connsiteY110" fmla="*/ 46734 h 108588"/>
              <a:gd name="connsiteX111" fmla="*/ 605807 w 614521"/>
              <a:gd name="connsiteY111" fmla="*/ 59428 h 108588"/>
              <a:gd name="connsiteX112" fmla="*/ 561486 w 614521"/>
              <a:gd name="connsiteY112" fmla="*/ 59428 h 108588"/>
              <a:gd name="connsiteX113" fmla="*/ 561486 w 614521"/>
              <a:gd name="connsiteY113" fmla="*/ 95893 h 108588"/>
              <a:gd name="connsiteX114" fmla="*/ 614521 w 614521"/>
              <a:gd name="connsiteY114" fmla="*/ 95893 h 108588"/>
              <a:gd name="connsiteX115" fmla="*/ 614521 w 614521"/>
              <a:gd name="connsiteY115" fmla="*/ 108588 h 108588"/>
              <a:gd name="connsiteX116" fmla="*/ 547418 w 614521"/>
              <a:gd name="connsiteY116" fmla="*/ 108588 h 108588"/>
              <a:gd name="connsiteX117" fmla="*/ 547418 w 614521"/>
              <a:gd name="connsiteY117" fmla="*/ 1493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14521" h="108588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13673" y="1493"/>
                </a:lnTo>
                <a:cubicBezTo>
                  <a:pt x="320831" y="1493"/>
                  <a:pt x="327492" y="2365"/>
                  <a:pt x="333654" y="4044"/>
                </a:cubicBezTo>
                <a:cubicBezTo>
                  <a:pt x="339879" y="5725"/>
                  <a:pt x="345233" y="8525"/>
                  <a:pt x="349840" y="12383"/>
                </a:cubicBezTo>
                <a:cubicBezTo>
                  <a:pt x="354384" y="16179"/>
                  <a:pt x="357994" y="21282"/>
                  <a:pt x="360546" y="27629"/>
                </a:cubicBezTo>
                <a:cubicBezTo>
                  <a:pt x="363160" y="34039"/>
                  <a:pt x="364468" y="41942"/>
                  <a:pt x="364468" y="51401"/>
                </a:cubicBezTo>
                <a:cubicBezTo>
                  <a:pt x="364468" y="63908"/>
                  <a:pt x="362165" y="74487"/>
                  <a:pt x="357558" y="83075"/>
                </a:cubicBezTo>
                <a:cubicBezTo>
                  <a:pt x="353076" y="91538"/>
                  <a:pt x="346913" y="97885"/>
                  <a:pt x="339070" y="102179"/>
                </a:cubicBezTo>
                <a:cubicBezTo>
                  <a:pt x="331165" y="106473"/>
                  <a:pt x="322201" y="108588"/>
                  <a:pt x="311992" y="108588"/>
                </a:cubicBez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11992" y="95893"/>
                </a:moveTo>
                <a:cubicBezTo>
                  <a:pt x="319400" y="95893"/>
                  <a:pt x="325873" y="94400"/>
                  <a:pt x="331413" y="91413"/>
                </a:cubicBezTo>
                <a:cubicBezTo>
                  <a:pt x="337016" y="88302"/>
                  <a:pt x="341373" y="83572"/>
                  <a:pt x="344424" y="77225"/>
                </a:cubicBezTo>
                <a:cubicBezTo>
                  <a:pt x="347598" y="70754"/>
                  <a:pt x="349216" y="62477"/>
                  <a:pt x="349216" y="52458"/>
                </a:cubicBezTo>
                <a:cubicBezTo>
                  <a:pt x="349216" y="42377"/>
                  <a:pt x="347660" y="34599"/>
                  <a:pt x="344610" y="29122"/>
                </a:cubicBezTo>
                <a:cubicBezTo>
                  <a:pt x="341498" y="23646"/>
                  <a:pt x="337265" y="19851"/>
                  <a:pt x="331912" y="17610"/>
                </a:cubicBezTo>
                <a:cubicBezTo>
                  <a:pt x="326620" y="15433"/>
                  <a:pt x="320520" y="14374"/>
                  <a:pt x="313673" y="14374"/>
                </a:cubicBezTo>
                <a:lnTo>
                  <a:pt x="291698" y="14374"/>
                </a:lnTo>
                <a:lnTo>
                  <a:pt x="291698" y="95893"/>
                </a:lnTo>
                <a:lnTo>
                  <a:pt x="311992" y="95893"/>
                </a:lnTo>
                <a:close/>
                <a:moveTo>
                  <a:pt x="446201" y="108588"/>
                </a:moveTo>
                <a:lnTo>
                  <a:pt x="377914" y="108588"/>
                </a:lnTo>
                <a:lnTo>
                  <a:pt x="377914" y="94400"/>
                </a:lnTo>
                <a:cubicBezTo>
                  <a:pt x="388558" y="85812"/>
                  <a:pt x="397273" y="78532"/>
                  <a:pt x="404058" y="72433"/>
                </a:cubicBezTo>
                <a:cubicBezTo>
                  <a:pt x="410905" y="66397"/>
                  <a:pt x="416259" y="61108"/>
                  <a:pt x="420056" y="56628"/>
                </a:cubicBezTo>
                <a:cubicBezTo>
                  <a:pt x="423915" y="52023"/>
                  <a:pt x="426592" y="47791"/>
                  <a:pt x="428086" y="43933"/>
                </a:cubicBezTo>
                <a:cubicBezTo>
                  <a:pt x="429705" y="40012"/>
                  <a:pt x="430514" y="36092"/>
                  <a:pt x="430514" y="32109"/>
                </a:cubicBezTo>
                <a:cubicBezTo>
                  <a:pt x="430514" y="25949"/>
                  <a:pt x="428646" y="21095"/>
                  <a:pt x="424974" y="17610"/>
                </a:cubicBezTo>
                <a:cubicBezTo>
                  <a:pt x="421301" y="14125"/>
                  <a:pt x="416196" y="12383"/>
                  <a:pt x="409723" y="12383"/>
                </a:cubicBezTo>
                <a:cubicBezTo>
                  <a:pt x="399389" y="12383"/>
                  <a:pt x="389678" y="17361"/>
                  <a:pt x="380715" y="27194"/>
                </a:cubicBezTo>
                <a:lnTo>
                  <a:pt x="380715" y="12134"/>
                </a:lnTo>
                <a:cubicBezTo>
                  <a:pt x="388994" y="4044"/>
                  <a:pt x="398829" y="0"/>
                  <a:pt x="410158" y="0"/>
                </a:cubicBezTo>
                <a:cubicBezTo>
                  <a:pt x="420927" y="0"/>
                  <a:pt x="429393" y="2800"/>
                  <a:pt x="435556" y="8401"/>
                </a:cubicBezTo>
                <a:cubicBezTo>
                  <a:pt x="441843" y="13877"/>
                  <a:pt x="444955" y="21344"/>
                  <a:pt x="444955" y="30803"/>
                </a:cubicBezTo>
                <a:cubicBezTo>
                  <a:pt x="444955" y="35657"/>
                  <a:pt x="444208" y="40324"/>
                  <a:pt x="442590" y="44804"/>
                </a:cubicBezTo>
                <a:cubicBezTo>
                  <a:pt x="441096" y="49222"/>
                  <a:pt x="438420" y="53827"/>
                  <a:pt x="434498" y="58681"/>
                </a:cubicBezTo>
                <a:cubicBezTo>
                  <a:pt x="430763" y="63473"/>
                  <a:pt x="425534" y="68887"/>
                  <a:pt x="418811" y="74860"/>
                </a:cubicBezTo>
                <a:cubicBezTo>
                  <a:pt x="412151" y="80835"/>
                  <a:pt x="403684" y="87804"/>
                  <a:pt x="393414" y="95769"/>
                </a:cubicBezTo>
                <a:lnTo>
                  <a:pt x="446201" y="95769"/>
                </a:lnTo>
                <a:lnTo>
                  <a:pt x="446201" y="108588"/>
                </a:lnTo>
                <a:close/>
                <a:moveTo>
                  <a:pt x="508325" y="108588"/>
                </a:moveTo>
                <a:lnTo>
                  <a:pt x="494692" y="108588"/>
                </a:lnTo>
                <a:lnTo>
                  <a:pt x="494692" y="18357"/>
                </a:lnTo>
                <a:lnTo>
                  <a:pt x="465124" y="41071"/>
                </a:lnTo>
                <a:lnTo>
                  <a:pt x="465124" y="26011"/>
                </a:lnTo>
                <a:lnTo>
                  <a:pt x="496934" y="1493"/>
                </a:lnTo>
                <a:lnTo>
                  <a:pt x="508325" y="1493"/>
                </a:lnTo>
                <a:lnTo>
                  <a:pt x="508325" y="108588"/>
                </a:lnTo>
                <a:close/>
                <a:moveTo>
                  <a:pt x="547418" y="1493"/>
                </a:moveTo>
                <a:lnTo>
                  <a:pt x="613775" y="1493"/>
                </a:lnTo>
                <a:lnTo>
                  <a:pt x="613775" y="14374"/>
                </a:lnTo>
                <a:lnTo>
                  <a:pt x="561486" y="14374"/>
                </a:lnTo>
                <a:lnTo>
                  <a:pt x="561486" y="46734"/>
                </a:lnTo>
                <a:lnTo>
                  <a:pt x="605807" y="46734"/>
                </a:lnTo>
                <a:lnTo>
                  <a:pt x="605807" y="59428"/>
                </a:lnTo>
                <a:lnTo>
                  <a:pt x="561486" y="59428"/>
                </a:lnTo>
                <a:lnTo>
                  <a:pt x="561486" y="95893"/>
                </a:lnTo>
                <a:lnTo>
                  <a:pt x="614521" y="95893"/>
                </a:lnTo>
                <a:lnTo>
                  <a:pt x="614521" y="108588"/>
                </a:lnTo>
                <a:lnTo>
                  <a:pt x="547418" y="108588"/>
                </a:lnTo>
                <a:lnTo>
                  <a:pt x="547418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1" name="Полилиния 1090">
            <a:extLst>
              <a:ext uri="{FF2B5EF4-FFF2-40B4-BE49-F238E27FC236}">
                <a16:creationId xmlns:a16="http://schemas.microsoft.com/office/drawing/2014/main" id="{7D0D3B08-1A51-BDE7-B083-B95C6D36C80B}"/>
              </a:ext>
            </a:extLst>
          </p:cNvPr>
          <p:cNvSpPr/>
          <p:nvPr userDrawn="1"/>
        </p:nvSpPr>
        <p:spPr>
          <a:xfrm>
            <a:off x="21534071" y="7418752"/>
            <a:ext cx="1398954" cy="726227"/>
          </a:xfrm>
          <a:custGeom>
            <a:avLst/>
            <a:gdLst>
              <a:gd name="connsiteX0" fmla="*/ 1275 w 1198727"/>
              <a:gd name="connsiteY0" fmla="*/ 1522 h 622284"/>
              <a:gd name="connsiteX1" fmla="*/ 1200003 w 1198727"/>
              <a:gd name="connsiteY1" fmla="*/ 1522 h 622284"/>
              <a:gd name="connsiteX2" fmla="*/ 1200003 w 1198727"/>
              <a:gd name="connsiteY2" fmla="*/ 623806 h 622284"/>
              <a:gd name="connsiteX3" fmla="*/ 1275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522"/>
                </a:moveTo>
                <a:lnTo>
                  <a:pt x="1200003" y="1522"/>
                </a:lnTo>
                <a:lnTo>
                  <a:pt x="1200003" y="623806"/>
                </a:lnTo>
                <a:lnTo>
                  <a:pt x="1275" y="623806"/>
                </a:lnTo>
                <a:close/>
              </a:path>
            </a:pathLst>
          </a:custGeom>
          <a:solidFill>
            <a:srgbClr val="FFDC5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2" name="Полилиния 1091">
            <a:extLst>
              <a:ext uri="{FF2B5EF4-FFF2-40B4-BE49-F238E27FC236}">
                <a16:creationId xmlns:a16="http://schemas.microsoft.com/office/drawing/2014/main" id="{04D939BF-E01B-A53B-D744-AFAE15F3897E}"/>
              </a:ext>
            </a:extLst>
          </p:cNvPr>
          <p:cNvSpPr/>
          <p:nvPr userDrawn="1"/>
        </p:nvSpPr>
        <p:spPr>
          <a:xfrm>
            <a:off x="21657280" y="7720717"/>
            <a:ext cx="736346" cy="128252"/>
          </a:xfrm>
          <a:custGeom>
            <a:avLst/>
            <a:gdLst>
              <a:gd name="connsiteX0" fmla="*/ 22099 w 630955"/>
              <a:gd name="connsiteY0" fmla="*/ 108402 h 109895"/>
              <a:gd name="connsiteX1" fmla="*/ 10147 w 630955"/>
              <a:gd name="connsiteY1" fmla="*/ 108402 h 109895"/>
              <a:gd name="connsiteX2" fmla="*/ 16434 w 630955"/>
              <a:gd name="connsiteY2" fmla="*/ 77475 h 109895"/>
              <a:gd name="connsiteX3" fmla="*/ 0 w 630955"/>
              <a:gd name="connsiteY3" fmla="*/ 77475 h 109895"/>
              <a:gd name="connsiteX4" fmla="*/ 0 w 630955"/>
              <a:gd name="connsiteY4" fmla="*/ 67020 h 109895"/>
              <a:gd name="connsiteX5" fmla="*/ 18675 w 630955"/>
              <a:gd name="connsiteY5" fmla="*/ 67020 h 109895"/>
              <a:gd name="connsiteX6" fmla="*/ 24215 w 630955"/>
              <a:gd name="connsiteY6" fmla="*/ 39826 h 109895"/>
              <a:gd name="connsiteX7" fmla="*/ 4046 w 630955"/>
              <a:gd name="connsiteY7" fmla="*/ 39826 h 109895"/>
              <a:gd name="connsiteX8" fmla="*/ 4046 w 630955"/>
              <a:gd name="connsiteY8" fmla="*/ 29372 h 109895"/>
              <a:gd name="connsiteX9" fmla="*/ 26269 w 630955"/>
              <a:gd name="connsiteY9" fmla="*/ 29372 h 109895"/>
              <a:gd name="connsiteX10" fmla="*/ 32121 w 630955"/>
              <a:gd name="connsiteY10" fmla="*/ 1307 h 109895"/>
              <a:gd name="connsiteX11" fmla="*/ 44073 w 630955"/>
              <a:gd name="connsiteY11" fmla="*/ 1307 h 109895"/>
              <a:gd name="connsiteX12" fmla="*/ 38221 w 630955"/>
              <a:gd name="connsiteY12" fmla="*/ 29372 h 109895"/>
              <a:gd name="connsiteX13" fmla="*/ 60630 w 630955"/>
              <a:gd name="connsiteY13" fmla="*/ 29372 h 109895"/>
              <a:gd name="connsiteX14" fmla="*/ 66482 w 630955"/>
              <a:gd name="connsiteY14" fmla="*/ 1307 h 109895"/>
              <a:gd name="connsiteX15" fmla="*/ 78434 w 630955"/>
              <a:gd name="connsiteY15" fmla="*/ 1307 h 109895"/>
              <a:gd name="connsiteX16" fmla="*/ 72582 w 630955"/>
              <a:gd name="connsiteY16" fmla="*/ 29372 h 109895"/>
              <a:gd name="connsiteX17" fmla="*/ 89327 w 630955"/>
              <a:gd name="connsiteY17" fmla="*/ 29372 h 109895"/>
              <a:gd name="connsiteX18" fmla="*/ 89327 w 630955"/>
              <a:gd name="connsiteY18" fmla="*/ 39826 h 109895"/>
              <a:gd name="connsiteX19" fmla="*/ 70529 w 630955"/>
              <a:gd name="connsiteY19" fmla="*/ 39826 h 109895"/>
              <a:gd name="connsiteX20" fmla="*/ 64988 w 630955"/>
              <a:gd name="connsiteY20" fmla="*/ 67020 h 109895"/>
              <a:gd name="connsiteX21" fmla="*/ 85282 w 630955"/>
              <a:gd name="connsiteY21" fmla="*/ 67020 h 109895"/>
              <a:gd name="connsiteX22" fmla="*/ 85282 w 630955"/>
              <a:gd name="connsiteY22" fmla="*/ 77475 h 109895"/>
              <a:gd name="connsiteX23" fmla="*/ 62747 w 630955"/>
              <a:gd name="connsiteY23" fmla="*/ 77475 h 109895"/>
              <a:gd name="connsiteX24" fmla="*/ 56460 w 630955"/>
              <a:gd name="connsiteY24" fmla="*/ 108402 h 109895"/>
              <a:gd name="connsiteX25" fmla="*/ 44508 w 630955"/>
              <a:gd name="connsiteY25" fmla="*/ 108402 h 109895"/>
              <a:gd name="connsiteX26" fmla="*/ 50795 w 630955"/>
              <a:gd name="connsiteY26" fmla="*/ 77475 h 109895"/>
              <a:gd name="connsiteX27" fmla="*/ 28386 w 630955"/>
              <a:gd name="connsiteY27" fmla="*/ 77475 h 109895"/>
              <a:gd name="connsiteX28" fmla="*/ 22099 w 630955"/>
              <a:gd name="connsiteY28" fmla="*/ 108402 h 109895"/>
              <a:gd name="connsiteX29" fmla="*/ 30627 w 630955"/>
              <a:gd name="connsiteY29" fmla="*/ 67020 h 109895"/>
              <a:gd name="connsiteX30" fmla="*/ 53036 w 630955"/>
              <a:gd name="connsiteY30" fmla="*/ 67020 h 109895"/>
              <a:gd name="connsiteX31" fmla="*/ 58576 w 630955"/>
              <a:gd name="connsiteY31" fmla="*/ 39826 h 109895"/>
              <a:gd name="connsiteX32" fmla="*/ 36167 w 630955"/>
              <a:gd name="connsiteY32" fmla="*/ 39826 h 109895"/>
              <a:gd name="connsiteX33" fmla="*/ 30627 w 630955"/>
              <a:gd name="connsiteY33" fmla="*/ 67020 h 109895"/>
              <a:gd name="connsiteX34" fmla="*/ 107816 w 630955"/>
              <a:gd name="connsiteY34" fmla="*/ 1307 h 109895"/>
              <a:gd name="connsiteX35" fmla="*/ 173239 w 630955"/>
              <a:gd name="connsiteY35" fmla="*/ 1307 h 109895"/>
              <a:gd name="connsiteX36" fmla="*/ 173239 w 630955"/>
              <a:gd name="connsiteY36" fmla="*/ 14188 h 109895"/>
              <a:gd name="connsiteX37" fmla="*/ 121884 w 630955"/>
              <a:gd name="connsiteY37" fmla="*/ 14188 h 109895"/>
              <a:gd name="connsiteX38" fmla="*/ 121884 w 630955"/>
              <a:gd name="connsiteY38" fmla="*/ 49720 h 109895"/>
              <a:gd name="connsiteX39" fmla="*/ 165520 w 630955"/>
              <a:gd name="connsiteY39" fmla="*/ 49720 h 109895"/>
              <a:gd name="connsiteX40" fmla="*/ 165520 w 630955"/>
              <a:gd name="connsiteY40" fmla="*/ 62415 h 109895"/>
              <a:gd name="connsiteX41" fmla="*/ 121884 w 630955"/>
              <a:gd name="connsiteY41" fmla="*/ 62415 h 109895"/>
              <a:gd name="connsiteX42" fmla="*/ 121884 w 630955"/>
              <a:gd name="connsiteY42" fmla="*/ 108402 h 109895"/>
              <a:gd name="connsiteX43" fmla="*/ 107816 w 630955"/>
              <a:gd name="connsiteY43" fmla="*/ 108402 h 109895"/>
              <a:gd name="connsiteX44" fmla="*/ 107816 w 630955"/>
              <a:gd name="connsiteY44" fmla="*/ 1307 h 109895"/>
              <a:gd name="connsiteX45" fmla="*/ 192723 w 630955"/>
              <a:gd name="connsiteY45" fmla="*/ 1307 h 109895"/>
              <a:gd name="connsiteX46" fmla="*/ 258146 w 630955"/>
              <a:gd name="connsiteY46" fmla="*/ 1307 h 109895"/>
              <a:gd name="connsiteX47" fmla="*/ 258146 w 630955"/>
              <a:gd name="connsiteY47" fmla="*/ 14188 h 109895"/>
              <a:gd name="connsiteX48" fmla="*/ 206791 w 630955"/>
              <a:gd name="connsiteY48" fmla="*/ 14188 h 109895"/>
              <a:gd name="connsiteX49" fmla="*/ 206791 w 630955"/>
              <a:gd name="connsiteY49" fmla="*/ 49720 h 109895"/>
              <a:gd name="connsiteX50" fmla="*/ 250427 w 630955"/>
              <a:gd name="connsiteY50" fmla="*/ 49720 h 109895"/>
              <a:gd name="connsiteX51" fmla="*/ 250427 w 630955"/>
              <a:gd name="connsiteY51" fmla="*/ 62415 h 109895"/>
              <a:gd name="connsiteX52" fmla="*/ 206791 w 630955"/>
              <a:gd name="connsiteY52" fmla="*/ 62415 h 109895"/>
              <a:gd name="connsiteX53" fmla="*/ 206791 w 630955"/>
              <a:gd name="connsiteY53" fmla="*/ 108402 h 109895"/>
              <a:gd name="connsiteX54" fmla="*/ 192723 w 630955"/>
              <a:gd name="connsiteY54" fmla="*/ 108402 h 109895"/>
              <a:gd name="connsiteX55" fmla="*/ 192723 w 630955"/>
              <a:gd name="connsiteY55" fmla="*/ 1307 h 109895"/>
              <a:gd name="connsiteX56" fmla="*/ 277630 w 630955"/>
              <a:gd name="connsiteY56" fmla="*/ 1307 h 109895"/>
              <a:gd name="connsiteX57" fmla="*/ 313673 w 630955"/>
              <a:gd name="connsiteY57" fmla="*/ 1307 h 109895"/>
              <a:gd name="connsiteX58" fmla="*/ 333654 w 630955"/>
              <a:gd name="connsiteY58" fmla="*/ 3858 h 109895"/>
              <a:gd name="connsiteX59" fmla="*/ 349840 w 630955"/>
              <a:gd name="connsiteY59" fmla="*/ 12197 h 109895"/>
              <a:gd name="connsiteX60" fmla="*/ 360546 w 630955"/>
              <a:gd name="connsiteY60" fmla="*/ 27443 h 109895"/>
              <a:gd name="connsiteX61" fmla="*/ 364468 w 630955"/>
              <a:gd name="connsiteY61" fmla="*/ 51215 h 109895"/>
              <a:gd name="connsiteX62" fmla="*/ 357558 w 630955"/>
              <a:gd name="connsiteY62" fmla="*/ 82889 h 109895"/>
              <a:gd name="connsiteX63" fmla="*/ 339070 w 630955"/>
              <a:gd name="connsiteY63" fmla="*/ 101992 h 109895"/>
              <a:gd name="connsiteX64" fmla="*/ 311992 w 630955"/>
              <a:gd name="connsiteY64" fmla="*/ 108402 h 109895"/>
              <a:gd name="connsiteX65" fmla="*/ 277630 w 630955"/>
              <a:gd name="connsiteY65" fmla="*/ 108402 h 109895"/>
              <a:gd name="connsiteX66" fmla="*/ 277630 w 630955"/>
              <a:gd name="connsiteY66" fmla="*/ 1307 h 109895"/>
              <a:gd name="connsiteX67" fmla="*/ 311992 w 630955"/>
              <a:gd name="connsiteY67" fmla="*/ 95707 h 109895"/>
              <a:gd name="connsiteX68" fmla="*/ 331413 w 630955"/>
              <a:gd name="connsiteY68" fmla="*/ 91227 h 109895"/>
              <a:gd name="connsiteX69" fmla="*/ 344424 w 630955"/>
              <a:gd name="connsiteY69" fmla="*/ 77039 h 109895"/>
              <a:gd name="connsiteX70" fmla="*/ 349216 w 630955"/>
              <a:gd name="connsiteY70" fmla="*/ 52272 h 109895"/>
              <a:gd name="connsiteX71" fmla="*/ 344610 w 630955"/>
              <a:gd name="connsiteY71" fmla="*/ 28936 h 109895"/>
              <a:gd name="connsiteX72" fmla="*/ 331912 w 630955"/>
              <a:gd name="connsiteY72" fmla="*/ 17424 h 109895"/>
              <a:gd name="connsiteX73" fmla="*/ 313673 w 630955"/>
              <a:gd name="connsiteY73" fmla="*/ 14188 h 109895"/>
              <a:gd name="connsiteX74" fmla="*/ 291698 w 630955"/>
              <a:gd name="connsiteY74" fmla="*/ 14188 h 109895"/>
              <a:gd name="connsiteX75" fmla="*/ 291698 w 630955"/>
              <a:gd name="connsiteY75" fmla="*/ 95707 h 109895"/>
              <a:gd name="connsiteX76" fmla="*/ 311992 w 630955"/>
              <a:gd name="connsiteY76" fmla="*/ 95707 h 109895"/>
              <a:gd name="connsiteX77" fmla="*/ 429580 w 630955"/>
              <a:gd name="connsiteY77" fmla="*/ 109896 h 109895"/>
              <a:gd name="connsiteX78" fmla="*/ 401817 w 630955"/>
              <a:gd name="connsiteY78" fmla="*/ 103300 h 109895"/>
              <a:gd name="connsiteX79" fmla="*/ 383453 w 630955"/>
              <a:gd name="connsiteY79" fmla="*/ 84507 h 109895"/>
              <a:gd name="connsiteX80" fmla="*/ 376855 w 630955"/>
              <a:gd name="connsiteY80" fmla="*/ 54948 h 109895"/>
              <a:gd name="connsiteX81" fmla="*/ 390425 w 630955"/>
              <a:gd name="connsiteY81" fmla="*/ 14624 h 109895"/>
              <a:gd name="connsiteX82" fmla="*/ 429269 w 630955"/>
              <a:gd name="connsiteY82" fmla="*/ 0 h 109895"/>
              <a:gd name="connsiteX83" fmla="*/ 447196 w 630955"/>
              <a:gd name="connsiteY83" fmla="*/ 2054 h 109895"/>
              <a:gd name="connsiteX84" fmla="*/ 461888 w 630955"/>
              <a:gd name="connsiteY84" fmla="*/ 7716 h 109895"/>
              <a:gd name="connsiteX85" fmla="*/ 461888 w 630955"/>
              <a:gd name="connsiteY85" fmla="*/ 21158 h 109895"/>
              <a:gd name="connsiteX86" fmla="*/ 446761 w 630955"/>
              <a:gd name="connsiteY86" fmla="*/ 14935 h 109895"/>
              <a:gd name="connsiteX87" fmla="*/ 429145 w 630955"/>
              <a:gd name="connsiteY87" fmla="*/ 12695 h 109895"/>
              <a:gd name="connsiteX88" fmla="*/ 401195 w 630955"/>
              <a:gd name="connsiteY88" fmla="*/ 23273 h 109895"/>
              <a:gd name="connsiteX89" fmla="*/ 392106 w 630955"/>
              <a:gd name="connsiteY89" fmla="*/ 54948 h 109895"/>
              <a:gd name="connsiteX90" fmla="*/ 401942 w 630955"/>
              <a:gd name="connsiteY90" fmla="*/ 86747 h 109895"/>
              <a:gd name="connsiteX91" fmla="*/ 430763 w 630955"/>
              <a:gd name="connsiteY91" fmla="*/ 97201 h 109895"/>
              <a:gd name="connsiteX92" fmla="*/ 461888 w 630955"/>
              <a:gd name="connsiteY92" fmla="*/ 87369 h 109895"/>
              <a:gd name="connsiteX93" fmla="*/ 461888 w 630955"/>
              <a:gd name="connsiteY93" fmla="*/ 100811 h 109895"/>
              <a:gd name="connsiteX94" fmla="*/ 447944 w 630955"/>
              <a:gd name="connsiteY94" fmla="*/ 107531 h 109895"/>
              <a:gd name="connsiteX95" fmla="*/ 429580 w 630955"/>
              <a:gd name="connsiteY95" fmla="*/ 109896 h 109895"/>
              <a:gd name="connsiteX96" fmla="*/ 507267 w 630955"/>
              <a:gd name="connsiteY96" fmla="*/ 109896 h 109895"/>
              <a:gd name="connsiteX97" fmla="*/ 478757 w 630955"/>
              <a:gd name="connsiteY97" fmla="*/ 102304 h 109895"/>
              <a:gd name="connsiteX98" fmla="*/ 478757 w 630955"/>
              <a:gd name="connsiteY98" fmla="*/ 87618 h 109895"/>
              <a:gd name="connsiteX99" fmla="*/ 491891 w 630955"/>
              <a:gd name="connsiteY99" fmla="*/ 95272 h 109895"/>
              <a:gd name="connsiteX100" fmla="*/ 507267 w 630955"/>
              <a:gd name="connsiteY100" fmla="*/ 97637 h 109895"/>
              <a:gd name="connsiteX101" fmla="*/ 524323 w 630955"/>
              <a:gd name="connsiteY101" fmla="*/ 90916 h 109895"/>
              <a:gd name="connsiteX102" fmla="*/ 530424 w 630955"/>
              <a:gd name="connsiteY102" fmla="*/ 73305 h 109895"/>
              <a:gd name="connsiteX103" fmla="*/ 524447 w 630955"/>
              <a:gd name="connsiteY103" fmla="*/ 56255 h 109895"/>
              <a:gd name="connsiteX104" fmla="*/ 509384 w 630955"/>
              <a:gd name="connsiteY104" fmla="*/ 50903 h 109895"/>
              <a:gd name="connsiteX105" fmla="*/ 498739 w 630955"/>
              <a:gd name="connsiteY105" fmla="*/ 53143 h 109895"/>
              <a:gd name="connsiteX106" fmla="*/ 492638 w 630955"/>
              <a:gd name="connsiteY106" fmla="*/ 57624 h 109895"/>
              <a:gd name="connsiteX107" fmla="*/ 481745 w 630955"/>
              <a:gd name="connsiteY107" fmla="*/ 57624 h 109895"/>
              <a:gd name="connsiteX108" fmla="*/ 481745 w 630955"/>
              <a:gd name="connsiteY108" fmla="*/ 1307 h 109895"/>
              <a:gd name="connsiteX109" fmla="*/ 539699 w 630955"/>
              <a:gd name="connsiteY109" fmla="*/ 1307 h 109895"/>
              <a:gd name="connsiteX110" fmla="*/ 539699 w 630955"/>
              <a:gd name="connsiteY110" fmla="*/ 14188 h 109895"/>
              <a:gd name="connsiteX111" fmla="*/ 493945 w 630955"/>
              <a:gd name="connsiteY111" fmla="*/ 14188 h 109895"/>
              <a:gd name="connsiteX112" fmla="*/ 493945 w 630955"/>
              <a:gd name="connsiteY112" fmla="*/ 44805 h 109895"/>
              <a:gd name="connsiteX113" fmla="*/ 501291 w 630955"/>
              <a:gd name="connsiteY113" fmla="*/ 40885 h 109895"/>
              <a:gd name="connsiteX114" fmla="*/ 511625 w 630955"/>
              <a:gd name="connsiteY114" fmla="*/ 39080 h 109895"/>
              <a:gd name="connsiteX115" fmla="*/ 528307 w 630955"/>
              <a:gd name="connsiteY115" fmla="*/ 43000 h 109895"/>
              <a:gd name="connsiteX116" fmla="*/ 540134 w 630955"/>
              <a:gd name="connsiteY116" fmla="*/ 54326 h 109895"/>
              <a:gd name="connsiteX117" fmla="*/ 544616 w 630955"/>
              <a:gd name="connsiteY117" fmla="*/ 72995 h 109895"/>
              <a:gd name="connsiteX118" fmla="*/ 540010 w 630955"/>
              <a:gd name="connsiteY118" fmla="*/ 92410 h 109895"/>
              <a:gd name="connsiteX119" fmla="*/ 527124 w 630955"/>
              <a:gd name="connsiteY119" fmla="*/ 105415 h 109895"/>
              <a:gd name="connsiteX120" fmla="*/ 507267 w 630955"/>
              <a:gd name="connsiteY120" fmla="*/ 109896 h 109895"/>
              <a:gd name="connsiteX121" fmla="*/ 565532 w 630955"/>
              <a:gd name="connsiteY121" fmla="*/ 1307 h 109895"/>
              <a:gd name="connsiteX122" fmla="*/ 630955 w 630955"/>
              <a:gd name="connsiteY122" fmla="*/ 1307 h 109895"/>
              <a:gd name="connsiteX123" fmla="*/ 630955 w 630955"/>
              <a:gd name="connsiteY123" fmla="*/ 14188 h 109895"/>
              <a:gd name="connsiteX124" fmla="*/ 579538 w 630955"/>
              <a:gd name="connsiteY124" fmla="*/ 14188 h 109895"/>
              <a:gd name="connsiteX125" fmla="*/ 579538 w 630955"/>
              <a:gd name="connsiteY125" fmla="*/ 49720 h 109895"/>
              <a:gd name="connsiteX126" fmla="*/ 623174 w 630955"/>
              <a:gd name="connsiteY126" fmla="*/ 49720 h 109895"/>
              <a:gd name="connsiteX127" fmla="*/ 623174 w 630955"/>
              <a:gd name="connsiteY127" fmla="*/ 62415 h 109895"/>
              <a:gd name="connsiteX128" fmla="*/ 579538 w 630955"/>
              <a:gd name="connsiteY128" fmla="*/ 62415 h 109895"/>
              <a:gd name="connsiteX129" fmla="*/ 579538 w 630955"/>
              <a:gd name="connsiteY129" fmla="*/ 108402 h 109895"/>
              <a:gd name="connsiteX130" fmla="*/ 565532 w 630955"/>
              <a:gd name="connsiteY130" fmla="*/ 108402 h 109895"/>
              <a:gd name="connsiteX131" fmla="*/ 565532 w 630955"/>
              <a:gd name="connsiteY131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630955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13673" y="1307"/>
                </a:lnTo>
                <a:cubicBezTo>
                  <a:pt x="320831" y="1307"/>
                  <a:pt x="327492" y="2179"/>
                  <a:pt x="333654" y="3858"/>
                </a:cubicBezTo>
                <a:cubicBezTo>
                  <a:pt x="339879" y="5538"/>
                  <a:pt x="345233" y="8339"/>
                  <a:pt x="349840" y="12197"/>
                </a:cubicBezTo>
                <a:cubicBezTo>
                  <a:pt x="354384" y="15993"/>
                  <a:pt x="357994" y="21096"/>
                  <a:pt x="360546" y="27443"/>
                </a:cubicBezTo>
                <a:cubicBezTo>
                  <a:pt x="363160" y="33853"/>
                  <a:pt x="364468" y="41756"/>
                  <a:pt x="364468" y="51215"/>
                </a:cubicBezTo>
                <a:cubicBezTo>
                  <a:pt x="364468" y="63722"/>
                  <a:pt x="362165" y="74301"/>
                  <a:pt x="357558" y="82889"/>
                </a:cubicBezTo>
                <a:cubicBezTo>
                  <a:pt x="353076" y="91352"/>
                  <a:pt x="346913" y="97699"/>
                  <a:pt x="339070" y="101992"/>
                </a:cubicBezTo>
                <a:cubicBezTo>
                  <a:pt x="331165" y="106287"/>
                  <a:pt x="322201" y="108402"/>
                  <a:pt x="311992" y="108402"/>
                </a:cubicBez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11992" y="95707"/>
                </a:moveTo>
                <a:cubicBezTo>
                  <a:pt x="319400" y="95707"/>
                  <a:pt x="325873" y="94214"/>
                  <a:pt x="331413" y="91227"/>
                </a:cubicBezTo>
                <a:cubicBezTo>
                  <a:pt x="337016" y="88116"/>
                  <a:pt x="341373" y="83386"/>
                  <a:pt x="344424" y="77039"/>
                </a:cubicBezTo>
                <a:cubicBezTo>
                  <a:pt x="347598" y="70568"/>
                  <a:pt x="349216" y="62291"/>
                  <a:pt x="349216" y="52272"/>
                </a:cubicBezTo>
                <a:cubicBezTo>
                  <a:pt x="349216" y="42191"/>
                  <a:pt x="347660" y="34413"/>
                  <a:pt x="344610" y="28936"/>
                </a:cubicBezTo>
                <a:cubicBezTo>
                  <a:pt x="341498" y="23460"/>
                  <a:pt x="337265" y="19664"/>
                  <a:pt x="331912" y="17424"/>
                </a:cubicBezTo>
                <a:cubicBezTo>
                  <a:pt x="326620" y="15246"/>
                  <a:pt x="320520" y="14188"/>
                  <a:pt x="313673" y="14188"/>
                </a:cubicBezTo>
                <a:lnTo>
                  <a:pt x="291698" y="14188"/>
                </a:lnTo>
                <a:lnTo>
                  <a:pt x="291698" y="95707"/>
                </a:lnTo>
                <a:lnTo>
                  <a:pt x="311992" y="95707"/>
                </a:lnTo>
                <a:close/>
                <a:moveTo>
                  <a:pt x="429580" y="109896"/>
                </a:moveTo>
                <a:cubicBezTo>
                  <a:pt x="419060" y="109896"/>
                  <a:pt x="409785" y="107718"/>
                  <a:pt x="401817" y="103300"/>
                </a:cubicBezTo>
                <a:cubicBezTo>
                  <a:pt x="393912" y="98943"/>
                  <a:pt x="387811" y="92658"/>
                  <a:pt x="383453" y="84507"/>
                </a:cubicBezTo>
                <a:cubicBezTo>
                  <a:pt x="379034" y="76230"/>
                  <a:pt x="376855" y="66398"/>
                  <a:pt x="376855" y="54948"/>
                </a:cubicBezTo>
                <a:cubicBezTo>
                  <a:pt x="376855" y="37711"/>
                  <a:pt x="381399" y="24269"/>
                  <a:pt x="390425" y="14624"/>
                </a:cubicBezTo>
                <a:cubicBezTo>
                  <a:pt x="399514" y="4854"/>
                  <a:pt x="412462" y="0"/>
                  <a:pt x="429269" y="0"/>
                </a:cubicBezTo>
                <a:cubicBezTo>
                  <a:pt x="435556" y="0"/>
                  <a:pt x="441532" y="684"/>
                  <a:pt x="447196" y="2054"/>
                </a:cubicBezTo>
                <a:cubicBezTo>
                  <a:pt x="452986" y="3361"/>
                  <a:pt x="457904" y="5228"/>
                  <a:pt x="461888" y="7716"/>
                </a:cubicBezTo>
                <a:lnTo>
                  <a:pt x="461888" y="21158"/>
                </a:lnTo>
                <a:cubicBezTo>
                  <a:pt x="457592" y="18482"/>
                  <a:pt x="452550" y="16428"/>
                  <a:pt x="446761" y="14935"/>
                </a:cubicBezTo>
                <a:cubicBezTo>
                  <a:pt x="441096" y="13442"/>
                  <a:pt x="435245" y="12695"/>
                  <a:pt x="429145" y="12695"/>
                </a:cubicBezTo>
                <a:cubicBezTo>
                  <a:pt x="416570" y="12695"/>
                  <a:pt x="407295" y="16180"/>
                  <a:pt x="401195" y="23273"/>
                </a:cubicBezTo>
                <a:cubicBezTo>
                  <a:pt x="395156" y="30368"/>
                  <a:pt x="392106" y="40885"/>
                  <a:pt x="392106" y="54948"/>
                </a:cubicBezTo>
                <a:cubicBezTo>
                  <a:pt x="392106" y="69074"/>
                  <a:pt x="395405" y="79653"/>
                  <a:pt x="401942" y="86747"/>
                </a:cubicBezTo>
                <a:cubicBezTo>
                  <a:pt x="408540" y="93716"/>
                  <a:pt x="418126" y="97201"/>
                  <a:pt x="430763" y="97201"/>
                </a:cubicBezTo>
                <a:cubicBezTo>
                  <a:pt x="442715" y="97201"/>
                  <a:pt x="453110" y="93903"/>
                  <a:pt x="461888" y="87369"/>
                </a:cubicBezTo>
                <a:lnTo>
                  <a:pt x="461888" y="100811"/>
                </a:lnTo>
                <a:cubicBezTo>
                  <a:pt x="458401" y="103548"/>
                  <a:pt x="453733" y="105788"/>
                  <a:pt x="447944" y="107531"/>
                </a:cubicBezTo>
                <a:cubicBezTo>
                  <a:pt x="442217" y="109087"/>
                  <a:pt x="436054" y="109896"/>
                  <a:pt x="429580" y="109896"/>
                </a:cubicBezTo>
                <a:close/>
                <a:moveTo>
                  <a:pt x="507267" y="109896"/>
                </a:moveTo>
                <a:cubicBezTo>
                  <a:pt x="495315" y="109896"/>
                  <a:pt x="485791" y="107344"/>
                  <a:pt x="478757" y="102304"/>
                </a:cubicBezTo>
                <a:lnTo>
                  <a:pt x="478757" y="87618"/>
                </a:lnTo>
                <a:cubicBezTo>
                  <a:pt x="482928" y="91040"/>
                  <a:pt x="487285" y="93592"/>
                  <a:pt x="491891" y="95272"/>
                </a:cubicBezTo>
                <a:cubicBezTo>
                  <a:pt x="496435" y="96828"/>
                  <a:pt x="501603" y="97637"/>
                  <a:pt x="507267" y="97637"/>
                </a:cubicBezTo>
                <a:cubicBezTo>
                  <a:pt x="514612" y="97637"/>
                  <a:pt x="520339" y="95397"/>
                  <a:pt x="524323" y="90916"/>
                </a:cubicBezTo>
                <a:cubicBezTo>
                  <a:pt x="528369" y="86435"/>
                  <a:pt x="530424" y="80586"/>
                  <a:pt x="530424" y="73305"/>
                </a:cubicBezTo>
                <a:cubicBezTo>
                  <a:pt x="530424" y="65527"/>
                  <a:pt x="528431" y="59864"/>
                  <a:pt x="524447" y="56255"/>
                </a:cubicBezTo>
                <a:cubicBezTo>
                  <a:pt x="520463" y="52708"/>
                  <a:pt x="515422" y="50903"/>
                  <a:pt x="509384" y="50903"/>
                </a:cubicBezTo>
                <a:cubicBezTo>
                  <a:pt x="504963" y="50903"/>
                  <a:pt x="501416" y="51650"/>
                  <a:pt x="498739" y="53143"/>
                </a:cubicBezTo>
                <a:cubicBezTo>
                  <a:pt x="496062" y="54512"/>
                  <a:pt x="494008" y="56006"/>
                  <a:pt x="492638" y="57624"/>
                </a:cubicBezTo>
                <a:lnTo>
                  <a:pt x="481745" y="57624"/>
                </a:lnTo>
                <a:lnTo>
                  <a:pt x="481745" y="1307"/>
                </a:lnTo>
                <a:lnTo>
                  <a:pt x="539699" y="1307"/>
                </a:lnTo>
                <a:lnTo>
                  <a:pt x="539699" y="14188"/>
                </a:lnTo>
                <a:lnTo>
                  <a:pt x="493945" y="14188"/>
                </a:lnTo>
                <a:lnTo>
                  <a:pt x="493945" y="44805"/>
                </a:lnTo>
                <a:cubicBezTo>
                  <a:pt x="495938" y="43312"/>
                  <a:pt x="498428" y="42004"/>
                  <a:pt x="501291" y="40885"/>
                </a:cubicBezTo>
                <a:cubicBezTo>
                  <a:pt x="504154" y="39702"/>
                  <a:pt x="507640" y="39080"/>
                  <a:pt x="511625" y="39080"/>
                </a:cubicBezTo>
                <a:cubicBezTo>
                  <a:pt x="517787" y="39080"/>
                  <a:pt x="523327" y="40386"/>
                  <a:pt x="528307" y="43000"/>
                </a:cubicBezTo>
                <a:cubicBezTo>
                  <a:pt x="533287" y="45489"/>
                  <a:pt x="537271" y="49285"/>
                  <a:pt x="540134" y="54326"/>
                </a:cubicBezTo>
                <a:cubicBezTo>
                  <a:pt x="543122" y="59304"/>
                  <a:pt x="544616" y="65527"/>
                  <a:pt x="544616" y="72995"/>
                </a:cubicBezTo>
                <a:cubicBezTo>
                  <a:pt x="544616" y="80399"/>
                  <a:pt x="543060" y="86871"/>
                  <a:pt x="540010" y="92410"/>
                </a:cubicBezTo>
                <a:cubicBezTo>
                  <a:pt x="537022" y="98010"/>
                  <a:pt x="532727" y="102304"/>
                  <a:pt x="527124" y="105415"/>
                </a:cubicBezTo>
                <a:cubicBezTo>
                  <a:pt x="521584" y="108402"/>
                  <a:pt x="514923" y="109896"/>
                  <a:pt x="507267" y="109896"/>
                </a:cubicBezTo>
                <a:close/>
                <a:moveTo>
                  <a:pt x="565532" y="1307"/>
                </a:moveTo>
                <a:lnTo>
                  <a:pt x="630955" y="1307"/>
                </a:lnTo>
                <a:lnTo>
                  <a:pt x="630955" y="14188"/>
                </a:lnTo>
                <a:lnTo>
                  <a:pt x="579538" y="14188"/>
                </a:lnTo>
                <a:lnTo>
                  <a:pt x="579538" y="49720"/>
                </a:lnTo>
                <a:lnTo>
                  <a:pt x="623174" y="49720"/>
                </a:lnTo>
                <a:lnTo>
                  <a:pt x="623174" y="62415"/>
                </a:lnTo>
                <a:lnTo>
                  <a:pt x="579538" y="62415"/>
                </a:lnTo>
                <a:lnTo>
                  <a:pt x="579538" y="108402"/>
                </a:lnTo>
                <a:lnTo>
                  <a:pt x="565532" y="108402"/>
                </a:lnTo>
                <a:lnTo>
                  <a:pt x="565532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3" name="Полилиния 1092">
            <a:extLst>
              <a:ext uri="{FF2B5EF4-FFF2-40B4-BE49-F238E27FC236}">
                <a16:creationId xmlns:a16="http://schemas.microsoft.com/office/drawing/2014/main" id="{B92DEB19-4B81-712E-0989-C6BEE752296B}"/>
              </a:ext>
            </a:extLst>
          </p:cNvPr>
          <p:cNvSpPr/>
          <p:nvPr userDrawn="1"/>
        </p:nvSpPr>
        <p:spPr>
          <a:xfrm>
            <a:off x="21534071" y="8144980"/>
            <a:ext cx="1398954" cy="726227"/>
          </a:xfrm>
          <a:custGeom>
            <a:avLst/>
            <a:gdLst>
              <a:gd name="connsiteX0" fmla="*/ 1275 w 1198727"/>
              <a:gd name="connsiteY0" fmla="*/ 1622 h 622284"/>
              <a:gd name="connsiteX1" fmla="*/ 1200003 w 1198727"/>
              <a:gd name="connsiteY1" fmla="*/ 1622 h 622284"/>
              <a:gd name="connsiteX2" fmla="*/ 1200003 w 1198727"/>
              <a:gd name="connsiteY2" fmla="*/ 623906 h 622284"/>
              <a:gd name="connsiteX3" fmla="*/ 1275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622"/>
                </a:moveTo>
                <a:lnTo>
                  <a:pt x="1200003" y="1622"/>
                </a:lnTo>
                <a:lnTo>
                  <a:pt x="1200003" y="623906"/>
                </a:lnTo>
                <a:lnTo>
                  <a:pt x="1275" y="623906"/>
                </a:lnTo>
                <a:close/>
              </a:path>
            </a:pathLst>
          </a:custGeom>
          <a:solidFill>
            <a:srgbClr val="FFEB9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4" name="Полилиния 1093">
            <a:extLst>
              <a:ext uri="{FF2B5EF4-FFF2-40B4-BE49-F238E27FC236}">
                <a16:creationId xmlns:a16="http://schemas.microsoft.com/office/drawing/2014/main" id="{598CD82F-B187-CCBF-CC10-62C9A3FA80CC}"/>
              </a:ext>
            </a:extLst>
          </p:cNvPr>
          <p:cNvSpPr/>
          <p:nvPr userDrawn="1"/>
        </p:nvSpPr>
        <p:spPr>
          <a:xfrm>
            <a:off x="21657280" y="8446726"/>
            <a:ext cx="725376" cy="128468"/>
          </a:xfrm>
          <a:custGeom>
            <a:avLst/>
            <a:gdLst>
              <a:gd name="connsiteX0" fmla="*/ 22099 w 621555"/>
              <a:gd name="connsiteY0" fmla="*/ 108588 h 110081"/>
              <a:gd name="connsiteX1" fmla="*/ 10147 w 621555"/>
              <a:gd name="connsiteY1" fmla="*/ 108588 h 110081"/>
              <a:gd name="connsiteX2" fmla="*/ 16434 w 621555"/>
              <a:gd name="connsiteY2" fmla="*/ 77661 h 110081"/>
              <a:gd name="connsiteX3" fmla="*/ 0 w 621555"/>
              <a:gd name="connsiteY3" fmla="*/ 77661 h 110081"/>
              <a:gd name="connsiteX4" fmla="*/ 0 w 621555"/>
              <a:gd name="connsiteY4" fmla="*/ 67206 h 110081"/>
              <a:gd name="connsiteX5" fmla="*/ 18675 w 621555"/>
              <a:gd name="connsiteY5" fmla="*/ 67206 h 110081"/>
              <a:gd name="connsiteX6" fmla="*/ 24215 w 621555"/>
              <a:gd name="connsiteY6" fmla="*/ 40012 h 110081"/>
              <a:gd name="connsiteX7" fmla="*/ 4046 w 621555"/>
              <a:gd name="connsiteY7" fmla="*/ 40012 h 110081"/>
              <a:gd name="connsiteX8" fmla="*/ 4046 w 621555"/>
              <a:gd name="connsiteY8" fmla="*/ 29559 h 110081"/>
              <a:gd name="connsiteX9" fmla="*/ 26269 w 621555"/>
              <a:gd name="connsiteY9" fmla="*/ 29559 h 110081"/>
              <a:gd name="connsiteX10" fmla="*/ 32121 w 621555"/>
              <a:gd name="connsiteY10" fmla="*/ 1493 h 110081"/>
              <a:gd name="connsiteX11" fmla="*/ 44073 w 621555"/>
              <a:gd name="connsiteY11" fmla="*/ 1493 h 110081"/>
              <a:gd name="connsiteX12" fmla="*/ 38221 w 621555"/>
              <a:gd name="connsiteY12" fmla="*/ 29559 h 110081"/>
              <a:gd name="connsiteX13" fmla="*/ 60630 w 621555"/>
              <a:gd name="connsiteY13" fmla="*/ 29559 h 110081"/>
              <a:gd name="connsiteX14" fmla="*/ 66482 w 621555"/>
              <a:gd name="connsiteY14" fmla="*/ 1493 h 110081"/>
              <a:gd name="connsiteX15" fmla="*/ 78434 w 621555"/>
              <a:gd name="connsiteY15" fmla="*/ 1493 h 110081"/>
              <a:gd name="connsiteX16" fmla="*/ 72582 w 621555"/>
              <a:gd name="connsiteY16" fmla="*/ 29559 h 110081"/>
              <a:gd name="connsiteX17" fmla="*/ 89327 w 621555"/>
              <a:gd name="connsiteY17" fmla="*/ 29559 h 110081"/>
              <a:gd name="connsiteX18" fmla="*/ 89327 w 621555"/>
              <a:gd name="connsiteY18" fmla="*/ 40012 h 110081"/>
              <a:gd name="connsiteX19" fmla="*/ 70529 w 621555"/>
              <a:gd name="connsiteY19" fmla="*/ 40012 h 110081"/>
              <a:gd name="connsiteX20" fmla="*/ 64988 w 621555"/>
              <a:gd name="connsiteY20" fmla="*/ 67206 h 110081"/>
              <a:gd name="connsiteX21" fmla="*/ 85282 w 621555"/>
              <a:gd name="connsiteY21" fmla="*/ 67206 h 110081"/>
              <a:gd name="connsiteX22" fmla="*/ 85282 w 621555"/>
              <a:gd name="connsiteY22" fmla="*/ 77661 h 110081"/>
              <a:gd name="connsiteX23" fmla="*/ 62747 w 621555"/>
              <a:gd name="connsiteY23" fmla="*/ 77661 h 110081"/>
              <a:gd name="connsiteX24" fmla="*/ 56460 w 621555"/>
              <a:gd name="connsiteY24" fmla="*/ 108588 h 110081"/>
              <a:gd name="connsiteX25" fmla="*/ 44508 w 621555"/>
              <a:gd name="connsiteY25" fmla="*/ 108588 h 110081"/>
              <a:gd name="connsiteX26" fmla="*/ 50795 w 621555"/>
              <a:gd name="connsiteY26" fmla="*/ 77661 h 110081"/>
              <a:gd name="connsiteX27" fmla="*/ 28386 w 621555"/>
              <a:gd name="connsiteY27" fmla="*/ 77661 h 110081"/>
              <a:gd name="connsiteX28" fmla="*/ 22099 w 621555"/>
              <a:gd name="connsiteY28" fmla="*/ 108588 h 110081"/>
              <a:gd name="connsiteX29" fmla="*/ 30627 w 621555"/>
              <a:gd name="connsiteY29" fmla="*/ 67206 h 110081"/>
              <a:gd name="connsiteX30" fmla="*/ 53036 w 621555"/>
              <a:gd name="connsiteY30" fmla="*/ 67206 h 110081"/>
              <a:gd name="connsiteX31" fmla="*/ 58576 w 621555"/>
              <a:gd name="connsiteY31" fmla="*/ 40012 h 110081"/>
              <a:gd name="connsiteX32" fmla="*/ 36167 w 621555"/>
              <a:gd name="connsiteY32" fmla="*/ 40012 h 110081"/>
              <a:gd name="connsiteX33" fmla="*/ 30627 w 621555"/>
              <a:gd name="connsiteY33" fmla="*/ 67206 h 110081"/>
              <a:gd name="connsiteX34" fmla="*/ 107816 w 621555"/>
              <a:gd name="connsiteY34" fmla="*/ 1493 h 110081"/>
              <a:gd name="connsiteX35" fmla="*/ 173239 w 621555"/>
              <a:gd name="connsiteY35" fmla="*/ 1493 h 110081"/>
              <a:gd name="connsiteX36" fmla="*/ 173239 w 621555"/>
              <a:gd name="connsiteY36" fmla="*/ 14374 h 110081"/>
              <a:gd name="connsiteX37" fmla="*/ 121884 w 621555"/>
              <a:gd name="connsiteY37" fmla="*/ 14374 h 110081"/>
              <a:gd name="connsiteX38" fmla="*/ 121884 w 621555"/>
              <a:gd name="connsiteY38" fmla="*/ 49907 h 110081"/>
              <a:gd name="connsiteX39" fmla="*/ 165520 w 621555"/>
              <a:gd name="connsiteY39" fmla="*/ 49907 h 110081"/>
              <a:gd name="connsiteX40" fmla="*/ 165520 w 621555"/>
              <a:gd name="connsiteY40" fmla="*/ 62601 h 110081"/>
              <a:gd name="connsiteX41" fmla="*/ 121884 w 621555"/>
              <a:gd name="connsiteY41" fmla="*/ 62601 h 110081"/>
              <a:gd name="connsiteX42" fmla="*/ 121884 w 621555"/>
              <a:gd name="connsiteY42" fmla="*/ 108588 h 110081"/>
              <a:gd name="connsiteX43" fmla="*/ 107816 w 621555"/>
              <a:gd name="connsiteY43" fmla="*/ 108588 h 110081"/>
              <a:gd name="connsiteX44" fmla="*/ 107816 w 621555"/>
              <a:gd name="connsiteY44" fmla="*/ 1493 h 110081"/>
              <a:gd name="connsiteX45" fmla="*/ 192723 w 621555"/>
              <a:gd name="connsiteY45" fmla="*/ 1493 h 110081"/>
              <a:gd name="connsiteX46" fmla="*/ 258146 w 621555"/>
              <a:gd name="connsiteY46" fmla="*/ 1493 h 110081"/>
              <a:gd name="connsiteX47" fmla="*/ 258146 w 621555"/>
              <a:gd name="connsiteY47" fmla="*/ 14374 h 110081"/>
              <a:gd name="connsiteX48" fmla="*/ 206791 w 621555"/>
              <a:gd name="connsiteY48" fmla="*/ 14374 h 110081"/>
              <a:gd name="connsiteX49" fmla="*/ 206791 w 621555"/>
              <a:gd name="connsiteY49" fmla="*/ 49907 h 110081"/>
              <a:gd name="connsiteX50" fmla="*/ 250427 w 621555"/>
              <a:gd name="connsiteY50" fmla="*/ 49907 h 110081"/>
              <a:gd name="connsiteX51" fmla="*/ 250427 w 621555"/>
              <a:gd name="connsiteY51" fmla="*/ 62601 h 110081"/>
              <a:gd name="connsiteX52" fmla="*/ 206791 w 621555"/>
              <a:gd name="connsiteY52" fmla="*/ 62601 h 110081"/>
              <a:gd name="connsiteX53" fmla="*/ 206791 w 621555"/>
              <a:gd name="connsiteY53" fmla="*/ 108588 h 110081"/>
              <a:gd name="connsiteX54" fmla="*/ 192723 w 621555"/>
              <a:gd name="connsiteY54" fmla="*/ 108588 h 110081"/>
              <a:gd name="connsiteX55" fmla="*/ 192723 w 621555"/>
              <a:gd name="connsiteY55" fmla="*/ 1493 h 110081"/>
              <a:gd name="connsiteX56" fmla="*/ 277630 w 621555"/>
              <a:gd name="connsiteY56" fmla="*/ 1493 h 110081"/>
              <a:gd name="connsiteX57" fmla="*/ 343988 w 621555"/>
              <a:gd name="connsiteY57" fmla="*/ 1493 h 110081"/>
              <a:gd name="connsiteX58" fmla="*/ 343988 w 621555"/>
              <a:gd name="connsiteY58" fmla="*/ 14374 h 110081"/>
              <a:gd name="connsiteX59" fmla="*/ 291698 w 621555"/>
              <a:gd name="connsiteY59" fmla="*/ 14374 h 110081"/>
              <a:gd name="connsiteX60" fmla="*/ 291698 w 621555"/>
              <a:gd name="connsiteY60" fmla="*/ 46734 h 110081"/>
              <a:gd name="connsiteX61" fmla="*/ 336082 w 621555"/>
              <a:gd name="connsiteY61" fmla="*/ 46734 h 110081"/>
              <a:gd name="connsiteX62" fmla="*/ 336082 w 621555"/>
              <a:gd name="connsiteY62" fmla="*/ 59428 h 110081"/>
              <a:gd name="connsiteX63" fmla="*/ 291698 w 621555"/>
              <a:gd name="connsiteY63" fmla="*/ 59428 h 110081"/>
              <a:gd name="connsiteX64" fmla="*/ 291698 w 621555"/>
              <a:gd name="connsiteY64" fmla="*/ 95893 h 110081"/>
              <a:gd name="connsiteX65" fmla="*/ 344735 w 621555"/>
              <a:gd name="connsiteY65" fmla="*/ 95893 h 110081"/>
              <a:gd name="connsiteX66" fmla="*/ 344735 w 621555"/>
              <a:gd name="connsiteY66" fmla="*/ 108588 h 110081"/>
              <a:gd name="connsiteX67" fmla="*/ 277630 w 621555"/>
              <a:gd name="connsiteY67" fmla="*/ 108588 h 110081"/>
              <a:gd name="connsiteX68" fmla="*/ 277630 w 621555"/>
              <a:gd name="connsiteY68" fmla="*/ 1493 h 110081"/>
              <a:gd name="connsiteX69" fmla="*/ 366958 w 621555"/>
              <a:gd name="connsiteY69" fmla="*/ 1493 h 110081"/>
              <a:gd name="connsiteX70" fmla="*/ 403249 w 621555"/>
              <a:gd name="connsiteY70" fmla="*/ 1493 h 110081"/>
              <a:gd name="connsiteX71" fmla="*/ 430016 w 621555"/>
              <a:gd name="connsiteY71" fmla="*/ 7467 h 110081"/>
              <a:gd name="connsiteX72" fmla="*/ 439229 w 621555"/>
              <a:gd name="connsiteY72" fmla="*/ 27629 h 110081"/>
              <a:gd name="connsiteX73" fmla="*/ 433439 w 621555"/>
              <a:gd name="connsiteY73" fmla="*/ 45116 h 110081"/>
              <a:gd name="connsiteX74" fmla="*/ 417877 w 621555"/>
              <a:gd name="connsiteY74" fmla="*/ 53018 h 110081"/>
              <a:gd name="connsiteX75" fmla="*/ 436739 w 621555"/>
              <a:gd name="connsiteY75" fmla="*/ 60361 h 110081"/>
              <a:gd name="connsiteX76" fmla="*/ 443151 w 621555"/>
              <a:gd name="connsiteY76" fmla="*/ 77661 h 110081"/>
              <a:gd name="connsiteX77" fmla="*/ 437921 w 621555"/>
              <a:gd name="connsiteY77" fmla="*/ 95583 h 110081"/>
              <a:gd name="connsiteX78" fmla="*/ 423542 w 621555"/>
              <a:gd name="connsiteY78" fmla="*/ 105601 h 110081"/>
              <a:gd name="connsiteX79" fmla="*/ 402937 w 621555"/>
              <a:gd name="connsiteY79" fmla="*/ 108588 h 110081"/>
              <a:gd name="connsiteX80" fmla="*/ 366958 w 621555"/>
              <a:gd name="connsiteY80" fmla="*/ 108588 h 110081"/>
              <a:gd name="connsiteX81" fmla="*/ 366958 w 621555"/>
              <a:gd name="connsiteY81" fmla="*/ 1493 h 110081"/>
              <a:gd name="connsiteX82" fmla="*/ 402190 w 621555"/>
              <a:gd name="connsiteY82" fmla="*/ 47231 h 110081"/>
              <a:gd name="connsiteX83" fmla="*/ 418624 w 621555"/>
              <a:gd name="connsiteY83" fmla="*/ 42751 h 110081"/>
              <a:gd name="connsiteX84" fmla="*/ 425036 w 621555"/>
              <a:gd name="connsiteY84" fmla="*/ 28376 h 110081"/>
              <a:gd name="connsiteX85" fmla="*/ 419371 w 621555"/>
              <a:gd name="connsiteY85" fmla="*/ 17361 h 110081"/>
              <a:gd name="connsiteX86" fmla="*/ 403249 w 621555"/>
              <a:gd name="connsiteY86" fmla="*/ 14374 h 110081"/>
              <a:gd name="connsiteX87" fmla="*/ 380964 w 621555"/>
              <a:gd name="connsiteY87" fmla="*/ 14374 h 110081"/>
              <a:gd name="connsiteX88" fmla="*/ 380964 w 621555"/>
              <a:gd name="connsiteY88" fmla="*/ 47231 h 110081"/>
              <a:gd name="connsiteX89" fmla="*/ 402190 w 621555"/>
              <a:gd name="connsiteY89" fmla="*/ 47231 h 110081"/>
              <a:gd name="connsiteX90" fmla="*/ 402937 w 621555"/>
              <a:gd name="connsiteY90" fmla="*/ 95893 h 110081"/>
              <a:gd name="connsiteX91" fmla="*/ 421301 w 621555"/>
              <a:gd name="connsiteY91" fmla="*/ 92035 h 110081"/>
              <a:gd name="connsiteX92" fmla="*/ 428335 w 621555"/>
              <a:gd name="connsiteY92" fmla="*/ 77972 h 110081"/>
              <a:gd name="connsiteX93" fmla="*/ 421799 w 621555"/>
              <a:gd name="connsiteY93" fmla="*/ 63908 h 110081"/>
              <a:gd name="connsiteX94" fmla="*/ 401319 w 621555"/>
              <a:gd name="connsiteY94" fmla="*/ 59926 h 110081"/>
              <a:gd name="connsiteX95" fmla="*/ 380964 w 621555"/>
              <a:gd name="connsiteY95" fmla="*/ 59926 h 110081"/>
              <a:gd name="connsiteX96" fmla="*/ 380964 w 621555"/>
              <a:gd name="connsiteY96" fmla="*/ 95893 h 110081"/>
              <a:gd name="connsiteX97" fmla="*/ 402937 w 621555"/>
              <a:gd name="connsiteY97" fmla="*/ 95893 h 110081"/>
              <a:gd name="connsiteX98" fmla="*/ 455600 w 621555"/>
              <a:gd name="connsiteY98" fmla="*/ 35844 h 110081"/>
              <a:gd name="connsiteX99" fmla="*/ 460269 w 621555"/>
              <a:gd name="connsiteY99" fmla="*/ 17051 h 110081"/>
              <a:gd name="connsiteX100" fmla="*/ 473092 w 621555"/>
              <a:gd name="connsiteY100" fmla="*/ 4480 h 110081"/>
              <a:gd name="connsiteX101" fmla="*/ 491144 w 621555"/>
              <a:gd name="connsiteY101" fmla="*/ 0 h 110081"/>
              <a:gd name="connsiteX102" fmla="*/ 512807 w 621555"/>
              <a:gd name="connsiteY102" fmla="*/ 5849 h 110081"/>
              <a:gd name="connsiteX103" fmla="*/ 524946 w 621555"/>
              <a:gd name="connsiteY103" fmla="*/ 21842 h 110081"/>
              <a:gd name="connsiteX104" fmla="*/ 528681 w 621555"/>
              <a:gd name="connsiteY104" fmla="*/ 45426 h 110081"/>
              <a:gd name="connsiteX105" fmla="*/ 524012 w 621555"/>
              <a:gd name="connsiteY105" fmla="*/ 80088 h 110081"/>
              <a:gd name="connsiteX106" fmla="*/ 509694 w 621555"/>
              <a:gd name="connsiteY106" fmla="*/ 102303 h 110081"/>
              <a:gd name="connsiteX107" fmla="*/ 485169 w 621555"/>
              <a:gd name="connsiteY107" fmla="*/ 110082 h 110081"/>
              <a:gd name="connsiteX108" fmla="*/ 462198 w 621555"/>
              <a:gd name="connsiteY108" fmla="*/ 104543 h 110081"/>
              <a:gd name="connsiteX109" fmla="*/ 462198 w 621555"/>
              <a:gd name="connsiteY109" fmla="*/ 91413 h 110081"/>
              <a:gd name="connsiteX110" fmla="*/ 485169 w 621555"/>
              <a:gd name="connsiteY110" fmla="*/ 98010 h 110081"/>
              <a:gd name="connsiteX111" fmla="*/ 500731 w 621555"/>
              <a:gd name="connsiteY111" fmla="*/ 92907 h 110081"/>
              <a:gd name="connsiteX112" fmla="*/ 510441 w 621555"/>
              <a:gd name="connsiteY112" fmla="*/ 79154 h 110081"/>
              <a:gd name="connsiteX113" fmla="*/ 514799 w 621555"/>
              <a:gd name="connsiteY113" fmla="*/ 59739 h 110081"/>
              <a:gd name="connsiteX114" fmla="*/ 503719 w 621555"/>
              <a:gd name="connsiteY114" fmla="*/ 68389 h 110081"/>
              <a:gd name="connsiteX115" fmla="*/ 489837 w 621555"/>
              <a:gd name="connsiteY115" fmla="*/ 71127 h 110081"/>
              <a:gd name="connsiteX116" fmla="*/ 472470 w 621555"/>
              <a:gd name="connsiteY116" fmla="*/ 67082 h 110081"/>
              <a:gd name="connsiteX117" fmla="*/ 460082 w 621555"/>
              <a:gd name="connsiteY117" fmla="*/ 55134 h 110081"/>
              <a:gd name="connsiteX118" fmla="*/ 455600 w 621555"/>
              <a:gd name="connsiteY118" fmla="*/ 35844 h 110081"/>
              <a:gd name="connsiteX119" fmla="*/ 491642 w 621555"/>
              <a:gd name="connsiteY119" fmla="*/ 12134 h 110081"/>
              <a:gd name="connsiteX120" fmla="*/ 480873 w 621555"/>
              <a:gd name="connsiteY120" fmla="*/ 14810 h 110081"/>
              <a:gd name="connsiteX121" fmla="*/ 472781 w 621555"/>
              <a:gd name="connsiteY121" fmla="*/ 22589 h 110081"/>
              <a:gd name="connsiteX122" fmla="*/ 469793 w 621555"/>
              <a:gd name="connsiteY122" fmla="*/ 35532 h 110081"/>
              <a:gd name="connsiteX123" fmla="*/ 472781 w 621555"/>
              <a:gd name="connsiteY123" fmla="*/ 48725 h 110081"/>
              <a:gd name="connsiteX124" fmla="*/ 480438 w 621555"/>
              <a:gd name="connsiteY124" fmla="*/ 56752 h 110081"/>
              <a:gd name="connsiteX125" fmla="*/ 490148 w 621555"/>
              <a:gd name="connsiteY125" fmla="*/ 59428 h 110081"/>
              <a:gd name="connsiteX126" fmla="*/ 506582 w 621555"/>
              <a:gd name="connsiteY126" fmla="*/ 53329 h 110081"/>
              <a:gd name="connsiteX127" fmla="*/ 513305 w 621555"/>
              <a:gd name="connsiteY127" fmla="*/ 35283 h 110081"/>
              <a:gd name="connsiteX128" fmla="*/ 507454 w 621555"/>
              <a:gd name="connsiteY128" fmla="*/ 18544 h 110081"/>
              <a:gd name="connsiteX129" fmla="*/ 491642 w 621555"/>
              <a:gd name="connsiteY129" fmla="*/ 12134 h 110081"/>
              <a:gd name="connsiteX130" fmla="*/ 545363 w 621555"/>
              <a:gd name="connsiteY130" fmla="*/ 1493 h 110081"/>
              <a:gd name="connsiteX131" fmla="*/ 581655 w 621555"/>
              <a:gd name="connsiteY131" fmla="*/ 1493 h 110081"/>
              <a:gd name="connsiteX132" fmla="*/ 608421 w 621555"/>
              <a:gd name="connsiteY132" fmla="*/ 7467 h 110081"/>
              <a:gd name="connsiteX133" fmla="*/ 617696 w 621555"/>
              <a:gd name="connsiteY133" fmla="*/ 27629 h 110081"/>
              <a:gd name="connsiteX134" fmla="*/ 611845 w 621555"/>
              <a:gd name="connsiteY134" fmla="*/ 45116 h 110081"/>
              <a:gd name="connsiteX135" fmla="*/ 596345 w 621555"/>
              <a:gd name="connsiteY135" fmla="*/ 53018 h 110081"/>
              <a:gd name="connsiteX136" fmla="*/ 615145 w 621555"/>
              <a:gd name="connsiteY136" fmla="*/ 60361 h 110081"/>
              <a:gd name="connsiteX137" fmla="*/ 621556 w 621555"/>
              <a:gd name="connsiteY137" fmla="*/ 77661 h 110081"/>
              <a:gd name="connsiteX138" fmla="*/ 616327 w 621555"/>
              <a:gd name="connsiteY138" fmla="*/ 95583 h 110081"/>
              <a:gd name="connsiteX139" fmla="*/ 602010 w 621555"/>
              <a:gd name="connsiteY139" fmla="*/ 105601 h 110081"/>
              <a:gd name="connsiteX140" fmla="*/ 581405 w 621555"/>
              <a:gd name="connsiteY140" fmla="*/ 108588 h 110081"/>
              <a:gd name="connsiteX141" fmla="*/ 545363 w 621555"/>
              <a:gd name="connsiteY141" fmla="*/ 108588 h 110081"/>
              <a:gd name="connsiteX142" fmla="*/ 545363 w 621555"/>
              <a:gd name="connsiteY142" fmla="*/ 1493 h 110081"/>
              <a:gd name="connsiteX143" fmla="*/ 580658 w 621555"/>
              <a:gd name="connsiteY143" fmla="*/ 47231 h 110081"/>
              <a:gd name="connsiteX144" fmla="*/ 597092 w 621555"/>
              <a:gd name="connsiteY144" fmla="*/ 42751 h 110081"/>
              <a:gd name="connsiteX145" fmla="*/ 603504 w 621555"/>
              <a:gd name="connsiteY145" fmla="*/ 28376 h 110081"/>
              <a:gd name="connsiteX146" fmla="*/ 597839 w 621555"/>
              <a:gd name="connsiteY146" fmla="*/ 17361 h 110081"/>
              <a:gd name="connsiteX147" fmla="*/ 581655 w 621555"/>
              <a:gd name="connsiteY147" fmla="*/ 14374 h 110081"/>
              <a:gd name="connsiteX148" fmla="*/ 559431 w 621555"/>
              <a:gd name="connsiteY148" fmla="*/ 14374 h 110081"/>
              <a:gd name="connsiteX149" fmla="*/ 559431 w 621555"/>
              <a:gd name="connsiteY149" fmla="*/ 47231 h 110081"/>
              <a:gd name="connsiteX150" fmla="*/ 580658 w 621555"/>
              <a:gd name="connsiteY150" fmla="*/ 47231 h 110081"/>
              <a:gd name="connsiteX151" fmla="*/ 581405 w 621555"/>
              <a:gd name="connsiteY151" fmla="*/ 95893 h 110081"/>
              <a:gd name="connsiteX152" fmla="*/ 599768 w 621555"/>
              <a:gd name="connsiteY152" fmla="*/ 92035 h 110081"/>
              <a:gd name="connsiteX153" fmla="*/ 606803 w 621555"/>
              <a:gd name="connsiteY153" fmla="*/ 77972 h 110081"/>
              <a:gd name="connsiteX154" fmla="*/ 600205 w 621555"/>
              <a:gd name="connsiteY154" fmla="*/ 63908 h 110081"/>
              <a:gd name="connsiteX155" fmla="*/ 579725 w 621555"/>
              <a:gd name="connsiteY155" fmla="*/ 59926 h 110081"/>
              <a:gd name="connsiteX156" fmla="*/ 559431 w 621555"/>
              <a:gd name="connsiteY156" fmla="*/ 59926 h 110081"/>
              <a:gd name="connsiteX157" fmla="*/ 559431 w 621555"/>
              <a:gd name="connsiteY157" fmla="*/ 95893 h 110081"/>
              <a:gd name="connsiteX158" fmla="*/ 581405 w 621555"/>
              <a:gd name="connsiteY15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621555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988" y="1493"/>
                </a:lnTo>
                <a:lnTo>
                  <a:pt x="343988" y="14374"/>
                </a:lnTo>
                <a:lnTo>
                  <a:pt x="291698" y="14374"/>
                </a:lnTo>
                <a:lnTo>
                  <a:pt x="291698" y="46734"/>
                </a:lnTo>
                <a:lnTo>
                  <a:pt x="336082" y="46734"/>
                </a:lnTo>
                <a:lnTo>
                  <a:pt x="336082" y="59428"/>
                </a:lnTo>
                <a:lnTo>
                  <a:pt x="291698" y="59428"/>
                </a:lnTo>
                <a:lnTo>
                  <a:pt x="291698" y="95893"/>
                </a:lnTo>
                <a:lnTo>
                  <a:pt x="344735" y="95893"/>
                </a:lnTo>
                <a:lnTo>
                  <a:pt x="344735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66958" y="1493"/>
                </a:moveTo>
                <a:lnTo>
                  <a:pt x="403249" y="1493"/>
                </a:lnTo>
                <a:cubicBezTo>
                  <a:pt x="415014" y="1493"/>
                  <a:pt x="423915" y="3484"/>
                  <a:pt x="430016" y="7467"/>
                </a:cubicBezTo>
                <a:cubicBezTo>
                  <a:pt x="436179" y="11450"/>
                  <a:pt x="439229" y="18170"/>
                  <a:pt x="439229" y="27629"/>
                </a:cubicBezTo>
                <a:cubicBezTo>
                  <a:pt x="439229" y="35283"/>
                  <a:pt x="437299" y="41133"/>
                  <a:pt x="433439" y="45116"/>
                </a:cubicBezTo>
                <a:cubicBezTo>
                  <a:pt x="429518" y="48974"/>
                  <a:pt x="424351" y="51649"/>
                  <a:pt x="417877" y="53018"/>
                </a:cubicBezTo>
                <a:cubicBezTo>
                  <a:pt x="426157" y="54014"/>
                  <a:pt x="432443" y="56441"/>
                  <a:pt x="436739" y="60361"/>
                </a:cubicBezTo>
                <a:cubicBezTo>
                  <a:pt x="440971" y="64157"/>
                  <a:pt x="443151" y="69882"/>
                  <a:pt x="443151" y="77661"/>
                </a:cubicBezTo>
                <a:cubicBezTo>
                  <a:pt x="443151" y="85066"/>
                  <a:pt x="441408" y="91040"/>
                  <a:pt x="437921" y="95583"/>
                </a:cubicBezTo>
                <a:cubicBezTo>
                  <a:pt x="434436" y="100188"/>
                  <a:pt x="429642" y="103486"/>
                  <a:pt x="423542" y="105601"/>
                </a:cubicBezTo>
                <a:cubicBezTo>
                  <a:pt x="417504" y="107592"/>
                  <a:pt x="410595" y="108588"/>
                  <a:pt x="402937" y="108588"/>
                </a:cubicBezTo>
                <a:lnTo>
                  <a:pt x="366958" y="108588"/>
                </a:lnTo>
                <a:lnTo>
                  <a:pt x="366958" y="1493"/>
                </a:lnTo>
                <a:close/>
                <a:moveTo>
                  <a:pt x="402190" y="47231"/>
                </a:moveTo>
                <a:cubicBezTo>
                  <a:pt x="408976" y="47231"/>
                  <a:pt x="414454" y="45738"/>
                  <a:pt x="418624" y="42751"/>
                </a:cubicBezTo>
                <a:cubicBezTo>
                  <a:pt x="422920" y="39639"/>
                  <a:pt x="425036" y="34848"/>
                  <a:pt x="425036" y="28376"/>
                </a:cubicBezTo>
                <a:cubicBezTo>
                  <a:pt x="425036" y="22900"/>
                  <a:pt x="423168" y="19228"/>
                  <a:pt x="419371" y="17361"/>
                </a:cubicBezTo>
                <a:cubicBezTo>
                  <a:pt x="415574" y="15370"/>
                  <a:pt x="410221" y="14374"/>
                  <a:pt x="403249" y="14374"/>
                </a:cubicBezTo>
                <a:lnTo>
                  <a:pt x="380964" y="14374"/>
                </a:lnTo>
                <a:lnTo>
                  <a:pt x="380964" y="47231"/>
                </a:lnTo>
                <a:lnTo>
                  <a:pt x="402190" y="47231"/>
                </a:lnTo>
                <a:close/>
                <a:moveTo>
                  <a:pt x="402937" y="95893"/>
                </a:moveTo>
                <a:cubicBezTo>
                  <a:pt x="410532" y="95893"/>
                  <a:pt x="416633" y="94587"/>
                  <a:pt x="421301" y="92035"/>
                </a:cubicBezTo>
                <a:cubicBezTo>
                  <a:pt x="426032" y="89422"/>
                  <a:pt x="428335" y="84755"/>
                  <a:pt x="428335" y="77972"/>
                </a:cubicBezTo>
                <a:cubicBezTo>
                  <a:pt x="428335" y="71189"/>
                  <a:pt x="426157" y="66522"/>
                  <a:pt x="421799" y="63908"/>
                </a:cubicBezTo>
                <a:cubicBezTo>
                  <a:pt x="417504" y="61233"/>
                  <a:pt x="410656" y="59926"/>
                  <a:pt x="401319" y="59926"/>
                </a:cubicBezTo>
                <a:lnTo>
                  <a:pt x="380964" y="59926"/>
                </a:lnTo>
                <a:lnTo>
                  <a:pt x="380964" y="95893"/>
                </a:lnTo>
                <a:lnTo>
                  <a:pt x="402937" y="95893"/>
                </a:lnTo>
                <a:close/>
                <a:moveTo>
                  <a:pt x="455600" y="35844"/>
                </a:moveTo>
                <a:cubicBezTo>
                  <a:pt x="455600" y="28687"/>
                  <a:pt x="457157" y="22402"/>
                  <a:pt x="460269" y="17051"/>
                </a:cubicBezTo>
                <a:cubicBezTo>
                  <a:pt x="463444" y="11637"/>
                  <a:pt x="467739" y="7467"/>
                  <a:pt x="473092" y="4480"/>
                </a:cubicBezTo>
                <a:cubicBezTo>
                  <a:pt x="478445" y="1493"/>
                  <a:pt x="484484" y="0"/>
                  <a:pt x="491144" y="0"/>
                </a:cubicBezTo>
                <a:cubicBezTo>
                  <a:pt x="500108" y="0"/>
                  <a:pt x="507329" y="1929"/>
                  <a:pt x="512807" y="5849"/>
                </a:cubicBezTo>
                <a:cubicBezTo>
                  <a:pt x="518409" y="9645"/>
                  <a:pt x="522456" y="14934"/>
                  <a:pt x="524946" y="21842"/>
                </a:cubicBezTo>
                <a:cubicBezTo>
                  <a:pt x="527435" y="28563"/>
                  <a:pt x="528681" y="36466"/>
                  <a:pt x="528681" y="45426"/>
                </a:cubicBezTo>
                <a:cubicBezTo>
                  <a:pt x="528681" y="58868"/>
                  <a:pt x="527124" y="70380"/>
                  <a:pt x="524012" y="80088"/>
                </a:cubicBezTo>
                <a:cubicBezTo>
                  <a:pt x="520962" y="89733"/>
                  <a:pt x="516169" y="97138"/>
                  <a:pt x="509694" y="102303"/>
                </a:cubicBezTo>
                <a:cubicBezTo>
                  <a:pt x="503345" y="107468"/>
                  <a:pt x="495128" y="110082"/>
                  <a:pt x="485169" y="110082"/>
                </a:cubicBezTo>
                <a:cubicBezTo>
                  <a:pt x="476204" y="110082"/>
                  <a:pt x="468548" y="108215"/>
                  <a:pt x="462198" y="104543"/>
                </a:cubicBezTo>
                <a:lnTo>
                  <a:pt x="462198" y="91413"/>
                </a:lnTo>
                <a:cubicBezTo>
                  <a:pt x="468983" y="95769"/>
                  <a:pt x="476641" y="98010"/>
                  <a:pt x="485169" y="98010"/>
                </a:cubicBezTo>
                <a:cubicBezTo>
                  <a:pt x="491394" y="98010"/>
                  <a:pt x="496560" y="96267"/>
                  <a:pt x="500731" y="92907"/>
                </a:cubicBezTo>
                <a:cubicBezTo>
                  <a:pt x="504901" y="89546"/>
                  <a:pt x="508138" y="84941"/>
                  <a:pt x="510441" y="79154"/>
                </a:cubicBezTo>
                <a:cubicBezTo>
                  <a:pt x="512807" y="73367"/>
                  <a:pt x="514301" y="66896"/>
                  <a:pt x="514799" y="59739"/>
                </a:cubicBezTo>
                <a:cubicBezTo>
                  <a:pt x="511687" y="63660"/>
                  <a:pt x="508014" y="66522"/>
                  <a:pt x="503719" y="68389"/>
                </a:cubicBezTo>
                <a:cubicBezTo>
                  <a:pt x="499423" y="70193"/>
                  <a:pt x="494817" y="71127"/>
                  <a:pt x="489837" y="71127"/>
                </a:cubicBezTo>
                <a:cubicBezTo>
                  <a:pt x="483426" y="71127"/>
                  <a:pt x="477698" y="69758"/>
                  <a:pt x="472470" y="67082"/>
                </a:cubicBezTo>
                <a:cubicBezTo>
                  <a:pt x="467303" y="64406"/>
                  <a:pt x="463195" y="60424"/>
                  <a:pt x="460082" y="55134"/>
                </a:cubicBezTo>
                <a:cubicBezTo>
                  <a:pt x="457094" y="49845"/>
                  <a:pt x="455600" y="43435"/>
                  <a:pt x="455600" y="35844"/>
                </a:cubicBezTo>
                <a:close/>
                <a:moveTo>
                  <a:pt x="491642" y="12134"/>
                </a:moveTo>
                <a:cubicBezTo>
                  <a:pt x="487845" y="12134"/>
                  <a:pt x="484235" y="13006"/>
                  <a:pt x="480873" y="14810"/>
                </a:cubicBezTo>
                <a:cubicBezTo>
                  <a:pt x="477574" y="16490"/>
                  <a:pt x="474897" y="19104"/>
                  <a:pt x="472781" y="22589"/>
                </a:cubicBezTo>
                <a:cubicBezTo>
                  <a:pt x="470789" y="25949"/>
                  <a:pt x="469793" y="30305"/>
                  <a:pt x="469793" y="35532"/>
                </a:cubicBezTo>
                <a:cubicBezTo>
                  <a:pt x="469793" y="40759"/>
                  <a:pt x="470789" y="45116"/>
                  <a:pt x="472781" y="48725"/>
                </a:cubicBezTo>
                <a:cubicBezTo>
                  <a:pt x="474773" y="52271"/>
                  <a:pt x="477325" y="54947"/>
                  <a:pt x="480438" y="56752"/>
                </a:cubicBezTo>
                <a:cubicBezTo>
                  <a:pt x="483488" y="58556"/>
                  <a:pt x="486725" y="59428"/>
                  <a:pt x="490148" y="59428"/>
                </a:cubicBezTo>
                <a:cubicBezTo>
                  <a:pt x="496685" y="59428"/>
                  <a:pt x="502163" y="57437"/>
                  <a:pt x="506582" y="53329"/>
                </a:cubicBezTo>
                <a:cubicBezTo>
                  <a:pt x="511064" y="49160"/>
                  <a:pt x="513305" y="43124"/>
                  <a:pt x="513305" y="35283"/>
                </a:cubicBezTo>
                <a:cubicBezTo>
                  <a:pt x="513305" y="28313"/>
                  <a:pt x="511313" y="22713"/>
                  <a:pt x="507454" y="18544"/>
                </a:cubicBezTo>
                <a:cubicBezTo>
                  <a:pt x="503594" y="14250"/>
                  <a:pt x="498303" y="12134"/>
                  <a:pt x="491642" y="12134"/>
                </a:cubicBezTo>
                <a:close/>
                <a:moveTo>
                  <a:pt x="545363" y="1493"/>
                </a:moveTo>
                <a:lnTo>
                  <a:pt x="581655" y="1493"/>
                </a:lnTo>
                <a:cubicBezTo>
                  <a:pt x="593420" y="1493"/>
                  <a:pt x="602321" y="3484"/>
                  <a:pt x="608421" y="7467"/>
                </a:cubicBezTo>
                <a:cubicBezTo>
                  <a:pt x="614584" y="11450"/>
                  <a:pt x="617696" y="18170"/>
                  <a:pt x="617696" y="27629"/>
                </a:cubicBezTo>
                <a:cubicBezTo>
                  <a:pt x="617696" y="35283"/>
                  <a:pt x="615767" y="41133"/>
                  <a:pt x="611845" y="45116"/>
                </a:cubicBezTo>
                <a:cubicBezTo>
                  <a:pt x="607986" y="48974"/>
                  <a:pt x="602819" y="51649"/>
                  <a:pt x="596345" y="53018"/>
                </a:cubicBezTo>
                <a:cubicBezTo>
                  <a:pt x="604562" y="54014"/>
                  <a:pt x="610849" y="56441"/>
                  <a:pt x="615145" y="60361"/>
                </a:cubicBezTo>
                <a:cubicBezTo>
                  <a:pt x="619439" y="64157"/>
                  <a:pt x="621556" y="69882"/>
                  <a:pt x="621556" y="77661"/>
                </a:cubicBezTo>
                <a:cubicBezTo>
                  <a:pt x="621556" y="85066"/>
                  <a:pt x="619813" y="91040"/>
                  <a:pt x="616327" y="95583"/>
                </a:cubicBezTo>
                <a:cubicBezTo>
                  <a:pt x="612841" y="100188"/>
                  <a:pt x="608048" y="103486"/>
                  <a:pt x="602010" y="105601"/>
                </a:cubicBezTo>
                <a:cubicBezTo>
                  <a:pt x="595909" y="107592"/>
                  <a:pt x="589062" y="108588"/>
                  <a:pt x="581405" y="108588"/>
                </a:cubicBezTo>
                <a:lnTo>
                  <a:pt x="545363" y="108588"/>
                </a:lnTo>
                <a:lnTo>
                  <a:pt x="545363" y="1493"/>
                </a:lnTo>
                <a:close/>
                <a:moveTo>
                  <a:pt x="580658" y="47231"/>
                </a:moveTo>
                <a:cubicBezTo>
                  <a:pt x="587381" y="47231"/>
                  <a:pt x="592859" y="45738"/>
                  <a:pt x="597092" y="42751"/>
                </a:cubicBezTo>
                <a:cubicBezTo>
                  <a:pt x="601325" y="39639"/>
                  <a:pt x="603504" y="34848"/>
                  <a:pt x="603504" y="28376"/>
                </a:cubicBezTo>
                <a:cubicBezTo>
                  <a:pt x="603504" y="22900"/>
                  <a:pt x="601574" y="19228"/>
                  <a:pt x="597839" y="17361"/>
                </a:cubicBezTo>
                <a:cubicBezTo>
                  <a:pt x="594042" y="15370"/>
                  <a:pt x="588626" y="14374"/>
                  <a:pt x="581655" y="14374"/>
                </a:cubicBezTo>
                <a:lnTo>
                  <a:pt x="559431" y="14374"/>
                </a:lnTo>
                <a:lnTo>
                  <a:pt x="559431" y="47231"/>
                </a:lnTo>
                <a:lnTo>
                  <a:pt x="580658" y="47231"/>
                </a:lnTo>
                <a:close/>
                <a:moveTo>
                  <a:pt x="581405" y="95893"/>
                </a:moveTo>
                <a:cubicBezTo>
                  <a:pt x="588937" y="95893"/>
                  <a:pt x="595100" y="94587"/>
                  <a:pt x="599768" y="92035"/>
                </a:cubicBezTo>
                <a:cubicBezTo>
                  <a:pt x="604437" y="89422"/>
                  <a:pt x="606803" y="84755"/>
                  <a:pt x="606803" y="77972"/>
                </a:cubicBezTo>
                <a:cubicBezTo>
                  <a:pt x="606803" y="71189"/>
                  <a:pt x="604562" y="66522"/>
                  <a:pt x="600205" y="63908"/>
                </a:cubicBezTo>
                <a:cubicBezTo>
                  <a:pt x="595909" y="61233"/>
                  <a:pt x="589124" y="59926"/>
                  <a:pt x="579725" y="59926"/>
                </a:cubicBezTo>
                <a:lnTo>
                  <a:pt x="559431" y="59926"/>
                </a:lnTo>
                <a:lnTo>
                  <a:pt x="559431" y="95893"/>
                </a:lnTo>
                <a:lnTo>
                  <a:pt x="581405" y="958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5" name="Полилиния 1094">
            <a:extLst>
              <a:ext uri="{FF2B5EF4-FFF2-40B4-BE49-F238E27FC236}">
                <a16:creationId xmlns:a16="http://schemas.microsoft.com/office/drawing/2014/main" id="{69926424-E1DB-E279-FE30-AFD201682E89}"/>
              </a:ext>
            </a:extLst>
          </p:cNvPr>
          <p:cNvSpPr/>
          <p:nvPr userDrawn="1"/>
        </p:nvSpPr>
        <p:spPr>
          <a:xfrm>
            <a:off x="21534071" y="8871205"/>
            <a:ext cx="1398954" cy="726227"/>
          </a:xfrm>
          <a:custGeom>
            <a:avLst/>
            <a:gdLst>
              <a:gd name="connsiteX0" fmla="*/ 1275 w 1198727"/>
              <a:gd name="connsiteY0" fmla="*/ 1722 h 622284"/>
              <a:gd name="connsiteX1" fmla="*/ 1200003 w 1198727"/>
              <a:gd name="connsiteY1" fmla="*/ 1722 h 622284"/>
              <a:gd name="connsiteX2" fmla="*/ 1200003 w 1198727"/>
              <a:gd name="connsiteY2" fmla="*/ 624006 h 622284"/>
              <a:gd name="connsiteX3" fmla="*/ 1275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722"/>
                </a:moveTo>
                <a:lnTo>
                  <a:pt x="1200003" y="1722"/>
                </a:lnTo>
                <a:lnTo>
                  <a:pt x="1200003" y="624006"/>
                </a:lnTo>
                <a:lnTo>
                  <a:pt x="1275" y="624006"/>
                </a:lnTo>
                <a:close/>
              </a:path>
            </a:pathLst>
          </a:custGeom>
          <a:solidFill>
            <a:srgbClr val="FFF0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6" name="Полилиния 1095">
            <a:extLst>
              <a:ext uri="{FF2B5EF4-FFF2-40B4-BE49-F238E27FC236}">
                <a16:creationId xmlns:a16="http://schemas.microsoft.com/office/drawing/2014/main" id="{9A66479A-13C5-6F7C-9091-F3A59E655366}"/>
              </a:ext>
            </a:extLst>
          </p:cNvPr>
          <p:cNvSpPr/>
          <p:nvPr userDrawn="1"/>
        </p:nvSpPr>
        <p:spPr>
          <a:xfrm>
            <a:off x="21657280" y="9173169"/>
            <a:ext cx="716078" cy="128252"/>
          </a:xfrm>
          <a:custGeom>
            <a:avLst/>
            <a:gdLst>
              <a:gd name="connsiteX0" fmla="*/ 22099 w 613588"/>
              <a:gd name="connsiteY0" fmla="*/ 108402 h 109895"/>
              <a:gd name="connsiteX1" fmla="*/ 10147 w 613588"/>
              <a:gd name="connsiteY1" fmla="*/ 108402 h 109895"/>
              <a:gd name="connsiteX2" fmla="*/ 16434 w 613588"/>
              <a:gd name="connsiteY2" fmla="*/ 77475 h 109895"/>
              <a:gd name="connsiteX3" fmla="*/ 0 w 613588"/>
              <a:gd name="connsiteY3" fmla="*/ 77475 h 109895"/>
              <a:gd name="connsiteX4" fmla="*/ 0 w 613588"/>
              <a:gd name="connsiteY4" fmla="*/ 67020 h 109895"/>
              <a:gd name="connsiteX5" fmla="*/ 18675 w 613588"/>
              <a:gd name="connsiteY5" fmla="*/ 67020 h 109895"/>
              <a:gd name="connsiteX6" fmla="*/ 24215 w 613588"/>
              <a:gd name="connsiteY6" fmla="*/ 39826 h 109895"/>
              <a:gd name="connsiteX7" fmla="*/ 4046 w 613588"/>
              <a:gd name="connsiteY7" fmla="*/ 39826 h 109895"/>
              <a:gd name="connsiteX8" fmla="*/ 4046 w 613588"/>
              <a:gd name="connsiteY8" fmla="*/ 29372 h 109895"/>
              <a:gd name="connsiteX9" fmla="*/ 26269 w 613588"/>
              <a:gd name="connsiteY9" fmla="*/ 29372 h 109895"/>
              <a:gd name="connsiteX10" fmla="*/ 32121 w 613588"/>
              <a:gd name="connsiteY10" fmla="*/ 1307 h 109895"/>
              <a:gd name="connsiteX11" fmla="*/ 44073 w 613588"/>
              <a:gd name="connsiteY11" fmla="*/ 1307 h 109895"/>
              <a:gd name="connsiteX12" fmla="*/ 38221 w 613588"/>
              <a:gd name="connsiteY12" fmla="*/ 29372 h 109895"/>
              <a:gd name="connsiteX13" fmla="*/ 60630 w 613588"/>
              <a:gd name="connsiteY13" fmla="*/ 29372 h 109895"/>
              <a:gd name="connsiteX14" fmla="*/ 66482 w 613588"/>
              <a:gd name="connsiteY14" fmla="*/ 1307 h 109895"/>
              <a:gd name="connsiteX15" fmla="*/ 78434 w 613588"/>
              <a:gd name="connsiteY15" fmla="*/ 1307 h 109895"/>
              <a:gd name="connsiteX16" fmla="*/ 72582 w 613588"/>
              <a:gd name="connsiteY16" fmla="*/ 29372 h 109895"/>
              <a:gd name="connsiteX17" fmla="*/ 89327 w 613588"/>
              <a:gd name="connsiteY17" fmla="*/ 29372 h 109895"/>
              <a:gd name="connsiteX18" fmla="*/ 89327 w 613588"/>
              <a:gd name="connsiteY18" fmla="*/ 39826 h 109895"/>
              <a:gd name="connsiteX19" fmla="*/ 70529 w 613588"/>
              <a:gd name="connsiteY19" fmla="*/ 39826 h 109895"/>
              <a:gd name="connsiteX20" fmla="*/ 64988 w 613588"/>
              <a:gd name="connsiteY20" fmla="*/ 67020 h 109895"/>
              <a:gd name="connsiteX21" fmla="*/ 85282 w 613588"/>
              <a:gd name="connsiteY21" fmla="*/ 67020 h 109895"/>
              <a:gd name="connsiteX22" fmla="*/ 85282 w 613588"/>
              <a:gd name="connsiteY22" fmla="*/ 77475 h 109895"/>
              <a:gd name="connsiteX23" fmla="*/ 62747 w 613588"/>
              <a:gd name="connsiteY23" fmla="*/ 77475 h 109895"/>
              <a:gd name="connsiteX24" fmla="*/ 56460 w 613588"/>
              <a:gd name="connsiteY24" fmla="*/ 108402 h 109895"/>
              <a:gd name="connsiteX25" fmla="*/ 44508 w 613588"/>
              <a:gd name="connsiteY25" fmla="*/ 108402 h 109895"/>
              <a:gd name="connsiteX26" fmla="*/ 50795 w 613588"/>
              <a:gd name="connsiteY26" fmla="*/ 77475 h 109895"/>
              <a:gd name="connsiteX27" fmla="*/ 28386 w 613588"/>
              <a:gd name="connsiteY27" fmla="*/ 77475 h 109895"/>
              <a:gd name="connsiteX28" fmla="*/ 22099 w 613588"/>
              <a:gd name="connsiteY28" fmla="*/ 108402 h 109895"/>
              <a:gd name="connsiteX29" fmla="*/ 30627 w 613588"/>
              <a:gd name="connsiteY29" fmla="*/ 67020 h 109895"/>
              <a:gd name="connsiteX30" fmla="*/ 53036 w 613588"/>
              <a:gd name="connsiteY30" fmla="*/ 67020 h 109895"/>
              <a:gd name="connsiteX31" fmla="*/ 58576 w 613588"/>
              <a:gd name="connsiteY31" fmla="*/ 39826 h 109895"/>
              <a:gd name="connsiteX32" fmla="*/ 36167 w 613588"/>
              <a:gd name="connsiteY32" fmla="*/ 39826 h 109895"/>
              <a:gd name="connsiteX33" fmla="*/ 30627 w 613588"/>
              <a:gd name="connsiteY33" fmla="*/ 67020 h 109895"/>
              <a:gd name="connsiteX34" fmla="*/ 107816 w 613588"/>
              <a:gd name="connsiteY34" fmla="*/ 1307 h 109895"/>
              <a:gd name="connsiteX35" fmla="*/ 173239 w 613588"/>
              <a:gd name="connsiteY35" fmla="*/ 1307 h 109895"/>
              <a:gd name="connsiteX36" fmla="*/ 173239 w 613588"/>
              <a:gd name="connsiteY36" fmla="*/ 14188 h 109895"/>
              <a:gd name="connsiteX37" fmla="*/ 121884 w 613588"/>
              <a:gd name="connsiteY37" fmla="*/ 14188 h 109895"/>
              <a:gd name="connsiteX38" fmla="*/ 121884 w 613588"/>
              <a:gd name="connsiteY38" fmla="*/ 49720 h 109895"/>
              <a:gd name="connsiteX39" fmla="*/ 165520 w 613588"/>
              <a:gd name="connsiteY39" fmla="*/ 49720 h 109895"/>
              <a:gd name="connsiteX40" fmla="*/ 165520 w 613588"/>
              <a:gd name="connsiteY40" fmla="*/ 62415 h 109895"/>
              <a:gd name="connsiteX41" fmla="*/ 121884 w 613588"/>
              <a:gd name="connsiteY41" fmla="*/ 62415 h 109895"/>
              <a:gd name="connsiteX42" fmla="*/ 121884 w 613588"/>
              <a:gd name="connsiteY42" fmla="*/ 108402 h 109895"/>
              <a:gd name="connsiteX43" fmla="*/ 107816 w 613588"/>
              <a:gd name="connsiteY43" fmla="*/ 108402 h 109895"/>
              <a:gd name="connsiteX44" fmla="*/ 107816 w 613588"/>
              <a:gd name="connsiteY44" fmla="*/ 1307 h 109895"/>
              <a:gd name="connsiteX45" fmla="*/ 192723 w 613588"/>
              <a:gd name="connsiteY45" fmla="*/ 1307 h 109895"/>
              <a:gd name="connsiteX46" fmla="*/ 258146 w 613588"/>
              <a:gd name="connsiteY46" fmla="*/ 1307 h 109895"/>
              <a:gd name="connsiteX47" fmla="*/ 258146 w 613588"/>
              <a:gd name="connsiteY47" fmla="*/ 14188 h 109895"/>
              <a:gd name="connsiteX48" fmla="*/ 206791 w 613588"/>
              <a:gd name="connsiteY48" fmla="*/ 14188 h 109895"/>
              <a:gd name="connsiteX49" fmla="*/ 206791 w 613588"/>
              <a:gd name="connsiteY49" fmla="*/ 49720 h 109895"/>
              <a:gd name="connsiteX50" fmla="*/ 250427 w 613588"/>
              <a:gd name="connsiteY50" fmla="*/ 49720 h 109895"/>
              <a:gd name="connsiteX51" fmla="*/ 250427 w 613588"/>
              <a:gd name="connsiteY51" fmla="*/ 62415 h 109895"/>
              <a:gd name="connsiteX52" fmla="*/ 206791 w 613588"/>
              <a:gd name="connsiteY52" fmla="*/ 62415 h 109895"/>
              <a:gd name="connsiteX53" fmla="*/ 206791 w 613588"/>
              <a:gd name="connsiteY53" fmla="*/ 108402 h 109895"/>
              <a:gd name="connsiteX54" fmla="*/ 192723 w 613588"/>
              <a:gd name="connsiteY54" fmla="*/ 108402 h 109895"/>
              <a:gd name="connsiteX55" fmla="*/ 192723 w 613588"/>
              <a:gd name="connsiteY55" fmla="*/ 1307 h 109895"/>
              <a:gd name="connsiteX56" fmla="*/ 277630 w 613588"/>
              <a:gd name="connsiteY56" fmla="*/ 1307 h 109895"/>
              <a:gd name="connsiteX57" fmla="*/ 343116 w 613588"/>
              <a:gd name="connsiteY57" fmla="*/ 1307 h 109895"/>
              <a:gd name="connsiteX58" fmla="*/ 343116 w 613588"/>
              <a:gd name="connsiteY58" fmla="*/ 14188 h 109895"/>
              <a:gd name="connsiteX59" fmla="*/ 291698 w 613588"/>
              <a:gd name="connsiteY59" fmla="*/ 14188 h 109895"/>
              <a:gd name="connsiteX60" fmla="*/ 291698 w 613588"/>
              <a:gd name="connsiteY60" fmla="*/ 49720 h 109895"/>
              <a:gd name="connsiteX61" fmla="*/ 335335 w 613588"/>
              <a:gd name="connsiteY61" fmla="*/ 49720 h 109895"/>
              <a:gd name="connsiteX62" fmla="*/ 335335 w 613588"/>
              <a:gd name="connsiteY62" fmla="*/ 62415 h 109895"/>
              <a:gd name="connsiteX63" fmla="*/ 291698 w 613588"/>
              <a:gd name="connsiteY63" fmla="*/ 62415 h 109895"/>
              <a:gd name="connsiteX64" fmla="*/ 291698 w 613588"/>
              <a:gd name="connsiteY64" fmla="*/ 108402 h 109895"/>
              <a:gd name="connsiteX65" fmla="*/ 277630 w 613588"/>
              <a:gd name="connsiteY65" fmla="*/ 108402 h 109895"/>
              <a:gd name="connsiteX66" fmla="*/ 277630 w 613588"/>
              <a:gd name="connsiteY66" fmla="*/ 1307 h 109895"/>
              <a:gd name="connsiteX67" fmla="*/ 391421 w 613588"/>
              <a:gd name="connsiteY67" fmla="*/ 109896 h 109895"/>
              <a:gd name="connsiteX68" fmla="*/ 373183 w 613588"/>
              <a:gd name="connsiteY68" fmla="*/ 104047 h 109895"/>
              <a:gd name="connsiteX69" fmla="*/ 360484 w 613588"/>
              <a:gd name="connsiteY69" fmla="*/ 86125 h 109895"/>
              <a:gd name="connsiteX70" fmla="*/ 356002 w 613588"/>
              <a:gd name="connsiteY70" fmla="*/ 54761 h 109895"/>
              <a:gd name="connsiteX71" fmla="*/ 360484 w 613588"/>
              <a:gd name="connsiteY71" fmla="*/ 23398 h 109895"/>
              <a:gd name="connsiteX72" fmla="*/ 373183 w 613588"/>
              <a:gd name="connsiteY72" fmla="*/ 5663 h 109895"/>
              <a:gd name="connsiteX73" fmla="*/ 391421 w 613588"/>
              <a:gd name="connsiteY73" fmla="*/ 0 h 109895"/>
              <a:gd name="connsiteX74" fmla="*/ 409474 w 613588"/>
              <a:gd name="connsiteY74" fmla="*/ 5663 h 109895"/>
              <a:gd name="connsiteX75" fmla="*/ 421861 w 613588"/>
              <a:gd name="connsiteY75" fmla="*/ 23398 h 109895"/>
              <a:gd name="connsiteX76" fmla="*/ 426343 w 613588"/>
              <a:gd name="connsiteY76" fmla="*/ 54512 h 109895"/>
              <a:gd name="connsiteX77" fmla="*/ 421861 w 613588"/>
              <a:gd name="connsiteY77" fmla="*/ 85876 h 109895"/>
              <a:gd name="connsiteX78" fmla="*/ 409474 w 613588"/>
              <a:gd name="connsiteY78" fmla="*/ 104047 h 109895"/>
              <a:gd name="connsiteX79" fmla="*/ 391421 w 613588"/>
              <a:gd name="connsiteY79" fmla="*/ 109896 h 109895"/>
              <a:gd name="connsiteX80" fmla="*/ 391235 w 613588"/>
              <a:gd name="connsiteY80" fmla="*/ 98072 h 109895"/>
              <a:gd name="connsiteX81" fmla="*/ 402627 w 613588"/>
              <a:gd name="connsiteY81" fmla="*/ 94089 h 109895"/>
              <a:gd name="connsiteX82" fmla="*/ 409785 w 613588"/>
              <a:gd name="connsiteY82" fmla="*/ 80462 h 109895"/>
              <a:gd name="connsiteX83" fmla="*/ 412337 w 613588"/>
              <a:gd name="connsiteY83" fmla="*/ 54948 h 109895"/>
              <a:gd name="connsiteX84" fmla="*/ 409909 w 613588"/>
              <a:gd name="connsiteY84" fmla="*/ 29559 h 109895"/>
              <a:gd name="connsiteX85" fmla="*/ 402751 w 613588"/>
              <a:gd name="connsiteY85" fmla="*/ 15931 h 109895"/>
              <a:gd name="connsiteX86" fmla="*/ 391421 w 613588"/>
              <a:gd name="connsiteY86" fmla="*/ 11761 h 109895"/>
              <a:gd name="connsiteX87" fmla="*/ 379906 w 613588"/>
              <a:gd name="connsiteY87" fmla="*/ 15931 h 109895"/>
              <a:gd name="connsiteX88" fmla="*/ 372560 w 613588"/>
              <a:gd name="connsiteY88" fmla="*/ 29559 h 109895"/>
              <a:gd name="connsiteX89" fmla="*/ 370008 w 613588"/>
              <a:gd name="connsiteY89" fmla="*/ 54948 h 109895"/>
              <a:gd name="connsiteX90" fmla="*/ 372436 w 613588"/>
              <a:gd name="connsiteY90" fmla="*/ 80462 h 109895"/>
              <a:gd name="connsiteX91" fmla="*/ 379719 w 613588"/>
              <a:gd name="connsiteY91" fmla="*/ 94089 h 109895"/>
              <a:gd name="connsiteX92" fmla="*/ 391235 w 613588"/>
              <a:gd name="connsiteY92" fmla="*/ 98072 h 109895"/>
              <a:gd name="connsiteX93" fmla="*/ 532540 w 613588"/>
              <a:gd name="connsiteY93" fmla="*/ 108402 h 109895"/>
              <a:gd name="connsiteX94" fmla="*/ 517600 w 613588"/>
              <a:gd name="connsiteY94" fmla="*/ 108402 h 109895"/>
              <a:gd name="connsiteX95" fmla="*/ 506582 w 613588"/>
              <a:gd name="connsiteY95" fmla="*/ 77786 h 109895"/>
              <a:gd name="connsiteX96" fmla="*/ 459211 w 613588"/>
              <a:gd name="connsiteY96" fmla="*/ 77786 h 109895"/>
              <a:gd name="connsiteX97" fmla="*/ 448317 w 613588"/>
              <a:gd name="connsiteY97" fmla="*/ 108402 h 109895"/>
              <a:gd name="connsiteX98" fmla="*/ 435120 w 613588"/>
              <a:gd name="connsiteY98" fmla="*/ 108402 h 109895"/>
              <a:gd name="connsiteX99" fmla="*/ 473217 w 613588"/>
              <a:gd name="connsiteY99" fmla="*/ 1307 h 109895"/>
              <a:gd name="connsiteX100" fmla="*/ 494132 w 613588"/>
              <a:gd name="connsiteY100" fmla="*/ 1307 h 109895"/>
              <a:gd name="connsiteX101" fmla="*/ 532540 w 613588"/>
              <a:gd name="connsiteY101" fmla="*/ 108402 h 109895"/>
              <a:gd name="connsiteX102" fmla="*/ 463817 w 613588"/>
              <a:gd name="connsiteY102" fmla="*/ 65091 h 109895"/>
              <a:gd name="connsiteX103" fmla="*/ 502100 w 613588"/>
              <a:gd name="connsiteY103" fmla="*/ 65091 h 109895"/>
              <a:gd name="connsiteX104" fmla="*/ 482928 w 613588"/>
              <a:gd name="connsiteY104" fmla="*/ 11761 h 109895"/>
              <a:gd name="connsiteX105" fmla="*/ 463817 w 613588"/>
              <a:gd name="connsiteY105" fmla="*/ 65091 h 109895"/>
              <a:gd name="connsiteX106" fmla="*/ 548165 w 613588"/>
              <a:gd name="connsiteY106" fmla="*/ 1307 h 109895"/>
              <a:gd name="connsiteX107" fmla="*/ 613588 w 613588"/>
              <a:gd name="connsiteY107" fmla="*/ 1307 h 109895"/>
              <a:gd name="connsiteX108" fmla="*/ 613588 w 613588"/>
              <a:gd name="connsiteY108" fmla="*/ 14188 h 109895"/>
              <a:gd name="connsiteX109" fmla="*/ 562171 w 613588"/>
              <a:gd name="connsiteY109" fmla="*/ 14188 h 109895"/>
              <a:gd name="connsiteX110" fmla="*/ 562171 w 613588"/>
              <a:gd name="connsiteY110" fmla="*/ 49720 h 109895"/>
              <a:gd name="connsiteX111" fmla="*/ 605807 w 613588"/>
              <a:gd name="connsiteY111" fmla="*/ 49720 h 109895"/>
              <a:gd name="connsiteX112" fmla="*/ 605807 w 613588"/>
              <a:gd name="connsiteY112" fmla="*/ 62415 h 109895"/>
              <a:gd name="connsiteX113" fmla="*/ 562171 w 613588"/>
              <a:gd name="connsiteY113" fmla="*/ 62415 h 109895"/>
              <a:gd name="connsiteX114" fmla="*/ 562171 w 613588"/>
              <a:gd name="connsiteY114" fmla="*/ 108402 h 109895"/>
              <a:gd name="connsiteX115" fmla="*/ 548165 w 613588"/>
              <a:gd name="connsiteY115" fmla="*/ 108402 h 109895"/>
              <a:gd name="connsiteX116" fmla="*/ 548165 w 613588"/>
              <a:gd name="connsiteY116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61358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43116" y="1307"/>
                </a:lnTo>
                <a:lnTo>
                  <a:pt x="343116" y="14188"/>
                </a:lnTo>
                <a:lnTo>
                  <a:pt x="291698" y="14188"/>
                </a:lnTo>
                <a:lnTo>
                  <a:pt x="291698" y="49720"/>
                </a:lnTo>
                <a:lnTo>
                  <a:pt x="335335" y="49720"/>
                </a:lnTo>
                <a:lnTo>
                  <a:pt x="335335" y="62415"/>
                </a:lnTo>
                <a:lnTo>
                  <a:pt x="291698" y="62415"/>
                </a:lnTo>
                <a:lnTo>
                  <a:pt x="291698" y="108402"/>
                </a:ln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91421" y="109896"/>
                </a:moveTo>
                <a:cubicBezTo>
                  <a:pt x="384637" y="109896"/>
                  <a:pt x="378536" y="107967"/>
                  <a:pt x="373183" y="104047"/>
                </a:cubicBezTo>
                <a:cubicBezTo>
                  <a:pt x="367767" y="100188"/>
                  <a:pt x="363534" y="94214"/>
                  <a:pt x="360484" y="86125"/>
                </a:cubicBezTo>
                <a:cubicBezTo>
                  <a:pt x="357496" y="77972"/>
                  <a:pt x="356002" y="67518"/>
                  <a:pt x="356002" y="54761"/>
                </a:cubicBezTo>
                <a:cubicBezTo>
                  <a:pt x="356002" y="41942"/>
                  <a:pt x="357496" y="31488"/>
                  <a:pt x="360484" y="23398"/>
                </a:cubicBezTo>
                <a:cubicBezTo>
                  <a:pt x="363534" y="15371"/>
                  <a:pt x="367767" y="9459"/>
                  <a:pt x="373183" y="5663"/>
                </a:cubicBezTo>
                <a:cubicBezTo>
                  <a:pt x="378536" y="1867"/>
                  <a:pt x="384637" y="0"/>
                  <a:pt x="391421" y="0"/>
                </a:cubicBezTo>
                <a:cubicBezTo>
                  <a:pt x="398145" y="0"/>
                  <a:pt x="404183" y="1867"/>
                  <a:pt x="409474" y="5663"/>
                </a:cubicBezTo>
                <a:cubicBezTo>
                  <a:pt x="414765" y="9459"/>
                  <a:pt x="418873" y="15371"/>
                  <a:pt x="421861" y="23398"/>
                </a:cubicBezTo>
                <a:cubicBezTo>
                  <a:pt x="424849" y="31363"/>
                  <a:pt x="426343" y="41756"/>
                  <a:pt x="426343" y="54512"/>
                </a:cubicBezTo>
                <a:cubicBezTo>
                  <a:pt x="426343" y="67145"/>
                  <a:pt x="424849" y="77599"/>
                  <a:pt x="421861" y="85876"/>
                </a:cubicBezTo>
                <a:cubicBezTo>
                  <a:pt x="418873" y="94027"/>
                  <a:pt x="414765" y="100064"/>
                  <a:pt x="409474" y="104047"/>
                </a:cubicBezTo>
                <a:cubicBezTo>
                  <a:pt x="404183" y="107967"/>
                  <a:pt x="398145" y="109896"/>
                  <a:pt x="391421" y="109896"/>
                </a:cubicBezTo>
                <a:close/>
                <a:moveTo>
                  <a:pt x="391235" y="98072"/>
                </a:moveTo>
                <a:cubicBezTo>
                  <a:pt x="395717" y="98072"/>
                  <a:pt x="399514" y="96766"/>
                  <a:pt x="402627" y="94089"/>
                </a:cubicBezTo>
                <a:cubicBezTo>
                  <a:pt x="405801" y="91289"/>
                  <a:pt x="408167" y="86747"/>
                  <a:pt x="409785" y="80462"/>
                </a:cubicBezTo>
                <a:cubicBezTo>
                  <a:pt x="411465" y="74114"/>
                  <a:pt x="412337" y="65589"/>
                  <a:pt x="412337" y="54948"/>
                </a:cubicBezTo>
                <a:cubicBezTo>
                  <a:pt x="412337" y="44307"/>
                  <a:pt x="411528" y="35844"/>
                  <a:pt x="409909" y="29559"/>
                </a:cubicBezTo>
                <a:cubicBezTo>
                  <a:pt x="408353" y="23150"/>
                  <a:pt x="405926" y="18669"/>
                  <a:pt x="402751" y="15931"/>
                </a:cubicBezTo>
                <a:cubicBezTo>
                  <a:pt x="399639" y="13192"/>
                  <a:pt x="395903" y="11761"/>
                  <a:pt x="391421" y="11761"/>
                </a:cubicBezTo>
                <a:cubicBezTo>
                  <a:pt x="386940" y="11761"/>
                  <a:pt x="383080" y="13192"/>
                  <a:pt x="379906" y="15931"/>
                </a:cubicBezTo>
                <a:cubicBezTo>
                  <a:pt x="376731" y="18669"/>
                  <a:pt x="374241" y="23150"/>
                  <a:pt x="372560" y="29559"/>
                </a:cubicBezTo>
                <a:cubicBezTo>
                  <a:pt x="370880" y="35844"/>
                  <a:pt x="370008" y="44307"/>
                  <a:pt x="370008" y="54948"/>
                </a:cubicBezTo>
                <a:cubicBezTo>
                  <a:pt x="370008" y="65589"/>
                  <a:pt x="370817" y="74114"/>
                  <a:pt x="372436" y="80462"/>
                </a:cubicBezTo>
                <a:cubicBezTo>
                  <a:pt x="374116" y="86747"/>
                  <a:pt x="376544" y="91289"/>
                  <a:pt x="379719" y="94089"/>
                </a:cubicBezTo>
                <a:cubicBezTo>
                  <a:pt x="382956" y="96766"/>
                  <a:pt x="386753" y="98072"/>
                  <a:pt x="391235" y="98072"/>
                </a:cubicBezTo>
                <a:close/>
                <a:moveTo>
                  <a:pt x="532540" y="108402"/>
                </a:moveTo>
                <a:lnTo>
                  <a:pt x="517600" y="108402"/>
                </a:lnTo>
                <a:lnTo>
                  <a:pt x="506582" y="77786"/>
                </a:lnTo>
                <a:lnTo>
                  <a:pt x="459211" y="77786"/>
                </a:lnTo>
                <a:lnTo>
                  <a:pt x="448317" y="108402"/>
                </a:lnTo>
                <a:lnTo>
                  <a:pt x="435120" y="108402"/>
                </a:lnTo>
                <a:lnTo>
                  <a:pt x="473217" y="1307"/>
                </a:lnTo>
                <a:lnTo>
                  <a:pt x="494132" y="1307"/>
                </a:lnTo>
                <a:lnTo>
                  <a:pt x="532540" y="108402"/>
                </a:lnTo>
                <a:close/>
                <a:moveTo>
                  <a:pt x="463817" y="65091"/>
                </a:moveTo>
                <a:lnTo>
                  <a:pt x="502100" y="65091"/>
                </a:lnTo>
                <a:lnTo>
                  <a:pt x="482928" y="11761"/>
                </a:lnTo>
                <a:lnTo>
                  <a:pt x="463817" y="65091"/>
                </a:lnTo>
                <a:close/>
                <a:moveTo>
                  <a:pt x="548165" y="1307"/>
                </a:moveTo>
                <a:lnTo>
                  <a:pt x="613588" y="1307"/>
                </a:lnTo>
                <a:lnTo>
                  <a:pt x="613588" y="14188"/>
                </a:lnTo>
                <a:lnTo>
                  <a:pt x="562171" y="14188"/>
                </a:lnTo>
                <a:lnTo>
                  <a:pt x="562171" y="49720"/>
                </a:lnTo>
                <a:lnTo>
                  <a:pt x="605807" y="49720"/>
                </a:lnTo>
                <a:lnTo>
                  <a:pt x="605807" y="62415"/>
                </a:lnTo>
                <a:lnTo>
                  <a:pt x="562171" y="62415"/>
                </a:lnTo>
                <a:lnTo>
                  <a:pt x="562171" y="108402"/>
                </a:lnTo>
                <a:lnTo>
                  <a:pt x="548165" y="108402"/>
                </a:lnTo>
                <a:lnTo>
                  <a:pt x="548165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7" name="Полилиния 1096">
            <a:extLst>
              <a:ext uri="{FF2B5EF4-FFF2-40B4-BE49-F238E27FC236}">
                <a16:creationId xmlns:a16="http://schemas.microsoft.com/office/drawing/2014/main" id="{87EB0B46-C6CF-A8F1-BC2C-EF846900782A}"/>
              </a:ext>
            </a:extLst>
          </p:cNvPr>
          <p:cNvSpPr/>
          <p:nvPr userDrawn="1"/>
        </p:nvSpPr>
        <p:spPr>
          <a:xfrm>
            <a:off x="21534071" y="9597431"/>
            <a:ext cx="1398954" cy="726227"/>
          </a:xfrm>
          <a:custGeom>
            <a:avLst/>
            <a:gdLst>
              <a:gd name="connsiteX0" fmla="*/ 1275 w 1198727"/>
              <a:gd name="connsiteY0" fmla="*/ 1822 h 622284"/>
              <a:gd name="connsiteX1" fmla="*/ 1200003 w 1198727"/>
              <a:gd name="connsiteY1" fmla="*/ 1822 h 622284"/>
              <a:gd name="connsiteX2" fmla="*/ 1200003 w 1198727"/>
              <a:gd name="connsiteY2" fmla="*/ 624106 h 622284"/>
              <a:gd name="connsiteX3" fmla="*/ 1275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822"/>
                </a:moveTo>
                <a:lnTo>
                  <a:pt x="1200003" y="1822"/>
                </a:lnTo>
                <a:lnTo>
                  <a:pt x="1200003" y="624106"/>
                </a:lnTo>
                <a:lnTo>
                  <a:pt x="1275" y="624106"/>
                </a:lnTo>
                <a:close/>
              </a:path>
            </a:pathLst>
          </a:custGeom>
          <a:solidFill>
            <a:srgbClr val="FFF5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8" name="Полилиния 1097">
            <a:extLst>
              <a:ext uri="{FF2B5EF4-FFF2-40B4-BE49-F238E27FC236}">
                <a16:creationId xmlns:a16="http://schemas.microsoft.com/office/drawing/2014/main" id="{0AB7DA65-8CE3-FECF-7F83-E9BDBE7B402D}"/>
              </a:ext>
            </a:extLst>
          </p:cNvPr>
          <p:cNvSpPr/>
          <p:nvPr userDrawn="1"/>
        </p:nvSpPr>
        <p:spPr>
          <a:xfrm>
            <a:off x="21657280" y="9899178"/>
            <a:ext cx="715640" cy="128468"/>
          </a:xfrm>
          <a:custGeom>
            <a:avLst/>
            <a:gdLst>
              <a:gd name="connsiteX0" fmla="*/ 22099 w 613214"/>
              <a:gd name="connsiteY0" fmla="*/ 108588 h 110081"/>
              <a:gd name="connsiteX1" fmla="*/ 10147 w 613214"/>
              <a:gd name="connsiteY1" fmla="*/ 108588 h 110081"/>
              <a:gd name="connsiteX2" fmla="*/ 16434 w 613214"/>
              <a:gd name="connsiteY2" fmla="*/ 77661 h 110081"/>
              <a:gd name="connsiteX3" fmla="*/ 0 w 613214"/>
              <a:gd name="connsiteY3" fmla="*/ 77661 h 110081"/>
              <a:gd name="connsiteX4" fmla="*/ 0 w 613214"/>
              <a:gd name="connsiteY4" fmla="*/ 67206 h 110081"/>
              <a:gd name="connsiteX5" fmla="*/ 18675 w 613214"/>
              <a:gd name="connsiteY5" fmla="*/ 67206 h 110081"/>
              <a:gd name="connsiteX6" fmla="*/ 24215 w 613214"/>
              <a:gd name="connsiteY6" fmla="*/ 40012 h 110081"/>
              <a:gd name="connsiteX7" fmla="*/ 4046 w 613214"/>
              <a:gd name="connsiteY7" fmla="*/ 40012 h 110081"/>
              <a:gd name="connsiteX8" fmla="*/ 4046 w 613214"/>
              <a:gd name="connsiteY8" fmla="*/ 29559 h 110081"/>
              <a:gd name="connsiteX9" fmla="*/ 26269 w 613214"/>
              <a:gd name="connsiteY9" fmla="*/ 29559 h 110081"/>
              <a:gd name="connsiteX10" fmla="*/ 32121 w 613214"/>
              <a:gd name="connsiteY10" fmla="*/ 1493 h 110081"/>
              <a:gd name="connsiteX11" fmla="*/ 44073 w 613214"/>
              <a:gd name="connsiteY11" fmla="*/ 1493 h 110081"/>
              <a:gd name="connsiteX12" fmla="*/ 38221 w 613214"/>
              <a:gd name="connsiteY12" fmla="*/ 29559 h 110081"/>
              <a:gd name="connsiteX13" fmla="*/ 60630 w 613214"/>
              <a:gd name="connsiteY13" fmla="*/ 29559 h 110081"/>
              <a:gd name="connsiteX14" fmla="*/ 66482 w 613214"/>
              <a:gd name="connsiteY14" fmla="*/ 1493 h 110081"/>
              <a:gd name="connsiteX15" fmla="*/ 78434 w 613214"/>
              <a:gd name="connsiteY15" fmla="*/ 1493 h 110081"/>
              <a:gd name="connsiteX16" fmla="*/ 72582 w 613214"/>
              <a:gd name="connsiteY16" fmla="*/ 29559 h 110081"/>
              <a:gd name="connsiteX17" fmla="*/ 89327 w 613214"/>
              <a:gd name="connsiteY17" fmla="*/ 29559 h 110081"/>
              <a:gd name="connsiteX18" fmla="*/ 89327 w 613214"/>
              <a:gd name="connsiteY18" fmla="*/ 40012 h 110081"/>
              <a:gd name="connsiteX19" fmla="*/ 70529 w 613214"/>
              <a:gd name="connsiteY19" fmla="*/ 40012 h 110081"/>
              <a:gd name="connsiteX20" fmla="*/ 64988 w 613214"/>
              <a:gd name="connsiteY20" fmla="*/ 67206 h 110081"/>
              <a:gd name="connsiteX21" fmla="*/ 85282 w 613214"/>
              <a:gd name="connsiteY21" fmla="*/ 67206 h 110081"/>
              <a:gd name="connsiteX22" fmla="*/ 85282 w 613214"/>
              <a:gd name="connsiteY22" fmla="*/ 77661 h 110081"/>
              <a:gd name="connsiteX23" fmla="*/ 62747 w 613214"/>
              <a:gd name="connsiteY23" fmla="*/ 77661 h 110081"/>
              <a:gd name="connsiteX24" fmla="*/ 56460 w 613214"/>
              <a:gd name="connsiteY24" fmla="*/ 108588 h 110081"/>
              <a:gd name="connsiteX25" fmla="*/ 44508 w 613214"/>
              <a:gd name="connsiteY25" fmla="*/ 108588 h 110081"/>
              <a:gd name="connsiteX26" fmla="*/ 50795 w 613214"/>
              <a:gd name="connsiteY26" fmla="*/ 77661 h 110081"/>
              <a:gd name="connsiteX27" fmla="*/ 28386 w 613214"/>
              <a:gd name="connsiteY27" fmla="*/ 77661 h 110081"/>
              <a:gd name="connsiteX28" fmla="*/ 22099 w 613214"/>
              <a:gd name="connsiteY28" fmla="*/ 108588 h 110081"/>
              <a:gd name="connsiteX29" fmla="*/ 30627 w 613214"/>
              <a:gd name="connsiteY29" fmla="*/ 67206 h 110081"/>
              <a:gd name="connsiteX30" fmla="*/ 53036 w 613214"/>
              <a:gd name="connsiteY30" fmla="*/ 67206 h 110081"/>
              <a:gd name="connsiteX31" fmla="*/ 58576 w 613214"/>
              <a:gd name="connsiteY31" fmla="*/ 40012 h 110081"/>
              <a:gd name="connsiteX32" fmla="*/ 36167 w 613214"/>
              <a:gd name="connsiteY32" fmla="*/ 40012 h 110081"/>
              <a:gd name="connsiteX33" fmla="*/ 30627 w 613214"/>
              <a:gd name="connsiteY33" fmla="*/ 67206 h 110081"/>
              <a:gd name="connsiteX34" fmla="*/ 107816 w 613214"/>
              <a:gd name="connsiteY34" fmla="*/ 1493 h 110081"/>
              <a:gd name="connsiteX35" fmla="*/ 173239 w 613214"/>
              <a:gd name="connsiteY35" fmla="*/ 1493 h 110081"/>
              <a:gd name="connsiteX36" fmla="*/ 173239 w 613214"/>
              <a:gd name="connsiteY36" fmla="*/ 14374 h 110081"/>
              <a:gd name="connsiteX37" fmla="*/ 121884 w 613214"/>
              <a:gd name="connsiteY37" fmla="*/ 14374 h 110081"/>
              <a:gd name="connsiteX38" fmla="*/ 121884 w 613214"/>
              <a:gd name="connsiteY38" fmla="*/ 49907 h 110081"/>
              <a:gd name="connsiteX39" fmla="*/ 165520 w 613214"/>
              <a:gd name="connsiteY39" fmla="*/ 49907 h 110081"/>
              <a:gd name="connsiteX40" fmla="*/ 165520 w 613214"/>
              <a:gd name="connsiteY40" fmla="*/ 62601 h 110081"/>
              <a:gd name="connsiteX41" fmla="*/ 121884 w 613214"/>
              <a:gd name="connsiteY41" fmla="*/ 62601 h 110081"/>
              <a:gd name="connsiteX42" fmla="*/ 121884 w 613214"/>
              <a:gd name="connsiteY42" fmla="*/ 108588 h 110081"/>
              <a:gd name="connsiteX43" fmla="*/ 107816 w 613214"/>
              <a:gd name="connsiteY43" fmla="*/ 108588 h 110081"/>
              <a:gd name="connsiteX44" fmla="*/ 107816 w 613214"/>
              <a:gd name="connsiteY44" fmla="*/ 1493 h 110081"/>
              <a:gd name="connsiteX45" fmla="*/ 192723 w 613214"/>
              <a:gd name="connsiteY45" fmla="*/ 1493 h 110081"/>
              <a:gd name="connsiteX46" fmla="*/ 258146 w 613214"/>
              <a:gd name="connsiteY46" fmla="*/ 1493 h 110081"/>
              <a:gd name="connsiteX47" fmla="*/ 258146 w 613214"/>
              <a:gd name="connsiteY47" fmla="*/ 14374 h 110081"/>
              <a:gd name="connsiteX48" fmla="*/ 206791 w 613214"/>
              <a:gd name="connsiteY48" fmla="*/ 14374 h 110081"/>
              <a:gd name="connsiteX49" fmla="*/ 206791 w 613214"/>
              <a:gd name="connsiteY49" fmla="*/ 49907 h 110081"/>
              <a:gd name="connsiteX50" fmla="*/ 250427 w 613214"/>
              <a:gd name="connsiteY50" fmla="*/ 49907 h 110081"/>
              <a:gd name="connsiteX51" fmla="*/ 250427 w 613214"/>
              <a:gd name="connsiteY51" fmla="*/ 62601 h 110081"/>
              <a:gd name="connsiteX52" fmla="*/ 206791 w 613214"/>
              <a:gd name="connsiteY52" fmla="*/ 62601 h 110081"/>
              <a:gd name="connsiteX53" fmla="*/ 206791 w 613214"/>
              <a:gd name="connsiteY53" fmla="*/ 108588 h 110081"/>
              <a:gd name="connsiteX54" fmla="*/ 192723 w 613214"/>
              <a:gd name="connsiteY54" fmla="*/ 108588 h 110081"/>
              <a:gd name="connsiteX55" fmla="*/ 192723 w 613214"/>
              <a:gd name="connsiteY55" fmla="*/ 1493 h 110081"/>
              <a:gd name="connsiteX56" fmla="*/ 277630 w 613214"/>
              <a:gd name="connsiteY56" fmla="*/ 1493 h 110081"/>
              <a:gd name="connsiteX57" fmla="*/ 343116 w 613214"/>
              <a:gd name="connsiteY57" fmla="*/ 1493 h 110081"/>
              <a:gd name="connsiteX58" fmla="*/ 343116 w 613214"/>
              <a:gd name="connsiteY58" fmla="*/ 14374 h 110081"/>
              <a:gd name="connsiteX59" fmla="*/ 291698 w 613214"/>
              <a:gd name="connsiteY59" fmla="*/ 14374 h 110081"/>
              <a:gd name="connsiteX60" fmla="*/ 291698 w 613214"/>
              <a:gd name="connsiteY60" fmla="*/ 49907 h 110081"/>
              <a:gd name="connsiteX61" fmla="*/ 335335 w 613214"/>
              <a:gd name="connsiteY61" fmla="*/ 49907 h 110081"/>
              <a:gd name="connsiteX62" fmla="*/ 335335 w 613214"/>
              <a:gd name="connsiteY62" fmla="*/ 62601 h 110081"/>
              <a:gd name="connsiteX63" fmla="*/ 291698 w 613214"/>
              <a:gd name="connsiteY63" fmla="*/ 62601 h 110081"/>
              <a:gd name="connsiteX64" fmla="*/ 291698 w 613214"/>
              <a:gd name="connsiteY64" fmla="*/ 108588 h 110081"/>
              <a:gd name="connsiteX65" fmla="*/ 277630 w 613214"/>
              <a:gd name="connsiteY65" fmla="*/ 108588 h 110081"/>
              <a:gd name="connsiteX66" fmla="*/ 277630 w 613214"/>
              <a:gd name="connsiteY66" fmla="*/ 1493 h 110081"/>
              <a:gd name="connsiteX67" fmla="*/ 386442 w 613214"/>
              <a:gd name="connsiteY67" fmla="*/ 110082 h 110081"/>
              <a:gd name="connsiteX68" fmla="*/ 357931 w 613214"/>
              <a:gd name="connsiteY68" fmla="*/ 102490 h 110081"/>
              <a:gd name="connsiteX69" fmla="*/ 357931 w 613214"/>
              <a:gd name="connsiteY69" fmla="*/ 87804 h 110081"/>
              <a:gd name="connsiteX70" fmla="*/ 371066 w 613214"/>
              <a:gd name="connsiteY70" fmla="*/ 95458 h 110081"/>
              <a:gd name="connsiteX71" fmla="*/ 386442 w 613214"/>
              <a:gd name="connsiteY71" fmla="*/ 97823 h 110081"/>
              <a:gd name="connsiteX72" fmla="*/ 403498 w 613214"/>
              <a:gd name="connsiteY72" fmla="*/ 91102 h 110081"/>
              <a:gd name="connsiteX73" fmla="*/ 409598 w 613214"/>
              <a:gd name="connsiteY73" fmla="*/ 73491 h 110081"/>
              <a:gd name="connsiteX74" fmla="*/ 403622 w 613214"/>
              <a:gd name="connsiteY74" fmla="*/ 56441 h 110081"/>
              <a:gd name="connsiteX75" fmla="*/ 388558 w 613214"/>
              <a:gd name="connsiteY75" fmla="*/ 51089 h 110081"/>
              <a:gd name="connsiteX76" fmla="*/ 377975 w 613214"/>
              <a:gd name="connsiteY76" fmla="*/ 53329 h 110081"/>
              <a:gd name="connsiteX77" fmla="*/ 371813 w 613214"/>
              <a:gd name="connsiteY77" fmla="*/ 57810 h 110081"/>
              <a:gd name="connsiteX78" fmla="*/ 360919 w 613214"/>
              <a:gd name="connsiteY78" fmla="*/ 57810 h 110081"/>
              <a:gd name="connsiteX79" fmla="*/ 360919 w 613214"/>
              <a:gd name="connsiteY79" fmla="*/ 1493 h 110081"/>
              <a:gd name="connsiteX80" fmla="*/ 418873 w 613214"/>
              <a:gd name="connsiteY80" fmla="*/ 1493 h 110081"/>
              <a:gd name="connsiteX81" fmla="*/ 418873 w 613214"/>
              <a:gd name="connsiteY81" fmla="*/ 14374 h 110081"/>
              <a:gd name="connsiteX82" fmla="*/ 373183 w 613214"/>
              <a:gd name="connsiteY82" fmla="*/ 14374 h 110081"/>
              <a:gd name="connsiteX83" fmla="*/ 373183 w 613214"/>
              <a:gd name="connsiteY83" fmla="*/ 44991 h 110081"/>
              <a:gd name="connsiteX84" fmla="*/ 380466 w 613214"/>
              <a:gd name="connsiteY84" fmla="*/ 41071 h 110081"/>
              <a:gd name="connsiteX85" fmla="*/ 390799 w 613214"/>
              <a:gd name="connsiteY85" fmla="*/ 39266 h 110081"/>
              <a:gd name="connsiteX86" fmla="*/ 407544 w 613214"/>
              <a:gd name="connsiteY86" fmla="*/ 43186 h 110081"/>
              <a:gd name="connsiteX87" fmla="*/ 419309 w 613214"/>
              <a:gd name="connsiteY87" fmla="*/ 54512 h 110081"/>
              <a:gd name="connsiteX88" fmla="*/ 423791 w 613214"/>
              <a:gd name="connsiteY88" fmla="*/ 73181 h 110081"/>
              <a:gd name="connsiteX89" fmla="*/ 419184 w 613214"/>
              <a:gd name="connsiteY89" fmla="*/ 92596 h 110081"/>
              <a:gd name="connsiteX90" fmla="*/ 406361 w 613214"/>
              <a:gd name="connsiteY90" fmla="*/ 105601 h 110081"/>
              <a:gd name="connsiteX91" fmla="*/ 386442 w 613214"/>
              <a:gd name="connsiteY91" fmla="*/ 110082 h 110081"/>
              <a:gd name="connsiteX92" fmla="*/ 444707 w 613214"/>
              <a:gd name="connsiteY92" fmla="*/ 1493 h 110081"/>
              <a:gd name="connsiteX93" fmla="*/ 480686 w 613214"/>
              <a:gd name="connsiteY93" fmla="*/ 1493 h 110081"/>
              <a:gd name="connsiteX94" fmla="*/ 500731 w 613214"/>
              <a:gd name="connsiteY94" fmla="*/ 4044 h 110081"/>
              <a:gd name="connsiteX95" fmla="*/ 516853 w 613214"/>
              <a:gd name="connsiteY95" fmla="*/ 12383 h 110081"/>
              <a:gd name="connsiteX96" fmla="*/ 527622 w 613214"/>
              <a:gd name="connsiteY96" fmla="*/ 27629 h 110081"/>
              <a:gd name="connsiteX97" fmla="*/ 531482 w 613214"/>
              <a:gd name="connsiteY97" fmla="*/ 51401 h 110081"/>
              <a:gd name="connsiteX98" fmla="*/ 524634 w 613214"/>
              <a:gd name="connsiteY98" fmla="*/ 83075 h 110081"/>
              <a:gd name="connsiteX99" fmla="*/ 506084 w 613214"/>
              <a:gd name="connsiteY99" fmla="*/ 102179 h 110081"/>
              <a:gd name="connsiteX100" fmla="*/ 479068 w 613214"/>
              <a:gd name="connsiteY100" fmla="*/ 108588 h 110081"/>
              <a:gd name="connsiteX101" fmla="*/ 444707 w 613214"/>
              <a:gd name="connsiteY101" fmla="*/ 108588 h 110081"/>
              <a:gd name="connsiteX102" fmla="*/ 444707 w 613214"/>
              <a:gd name="connsiteY102" fmla="*/ 1493 h 110081"/>
              <a:gd name="connsiteX103" fmla="*/ 479068 w 613214"/>
              <a:gd name="connsiteY103" fmla="*/ 95893 h 110081"/>
              <a:gd name="connsiteX104" fmla="*/ 498490 w 613214"/>
              <a:gd name="connsiteY104" fmla="*/ 91413 h 110081"/>
              <a:gd name="connsiteX105" fmla="*/ 511500 w 613214"/>
              <a:gd name="connsiteY105" fmla="*/ 77225 h 110081"/>
              <a:gd name="connsiteX106" fmla="*/ 516293 w 613214"/>
              <a:gd name="connsiteY106" fmla="*/ 52458 h 110081"/>
              <a:gd name="connsiteX107" fmla="*/ 511625 w 613214"/>
              <a:gd name="connsiteY107" fmla="*/ 29122 h 110081"/>
              <a:gd name="connsiteX108" fmla="*/ 498925 w 613214"/>
              <a:gd name="connsiteY108" fmla="*/ 17610 h 110081"/>
              <a:gd name="connsiteX109" fmla="*/ 480686 w 613214"/>
              <a:gd name="connsiteY109" fmla="*/ 14374 h 110081"/>
              <a:gd name="connsiteX110" fmla="*/ 458775 w 613214"/>
              <a:gd name="connsiteY110" fmla="*/ 14374 h 110081"/>
              <a:gd name="connsiteX111" fmla="*/ 458775 w 613214"/>
              <a:gd name="connsiteY111" fmla="*/ 95893 h 110081"/>
              <a:gd name="connsiteX112" fmla="*/ 479068 w 613214"/>
              <a:gd name="connsiteY112" fmla="*/ 95893 h 110081"/>
              <a:gd name="connsiteX113" fmla="*/ 613214 w 613214"/>
              <a:gd name="connsiteY113" fmla="*/ 108588 h 110081"/>
              <a:gd name="connsiteX114" fmla="*/ 544928 w 613214"/>
              <a:gd name="connsiteY114" fmla="*/ 108588 h 110081"/>
              <a:gd name="connsiteX115" fmla="*/ 544928 w 613214"/>
              <a:gd name="connsiteY115" fmla="*/ 94400 h 110081"/>
              <a:gd name="connsiteX116" fmla="*/ 571072 w 613214"/>
              <a:gd name="connsiteY116" fmla="*/ 72433 h 110081"/>
              <a:gd name="connsiteX117" fmla="*/ 587070 w 613214"/>
              <a:gd name="connsiteY117" fmla="*/ 56628 h 110081"/>
              <a:gd name="connsiteX118" fmla="*/ 595162 w 613214"/>
              <a:gd name="connsiteY118" fmla="*/ 43933 h 110081"/>
              <a:gd name="connsiteX119" fmla="*/ 597528 w 613214"/>
              <a:gd name="connsiteY119" fmla="*/ 32109 h 110081"/>
              <a:gd name="connsiteX120" fmla="*/ 591987 w 613214"/>
              <a:gd name="connsiteY120" fmla="*/ 17610 h 110081"/>
              <a:gd name="connsiteX121" fmla="*/ 576799 w 613214"/>
              <a:gd name="connsiteY121" fmla="*/ 12383 h 110081"/>
              <a:gd name="connsiteX122" fmla="*/ 547791 w 613214"/>
              <a:gd name="connsiteY122" fmla="*/ 27194 h 110081"/>
              <a:gd name="connsiteX123" fmla="*/ 547791 w 613214"/>
              <a:gd name="connsiteY123" fmla="*/ 12134 h 110081"/>
              <a:gd name="connsiteX124" fmla="*/ 577234 w 613214"/>
              <a:gd name="connsiteY124" fmla="*/ 0 h 110081"/>
              <a:gd name="connsiteX125" fmla="*/ 602632 w 613214"/>
              <a:gd name="connsiteY125" fmla="*/ 8401 h 110081"/>
              <a:gd name="connsiteX126" fmla="*/ 612032 w 613214"/>
              <a:gd name="connsiteY126" fmla="*/ 30803 h 110081"/>
              <a:gd name="connsiteX127" fmla="*/ 609667 w 613214"/>
              <a:gd name="connsiteY127" fmla="*/ 44804 h 110081"/>
              <a:gd name="connsiteX128" fmla="*/ 601574 w 613214"/>
              <a:gd name="connsiteY128" fmla="*/ 58681 h 110081"/>
              <a:gd name="connsiteX129" fmla="*/ 585887 w 613214"/>
              <a:gd name="connsiteY129" fmla="*/ 74860 h 110081"/>
              <a:gd name="connsiteX130" fmla="*/ 560490 w 613214"/>
              <a:gd name="connsiteY130" fmla="*/ 95769 h 110081"/>
              <a:gd name="connsiteX131" fmla="*/ 613214 w 613214"/>
              <a:gd name="connsiteY131" fmla="*/ 95769 h 110081"/>
              <a:gd name="connsiteX132" fmla="*/ 613214 w 613214"/>
              <a:gd name="connsiteY132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</a:cxnLst>
            <a:rect l="l" t="t" r="r" b="b"/>
            <a:pathLst>
              <a:path w="613214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116" y="1493"/>
                </a:lnTo>
                <a:lnTo>
                  <a:pt x="343116" y="14374"/>
                </a:lnTo>
                <a:lnTo>
                  <a:pt x="291698" y="14374"/>
                </a:lnTo>
                <a:lnTo>
                  <a:pt x="291698" y="49907"/>
                </a:lnTo>
                <a:lnTo>
                  <a:pt x="335335" y="49907"/>
                </a:lnTo>
                <a:lnTo>
                  <a:pt x="335335" y="62601"/>
                </a:lnTo>
                <a:lnTo>
                  <a:pt x="291698" y="62601"/>
                </a:lnTo>
                <a:lnTo>
                  <a:pt x="291698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86442" y="110082"/>
                </a:moveTo>
                <a:cubicBezTo>
                  <a:pt x="374490" y="110082"/>
                  <a:pt x="365028" y="107530"/>
                  <a:pt x="357931" y="102490"/>
                </a:cubicBezTo>
                <a:lnTo>
                  <a:pt x="357931" y="87804"/>
                </a:lnTo>
                <a:cubicBezTo>
                  <a:pt x="362102" y="91226"/>
                  <a:pt x="366522" y="93778"/>
                  <a:pt x="371066" y="95458"/>
                </a:cubicBezTo>
                <a:cubicBezTo>
                  <a:pt x="375672" y="97014"/>
                  <a:pt x="380777" y="97823"/>
                  <a:pt x="386442" y="97823"/>
                </a:cubicBezTo>
                <a:cubicBezTo>
                  <a:pt x="393849" y="97823"/>
                  <a:pt x="399514" y="95583"/>
                  <a:pt x="403498" y="91102"/>
                </a:cubicBezTo>
                <a:cubicBezTo>
                  <a:pt x="407606" y="86621"/>
                  <a:pt x="409598" y="80772"/>
                  <a:pt x="409598" y="73491"/>
                </a:cubicBezTo>
                <a:cubicBezTo>
                  <a:pt x="409598" y="65713"/>
                  <a:pt x="407606" y="60050"/>
                  <a:pt x="403622" y="56441"/>
                </a:cubicBezTo>
                <a:cubicBezTo>
                  <a:pt x="399639" y="52894"/>
                  <a:pt x="394658" y="51089"/>
                  <a:pt x="388558" y="51089"/>
                </a:cubicBezTo>
                <a:cubicBezTo>
                  <a:pt x="384200" y="51089"/>
                  <a:pt x="380652" y="51836"/>
                  <a:pt x="377975" y="53329"/>
                </a:cubicBezTo>
                <a:cubicBezTo>
                  <a:pt x="375237" y="54698"/>
                  <a:pt x="373245" y="56192"/>
                  <a:pt x="371813" y="57810"/>
                </a:cubicBezTo>
                <a:lnTo>
                  <a:pt x="360919" y="57810"/>
                </a:lnTo>
                <a:lnTo>
                  <a:pt x="360919" y="1493"/>
                </a:lnTo>
                <a:lnTo>
                  <a:pt x="418873" y="1493"/>
                </a:lnTo>
                <a:lnTo>
                  <a:pt x="418873" y="14374"/>
                </a:lnTo>
                <a:lnTo>
                  <a:pt x="373183" y="14374"/>
                </a:lnTo>
                <a:lnTo>
                  <a:pt x="373183" y="44991"/>
                </a:lnTo>
                <a:cubicBezTo>
                  <a:pt x="375175" y="43498"/>
                  <a:pt x="377602" y="42190"/>
                  <a:pt x="380466" y="41071"/>
                </a:cubicBezTo>
                <a:cubicBezTo>
                  <a:pt x="383391" y="39888"/>
                  <a:pt x="386815" y="39266"/>
                  <a:pt x="390799" y="39266"/>
                </a:cubicBezTo>
                <a:cubicBezTo>
                  <a:pt x="396962" y="39266"/>
                  <a:pt x="402564" y="40572"/>
                  <a:pt x="407544" y="43186"/>
                </a:cubicBezTo>
                <a:cubicBezTo>
                  <a:pt x="412524" y="45675"/>
                  <a:pt x="416446" y="49471"/>
                  <a:pt x="419309" y="54512"/>
                </a:cubicBezTo>
                <a:cubicBezTo>
                  <a:pt x="422297" y="59490"/>
                  <a:pt x="423791" y="65713"/>
                  <a:pt x="423791" y="73181"/>
                </a:cubicBezTo>
                <a:cubicBezTo>
                  <a:pt x="423791" y="80586"/>
                  <a:pt x="422297" y="87058"/>
                  <a:pt x="419184" y="92596"/>
                </a:cubicBezTo>
                <a:cubicBezTo>
                  <a:pt x="416196" y="98196"/>
                  <a:pt x="411902" y="102490"/>
                  <a:pt x="406361" y="105601"/>
                </a:cubicBezTo>
                <a:cubicBezTo>
                  <a:pt x="400759" y="108588"/>
                  <a:pt x="394161" y="110082"/>
                  <a:pt x="386442" y="110082"/>
                </a:cubicBezTo>
                <a:close/>
                <a:moveTo>
                  <a:pt x="444707" y="1493"/>
                </a:moveTo>
                <a:lnTo>
                  <a:pt x="480686" y="1493"/>
                </a:lnTo>
                <a:cubicBezTo>
                  <a:pt x="487907" y="1493"/>
                  <a:pt x="494568" y="2365"/>
                  <a:pt x="500731" y="4044"/>
                </a:cubicBezTo>
                <a:cubicBezTo>
                  <a:pt x="506894" y="5725"/>
                  <a:pt x="512309" y="8525"/>
                  <a:pt x="516853" y="12383"/>
                </a:cubicBezTo>
                <a:cubicBezTo>
                  <a:pt x="521460" y="16179"/>
                  <a:pt x="525007" y="21282"/>
                  <a:pt x="527622" y="27629"/>
                </a:cubicBezTo>
                <a:cubicBezTo>
                  <a:pt x="530237" y="34039"/>
                  <a:pt x="531482" y="41942"/>
                  <a:pt x="531482" y="51401"/>
                </a:cubicBezTo>
                <a:cubicBezTo>
                  <a:pt x="531482" y="63908"/>
                  <a:pt x="529241" y="74487"/>
                  <a:pt x="524634" y="83075"/>
                </a:cubicBezTo>
                <a:cubicBezTo>
                  <a:pt x="520153" y="91538"/>
                  <a:pt x="513990" y="97885"/>
                  <a:pt x="506084" y="102179"/>
                </a:cubicBezTo>
                <a:cubicBezTo>
                  <a:pt x="498241" y="106473"/>
                  <a:pt x="489214" y="108588"/>
                  <a:pt x="479068" y="108588"/>
                </a:cubicBezTo>
                <a:lnTo>
                  <a:pt x="444707" y="108588"/>
                </a:lnTo>
                <a:lnTo>
                  <a:pt x="444707" y="1493"/>
                </a:lnTo>
                <a:close/>
                <a:moveTo>
                  <a:pt x="479068" y="95893"/>
                </a:moveTo>
                <a:cubicBezTo>
                  <a:pt x="486413" y="95893"/>
                  <a:pt x="492888" y="94400"/>
                  <a:pt x="498490" y="91413"/>
                </a:cubicBezTo>
                <a:cubicBezTo>
                  <a:pt x="504092" y="88302"/>
                  <a:pt x="508387" y="83572"/>
                  <a:pt x="511500" y="77225"/>
                </a:cubicBezTo>
                <a:cubicBezTo>
                  <a:pt x="514675" y="70754"/>
                  <a:pt x="516293" y="62477"/>
                  <a:pt x="516293" y="52458"/>
                </a:cubicBezTo>
                <a:cubicBezTo>
                  <a:pt x="516293" y="42377"/>
                  <a:pt x="514737" y="34599"/>
                  <a:pt x="511625" y="29122"/>
                </a:cubicBezTo>
                <a:cubicBezTo>
                  <a:pt x="508574" y="23646"/>
                  <a:pt x="504341" y="19851"/>
                  <a:pt x="498925" y="17610"/>
                </a:cubicBezTo>
                <a:cubicBezTo>
                  <a:pt x="493634" y="15433"/>
                  <a:pt x="487597" y="14374"/>
                  <a:pt x="480686" y="14374"/>
                </a:cubicBezTo>
                <a:lnTo>
                  <a:pt x="458775" y="14374"/>
                </a:lnTo>
                <a:lnTo>
                  <a:pt x="458775" y="95893"/>
                </a:lnTo>
                <a:lnTo>
                  <a:pt x="479068" y="95893"/>
                </a:lnTo>
                <a:close/>
                <a:moveTo>
                  <a:pt x="613214" y="108588"/>
                </a:moveTo>
                <a:lnTo>
                  <a:pt x="544928" y="108588"/>
                </a:lnTo>
                <a:lnTo>
                  <a:pt x="544928" y="94400"/>
                </a:lnTo>
                <a:cubicBezTo>
                  <a:pt x="555634" y="85812"/>
                  <a:pt x="564349" y="78532"/>
                  <a:pt x="571072" y="72433"/>
                </a:cubicBezTo>
                <a:cubicBezTo>
                  <a:pt x="577981" y="66397"/>
                  <a:pt x="583273" y="61108"/>
                  <a:pt x="587070" y="56628"/>
                </a:cubicBezTo>
                <a:cubicBezTo>
                  <a:pt x="590992" y="52023"/>
                  <a:pt x="593668" y="47791"/>
                  <a:pt x="595162" y="43933"/>
                </a:cubicBezTo>
                <a:cubicBezTo>
                  <a:pt x="596718" y="40012"/>
                  <a:pt x="597528" y="36092"/>
                  <a:pt x="597528" y="32109"/>
                </a:cubicBezTo>
                <a:cubicBezTo>
                  <a:pt x="597528" y="25949"/>
                  <a:pt x="595723" y="21095"/>
                  <a:pt x="591987" y="17610"/>
                </a:cubicBezTo>
                <a:cubicBezTo>
                  <a:pt x="588315" y="14125"/>
                  <a:pt x="583273" y="12383"/>
                  <a:pt x="576799" y="12383"/>
                </a:cubicBezTo>
                <a:cubicBezTo>
                  <a:pt x="566403" y="12383"/>
                  <a:pt x="556755" y="17361"/>
                  <a:pt x="547791" y="27194"/>
                </a:cubicBezTo>
                <a:lnTo>
                  <a:pt x="547791" y="12134"/>
                </a:lnTo>
                <a:cubicBezTo>
                  <a:pt x="556070" y="4044"/>
                  <a:pt x="565843" y="0"/>
                  <a:pt x="577234" y="0"/>
                </a:cubicBezTo>
                <a:cubicBezTo>
                  <a:pt x="588004" y="0"/>
                  <a:pt x="596470" y="2800"/>
                  <a:pt x="602632" y="8401"/>
                </a:cubicBezTo>
                <a:cubicBezTo>
                  <a:pt x="608920" y="13877"/>
                  <a:pt x="612032" y="21344"/>
                  <a:pt x="612032" y="30803"/>
                </a:cubicBezTo>
                <a:cubicBezTo>
                  <a:pt x="612032" y="35657"/>
                  <a:pt x="611223" y="40324"/>
                  <a:pt x="609667" y="44804"/>
                </a:cubicBezTo>
                <a:cubicBezTo>
                  <a:pt x="608173" y="49222"/>
                  <a:pt x="605433" y="53827"/>
                  <a:pt x="601574" y="58681"/>
                </a:cubicBezTo>
                <a:cubicBezTo>
                  <a:pt x="597777" y="63473"/>
                  <a:pt x="592548" y="68887"/>
                  <a:pt x="585887" y="74860"/>
                </a:cubicBezTo>
                <a:cubicBezTo>
                  <a:pt x="579227" y="80835"/>
                  <a:pt x="570761" y="87804"/>
                  <a:pt x="560490" y="95769"/>
                </a:cubicBezTo>
                <a:lnTo>
                  <a:pt x="613214" y="95769"/>
                </a:lnTo>
                <a:lnTo>
                  <a:pt x="613214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9" name="Полилиния 1098">
            <a:extLst>
              <a:ext uri="{FF2B5EF4-FFF2-40B4-BE49-F238E27FC236}">
                <a16:creationId xmlns:a16="http://schemas.microsoft.com/office/drawing/2014/main" id="{F719CB48-7054-6BBD-6D74-11D765312B08}"/>
              </a:ext>
            </a:extLst>
          </p:cNvPr>
          <p:cNvSpPr/>
          <p:nvPr userDrawn="1"/>
        </p:nvSpPr>
        <p:spPr>
          <a:xfrm>
            <a:off x="21534071" y="10323656"/>
            <a:ext cx="1398954" cy="726227"/>
          </a:xfrm>
          <a:custGeom>
            <a:avLst/>
            <a:gdLst>
              <a:gd name="connsiteX0" fmla="*/ 0 w 1198727"/>
              <a:gd name="connsiteY0" fmla="*/ 0 h 622284"/>
              <a:gd name="connsiteX1" fmla="*/ 1198728 w 1198727"/>
              <a:gd name="connsiteY1" fmla="*/ 0 h 622284"/>
              <a:gd name="connsiteX2" fmla="*/ 1198728 w 1198727"/>
              <a:gd name="connsiteY2" fmla="*/ 472936 h 622284"/>
              <a:gd name="connsiteX3" fmla="*/ 1049330 w 1198727"/>
              <a:gd name="connsiteY3" fmla="*/ 622284 h 622284"/>
              <a:gd name="connsiteX4" fmla="*/ 149397 w 1198727"/>
              <a:gd name="connsiteY4" fmla="*/ 622284 h 622284"/>
              <a:gd name="connsiteX5" fmla="*/ 0 w 1198727"/>
              <a:gd name="connsiteY5" fmla="*/ 472936 h 622284"/>
              <a:gd name="connsiteX6" fmla="*/ 0 w 1198727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7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72" y="622284"/>
                  <a:pt x="1049330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AE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100" name="Полилиния 1099">
            <a:extLst>
              <a:ext uri="{FF2B5EF4-FFF2-40B4-BE49-F238E27FC236}">
                <a16:creationId xmlns:a16="http://schemas.microsoft.com/office/drawing/2014/main" id="{B14F88A5-99B5-2878-5062-96EB1B9A82E3}"/>
              </a:ext>
            </a:extLst>
          </p:cNvPr>
          <p:cNvSpPr/>
          <p:nvPr userDrawn="1"/>
        </p:nvSpPr>
        <p:spPr>
          <a:xfrm>
            <a:off x="21657280" y="10625405"/>
            <a:ext cx="715713" cy="128468"/>
          </a:xfrm>
          <a:custGeom>
            <a:avLst/>
            <a:gdLst>
              <a:gd name="connsiteX0" fmla="*/ 22099 w 613276"/>
              <a:gd name="connsiteY0" fmla="*/ 108588 h 110081"/>
              <a:gd name="connsiteX1" fmla="*/ 10147 w 613276"/>
              <a:gd name="connsiteY1" fmla="*/ 108588 h 110081"/>
              <a:gd name="connsiteX2" fmla="*/ 16434 w 613276"/>
              <a:gd name="connsiteY2" fmla="*/ 77661 h 110081"/>
              <a:gd name="connsiteX3" fmla="*/ 0 w 613276"/>
              <a:gd name="connsiteY3" fmla="*/ 77661 h 110081"/>
              <a:gd name="connsiteX4" fmla="*/ 0 w 613276"/>
              <a:gd name="connsiteY4" fmla="*/ 67206 h 110081"/>
              <a:gd name="connsiteX5" fmla="*/ 18675 w 613276"/>
              <a:gd name="connsiteY5" fmla="*/ 67206 h 110081"/>
              <a:gd name="connsiteX6" fmla="*/ 24215 w 613276"/>
              <a:gd name="connsiteY6" fmla="*/ 40012 h 110081"/>
              <a:gd name="connsiteX7" fmla="*/ 4046 w 613276"/>
              <a:gd name="connsiteY7" fmla="*/ 40012 h 110081"/>
              <a:gd name="connsiteX8" fmla="*/ 4046 w 613276"/>
              <a:gd name="connsiteY8" fmla="*/ 29559 h 110081"/>
              <a:gd name="connsiteX9" fmla="*/ 26269 w 613276"/>
              <a:gd name="connsiteY9" fmla="*/ 29559 h 110081"/>
              <a:gd name="connsiteX10" fmla="*/ 32121 w 613276"/>
              <a:gd name="connsiteY10" fmla="*/ 1493 h 110081"/>
              <a:gd name="connsiteX11" fmla="*/ 44073 w 613276"/>
              <a:gd name="connsiteY11" fmla="*/ 1493 h 110081"/>
              <a:gd name="connsiteX12" fmla="*/ 38221 w 613276"/>
              <a:gd name="connsiteY12" fmla="*/ 29559 h 110081"/>
              <a:gd name="connsiteX13" fmla="*/ 60630 w 613276"/>
              <a:gd name="connsiteY13" fmla="*/ 29559 h 110081"/>
              <a:gd name="connsiteX14" fmla="*/ 66482 w 613276"/>
              <a:gd name="connsiteY14" fmla="*/ 1493 h 110081"/>
              <a:gd name="connsiteX15" fmla="*/ 78434 w 613276"/>
              <a:gd name="connsiteY15" fmla="*/ 1493 h 110081"/>
              <a:gd name="connsiteX16" fmla="*/ 72582 w 613276"/>
              <a:gd name="connsiteY16" fmla="*/ 29559 h 110081"/>
              <a:gd name="connsiteX17" fmla="*/ 89327 w 613276"/>
              <a:gd name="connsiteY17" fmla="*/ 29559 h 110081"/>
              <a:gd name="connsiteX18" fmla="*/ 89327 w 613276"/>
              <a:gd name="connsiteY18" fmla="*/ 40012 h 110081"/>
              <a:gd name="connsiteX19" fmla="*/ 70529 w 613276"/>
              <a:gd name="connsiteY19" fmla="*/ 40012 h 110081"/>
              <a:gd name="connsiteX20" fmla="*/ 64988 w 613276"/>
              <a:gd name="connsiteY20" fmla="*/ 67206 h 110081"/>
              <a:gd name="connsiteX21" fmla="*/ 85282 w 613276"/>
              <a:gd name="connsiteY21" fmla="*/ 67206 h 110081"/>
              <a:gd name="connsiteX22" fmla="*/ 85282 w 613276"/>
              <a:gd name="connsiteY22" fmla="*/ 77661 h 110081"/>
              <a:gd name="connsiteX23" fmla="*/ 62747 w 613276"/>
              <a:gd name="connsiteY23" fmla="*/ 77661 h 110081"/>
              <a:gd name="connsiteX24" fmla="*/ 56460 w 613276"/>
              <a:gd name="connsiteY24" fmla="*/ 108588 h 110081"/>
              <a:gd name="connsiteX25" fmla="*/ 44508 w 613276"/>
              <a:gd name="connsiteY25" fmla="*/ 108588 h 110081"/>
              <a:gd name="connsiteX26" fmla="*/ 50795 w 613276"/>
              <a:gd name="connsiteY26" fmla="*/ 77661 h 110081"/>
              <a:gd name="connsiteX27" fmla="*/ 28386 w 613276"/>
              <a:gd name="connsiteY27" fmla="*/ 77661 h 110081"/>
              <a:gd name="connsiteX28" fmla="*/ 22099 w 613276"/>
              <a:gd name="connsiteY28" fmla="*/ 108588 h 110081"/>
              <a:gd name="connsiteX29" fmla="*/ 30627 w 613276"/>
              <a:gd name="connsiteY29" fmla="*/ 67206 h 110081"/>
              <a:gd name="connsiteX30" fmla="*/ 53036 w 613276"/>
              <a:gd name="connsiteY30" fmla="*/ 67206 h 110081"/>
              <a:gd name="connsiteX31" fmla="*/ 58576 w 613276"/>
              <a:gd name="connsiteY31" fmla="*/ 40012 h 110081"/>
              <a:gd name="connsiteX32" fmla="*/ 36167 w 613276"/>
              <a:gd name="connsiteY32" fmla="*/ 40012 h 110081"/>
              <a:gd name="connsiteX33" fmla="*/ 30627 w 613276"/>
              <a:gd name="connsiteY33" fmla="*/ 67206 h 110081"/>
              <a:gd name="connsiteX34" fmla="*/ 107816 w 613276"/>
              <a:gd name="connsiteY34" fmla="*/ 1493 h 110081"/>
              <a:gd name="connsiteX35" fmla="*/ 173239 w 613276"/>
              <a:gd name="connsiteY35" fmla="*/ 1493 h 110081"/>
              <a:gd name="connsiteX36" fmla="*/ 173239 w 613276"/>
              <a:gd name="connsiteY36" fmla="*/ 14374 h 110081"/>
              <a:gd name="connsiteX37" fmla="*/ 121884 w 613276"/>
              <a:gd name="connsiteY37" fmla="*/ 14374 h 110081"/>
              <a:gd name="connsiteX38" fmla="*/ 121884 w 613276"/>
              <a:gd name="connsiteY38" fmla="*/ 49907 h 110081"/>
              <a:gd name="connsiteX39" fmla="*/ 165520 w 613276"/>
              <a:gd name="connsiteY39" fmla="*/ 49907 h 110081"/>
              <a:gd name="connsiteX40" fmla="*/ 165520 w 613276"/>
              <a:gd name="connsiteY40" fmla="*/ 62601 h 110081"/>
              <a:gd name="connsiteX41" fmla="*/ 121884 w 613276"/>
              <a:gd name="connsiteY41" fmla="*/ 62601 h 110081"/>
              <a:gd name="connsiteX42" fmla="*/ 121884 w 613276"/>
              <a:gd name="connsiteY42" fmla="*/ 108588 h 110081"/>
              <a:gd name="connsiteX43" fmla="*/ 107816 w 613276"/>
              <a:gd name="connsiteY43" fmla="*/ 108588 h 110081"/>
              <a:gd name="connsiteX44" fmla="*/ 107816 w 613276"/>
              <a:gd name="connsiteY44" fmla="*/ 1493 h 110081"/>
              <a:gd name="connsiteX45" fmla="*/ 192723 w 613276"/>
              <a:gd name="connsiteY45" fmla="*/ 1493 h 110081"/>
              <a:gd name="connsiteX46" fmla="*/ 258146 w 613276"/>
              <a:gd name="connsiteY46" fmla="*/ 1493 h 110081"/>
              <a:gd name="connsiteX47" fmla="*/ 258146 w 613276"/>
              <a:gd name="connsiteY47" fmla="*/ 14374 h 110081"/>
              <a:gd name="connsiteX48" fmla="*/ 206791 w 613276"/>
              <a:gd name="connsiteY48" fmla="*/ 14374 h 110081"/>
              <a:gd name="connsiteX49" fmla="*/ 206791 w 613276"/>
              <a:gd name="connsiteY49" fmla="*/ 49907 h 110081"/>
              <a:gd name="connsiteX50" fmla="*/ 250427 w 613276"/>
              <a:gd name="connsiteY50" fmla="*/ 49907 h 110081"/>
              <a:gd name="connsiteX51" fmla="*/ 250427 w 613276"/>
              <a:gd name="connsiteY51" fmla="*/ 62601 h 110081"/>
              <a:gd name="connsiteX52" fmla="*/ 206791 w 613276"/>
              <a:gd name="connsiteY52" fmla="*/ 62601 h 110081"/>
              <a:gd name="connsiteX53" fmla="*/ 206791 w 613276"/>
              <a:gd name="connsiteY53" fmla="*/ 108588 h 110081"/>
              <a:gd name="connsiteX54" fmla="*/ 192723 w 613276"/>
              <a:gd name="connsiteY54" fmla="*/ 108588 h 110081"/>
              <a:gd name="connsiteX55" fmla="*/ 192723 w 613276"/>
              <a:gd name="connsiteY55" fmla="*/ 1493 h 110081"/>
              <a:gd name="connsiteX56" fmla="*/ 277630 w 613276"/>
              <a:gd name="connsiteY56" fmla="*/ 1493 h 110081"/>
              <a:gd name="connsiteX57" fmla="*/ 343116 w 613276"/>
              <a:gd name="connsiteY57" fmla="*/ 1493 h 110081"/>
              <a:gd name="connsiteX58" fmla="*/ 343116 w 613276"/>
              <a:gd name="connsiteY58" fmla="*/ 14374 h 110081"/>
              <a:gd name="connsiteX59" fmla="*/ 291698 w 613276"/>
              <a:gd name="connsiteY59" fmla="*/ 14374 h 110081"/>
              <a:gd name="connsiteX60" fmla="*/ 291698 w 613276"/>
              <a:gd name="connsiteY60" fmla="*/ 49907 h 110081"/>
              <a:gd name="connsiteX61" fmla="*/ 335335 w 613276"/>
              <a:gd name="connsiteY61" fmla="*/ 49907 h 110081"/>
              <a:gd name="connsiteX62" fmla="*/ 335335 w 613276"/>
              <a:gd name="connsiteY62" fmla="*/ 62601 h 110081"/>
              <a:gd name="connsiteX63" fmla="*/ 291698 w 613276"/>
              <a:gd name="connsiteY63" fmla="*/ 62601 h 110081"/>
              <a:gd name="connsiteX64" fmla="*/ 291698 w 613276"/>
              <a:gd name="connsiteY64" fmla="*/ 108588 h 110081"/>
              <a:gd name="connsiteX65" fmla="*/ 277630 w 613276"/>
              <a:gd name="connsiteY65" fmla="*/ 108588 h 110081"/>
              <a:gd name="connsiteX66" fmla="*/ 277630 w 613276"/>
              <a:gd name="connsiteY66" fmla="*/ 1493 h 110081"/>
              <a:gd name="connsiteX67" fmla="*/ 442964 w 613276"/>
              <a:gd name="connsiteY67" fmla="*/ 108588 h 110081"/>
              <a:gd name="connsiteX68" fmla="*/ 428024 w 613276"/>
              <a:gd name="connsiteY68" fmla="*/ 108588 h 110081"/>
              <a:gd name="connsiteX69" fmla="*/ 416943 w 613276"/>
              <a:gd name="connsiteY69" fmla="*/ 77972 h 110081"/>
              <a:gd name="connsiteX70" fmla="*/ 369634 w 613276"/>
              <a:gd name="connsiteY70" fmla="*/ 77972 h 110081"/>
              <a:gd name="connsiteX71" fmla="*/ 358678 w 613276"/>
              <a:gd name="connsiteY71" fmla="*/ 108588 h 110081"/>
              <a:gd name="connsiteX72" fmla="*/ 345544 w 613276"/>
              <a:gd name="connsiteY72" fmla="*/ 108588 h 110081"/>
              <a:gd name="connsiteX73" fmla="*/ 383640 w 613276"/>
              <a:gd name="connsiteY73" fmla="*/ 1493 h 110081"/>
              <a:gd name="connsiteX74" fmla="*/ 404556 w 613276"/>
              <a:gd name="connsiteY74" fmla="*/ 1493 h 110081"/>
              <a:gd name="connsiteX75" fmla="*/ 442964 w 613276"/>
              <a:gd name="connsiteY75" fmla="*/ 108588 h 110081"/>
              <a:gd name="connsiteX76" fmla="*/ 374241 w 613276"/>
              <a:gd name="connsiteY76" fmla="*/ 65278 h 110081"/>
              <a:gd name="connsiteX77" fmla="*/ 412462 w 613276"/>
              <a:gd name="connsiteY77" fmla="*/ 65278 h 110081"/>
              <a:gd name="connsiteX78" fmla="*/ 393352 w 613276"/>
              <a:gd name="connsiteY78" fmla="*/ 11947 h 110081"/>
              <a:gd name="connsiteX79" fmla="*/ 374241 w 613276"/>
              <a:gd name="connsiteY79" fmla="*/ 65278 h 110081"/>
              <a:gd name="connsiteX80" fmla="*/ 458588 w 613276"/>
              <a:gd name="connsiteY80" fmla="*/ 1493 h 110081"/>
              <a:gd name="connsiteX81" fmla="*/ 524884 w 613276"/>
              <a:gd name="connsiteY81" fmla="*/ 1493 h 110081"/>
              <a:gd name="connsiteX82" fmla="*/ 524884 w 613276"/>
              <a:gd name="connsiteY82" fmla="*/ 14374 h 110081"/>
              <a:gd name="connsiteX83" fmla="*/ 472594 w 613276"/>
              <a:gd name="connsiteY83" fmla="*/ 14374 h 110081"/>
              <a:gd name="connsiteX84" fmla="*/ 472594 w 613276"/>
              <a:gd name="connsiteY84" fmla="*/ 46734 h 110081"/>
              <a:gd name="connsiteX85" fmla="*/ 516978 w 613276"/>
              <a:gd name="connsiteY85" fmla="*/ 46734 h 110081"/>
              <a:gd name="connsiteX86" fmla="*/ 516978 w 613276"/>
              <a:gd name="connsiteY86" fmla="*/ 59428 h 110081"/>
              <a:gd name="connsiteX87" fmla="*/ 472594 w 613276"/>
              <a:gd name="connsiteY87" fmla="*/ 59428 h 110081"/>
              <a:gd name="connsiteX88" fmla="*/ 472594 w 613276"/>
              <a:gd name="connsiteY88" fmla="*/ 95893 h 110081"/>
              <a:gd name="connsiteX89" fmla="*/ 525631 w 613276"/>
              <a:gd name="connsiteY89" fmla="*/ 95893 h 110081"/>
              <a:gd name="connsiteX90" fmla="*/ 525631 w 613276"/>
              <a:gd name="connsiteY90" fmla="*/ 108588 h 110081"/>
              <a:gd name="connsiteX91" fmla="*/ 458588 w 613276"/>
              <a:gd name="connsiteY91" fmla="*/ 108588 h 110081"/>
              <a:gd name="connsiteX92" fmla="*/ 458588 w 613276"/>
              <a:gd name="connsiteY92" fmla="*/ 1493 h 110081"/>
              <a:gd name="connsiteX93" fmla="*/ 613277 w 613276"/>
              <a:gd name="connsiteY93" fmla="*/ 73491 h 110081"/>
              <a:gd name="connsiteX94" fmla="*/ 608483 w 613276"/>
              <a:gd name="connsiteY94" fmla="*/ 92782 h 110081"/>
              <a:gd name="connsiteX95" fmla="*/ 595785 w 613276"/>
              <a:gd name="connsiteY95" fmla="*/ 105601 h 110081"/>
              <a:gd name="connsiteX96" fmla="*/ 577733 w 613276"/>
              <a:gd name="connsiteY96" fmla="*/ 110082 h 110081"/>
              <a:gd name="connsiteX97" fmla="*/ 556070 w 613276"/>
              <a:gd name="connsiteY97" fmla="*/ 104108 h 110081"/>
              <a:gd name="connsiteX98" fmla="*/ 543994 w 613276"/>
              <a:gd name="connsiteY98" fmla="*/ 87555 h 110081"/>
              <a:gd name="connsiteX99" fmla="*/ 540259 w 613276"/>
              <a:gd name="connsiteY99" fmla="*/ 63161 h 110081"/>
              <a:gd name="connsiteX100" fmla="*/ 544741 w 613276"/>
              <a:gd name="connsiteY100" fmla="*/ 30181 h 110081"/>
              <a:gd name="connsiteX101" fmla="*/ 558747 w 613276"/>
              <a:gd name="connsiteY101" fmla="*/ 8089 h 110081"/>
              <a:gd name="connsiteX102" fmla="*/ 583273 w 613276"/>
              <a:gd name="connsiteY102" fmla="*/ 0 h 110081"/>
              <a:gd name="connsiteX103" fmla="*/ 605807 w 613276"/>
              <a:gd name="connsiteY103" fmla="*/ 5538 h 110081"/>
              <a:gd name="connsiteX104" fmla="*/ 605807 w 613276"/>
              <a:gd name="connsiteY104" fmla="*/ 18855 h 110081"/>
              <a:gd name="connsiteX105" fmla="*/ 583273 w 613276"/>
              <a:gd name="connsiteY105" fmla="*/ 12259 h 110081"/>
              <a:gd name="connsiteX106" fmla="*/ 567711 w 613276"/>
              <a:gd name="connsiteY106" fmla="*/ 17361 h 110081"/>
              <a:gd name="connsiteX107" fmla="*/ 557875 w 613276"/>
              <a:gd name="connsiteY107" fmla="*/ 31238 h 110081"/>
              <a:gd name="connsiteX108" fmla="*/ 553705 w 613276"/>
              <a:gd name="connsiteY108" fmla="*/ 50778 h 110081"/>
              <a:gd name="connsiteX109" fmla="*/ 565034 w 613276"/>
              <a:gd name="connsiteY109" fmla="*/ 40759 h 110081"/>
              <a:gd name="connsiteX110" fmla="*/ 579102 w 613276"/>
              <a:gd name="connsiteY110" fmla="*/ 37523 h 110081"/>
              <a:gd name="connsiteX111" fmla="*/ 596408 w 613276"/>
              <a:gd name="connsiteY111" fmla="*/ 41693 h 110081"/>
              <a:gd name="connsiteX112" fmla="*/ 608670 w 613276"/>
              <a:gd name="connsiteY112" fmla="*/ 53952 h 110081"/>
              <a:gd name="connsiteX113" fmla="*/ 613277 w 613276"/>
              <a:gd name="connsiteY113" fmla="*/ 73491 h 110081"/>
              <a:gd name="connsiteX114" fmla="*/ 577297 w 613276"/>
              <a:gd name="connsiteY114" fmla="*/ 98134 h 110081"/>
              <a:gd name="connsiteX115" fmla="*/ 588066 w 613276"/>
              <a:gd name="connsiteY115" fmla="*/ 95458 h 110081"/>
              <a:gd name="connsiteX116" fmla="*/ 595971 w 613276"/>
              <a:gd name="connsiteY116" fmla="*/ 87244 h 110081"/>
              <a:gd name="connsiteX117" fmla="*/ 599084 w 613276"/>
              <a:gd name="connsiteY117" fmla="*/ 73803 h 110081"/>
              <a:gd name="connsiteX118" fmla="*/ 596096 w 613276"/>
              <a:gd name="connsiteY118" fmla="*/ 60174 h 110081"/>
              <a:gd name="connsiteX119" fmla="*/ 588502 w 613276"/>
              <a:gd name="connsiteY119" fmla="*/ 51961 h 110081"/>
              <a:gd name="connsiteX120" fmla="*/ 578791 w 613276"/>
              <a:gd name="connsiteY120" fmla="*/ 49160 h 110081"/>
              <a:gd name="connsiteX121" fmla="*/ 562171 w 613276"/>
              <a:gd name="connsiteY121" fmla="*/ 55570 h 110081"/>
              <a:gd name="connsiteX122" fmla="*/ 555634 w 613276"/>
              <a:gd name="connsiteY122" fmla="*/ 74114 h 110081"/>
              <a:gd name="connsiteX123" fmla="*/ 561424 w 613276"/>
              <a:gd name="connsiteY123" fmla="*/ 91538 h 110081"/>
              <a:gd name="connsiteX124" fmla="*/ 577297 w 613276"/>
              <a:gd name="connsiteY124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1327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116" y="1493"/>
                </a:lnTo>
                <a:lnTo>
                  <a:pt x="343116" y="14374"/>
                </a:lnTo>
                <a:lnTo>
                  <a:pt x="291698" y="14374"/>
                </a:lnTo>
                <a:lnTo>
                  <a:pt x="291698" y="49907"/>
                </a:lnTo>
                <a:lnTo>
                  <a:pt x="335335" y="49907"/>
                </a:lnTo>
                <a:lnTo>
                  <a:pt x="335335" y="62601"/>
                </a:lnTo>
                <a:lnTo>
                  <a:pt x="291698" y="62601"/>
                </a:lnTo>
                <a:lnTo>
                  <a:pt x="291698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442964" y="108588"/>
                </a:moveTo>
                <a:lnTo>
                  <a:pt x="428024" y="108588"/>
                </a:lnTo>
                <a:lnTo>
                  <a:pt x="416943" y="77972"/>
                </a:lnTo>
                <a:lnTo>
                  <a:pt x="369634" y="77972"/>
                </a:lnTo>
                <a:lnTo>
                  <a:pt x="358678" y="108588"/>
                </a:lnTo>
                <a:lnTo>
                  <a:pt x="345544" y="108588"/>
                </a:lnTo>
                <a:lnTo>
                  <a:pt x="383640" y="1493"/>
                </a:lnTo>
                <a:lnTo>
                  <a:pt x="404556" y="1493"/>
                </a:lnTo>
                <a:lnTo>
                  <a:pt x="442964" y="108588"/>
                </a:lnTo>
                <a:close/>
                <a:moveTo>
                  <a:pt x="374241" y="65278"/>
                </a:moveTo>
                <a:lnTo>
                  <a:pt x="412462" y="65278"/>
                </a:lnTo>
                <a:lnTo>
                  <a:pt x="393352" y="11947"/>
                </a:lnTo>
                <a:lnTo>
                  <a:pt x="374241" y="65278"/>
                </a:lnTo>
                <a:close/>
                <a:moveTo>
                  <a:pt x="458588" y="1493"/>
                </a:moveTo>
                <a:lnTo>
                  <a:pt x="524884" y="1493"/>
                </a:lnTo>
                <a:lnTo>
                  <a:pt x="524884" y="14374"/>
                </a:lnTo>
                <a:lnTo>
                  <a:pt x="472594" y="14374"/>
                </a:lnTo>
                <a:lnTo>
                  <a:pt x="472594" y="46734"/>
                </a:lnTo>
                <a:lnTo>
                  <a:pt x="516978" y="46734"/>
                </a:lnTo>
                <a:lnTo>
                  <a:pt x="516978" y="59428"/>
                </a:lnTo>
                <a:lnTo>
                  <a:pt x="472594" y="59428"/>
                </a:lnTo>
                <a:lnTo>
                  <a:pt x="472594" y="95893"/>
                </a:lnTo>
                <a:lnTo>
                  <a:pt x="525631" y="95893"/>
                </a:lnTo>
                <a:lnTo>
                  <a:pt x="525631" y="108588"/>
                </a:lnTo>
                <a:lnTo>
                  <a:pt x="458588" y="108588"/>
                </a:lnTo>
                <a:lnTo>
                  <a:pt x="458588" y="1493"/>
                </a:lnTo>
                <a:close/>
                <a:moveTo>
                  <a:pt x="613277" y="73491"/>
                </a:moveTo>
                <a:cubicBezTo>
                  <a:pt x="613277" y="80772"/>
                  <a:pt x="611721" y="87182"/>
                  <a:pt x="608483" y="92782"/>
                </a:cubicBezTo>
                <a:cubicBezTo>
                  <a:pt x="605433" y="98258"/>
                  <a:pt x="601201" y="102490"/>
                  <a:pt x="595785" y="105601"/>
                </a:cubicBezTo>
                <a:cubicBezTo>
                  <a:pt x="590431" y="108588"/>
                  <a:pt x="584393" y="110082"/>
                  <a:pt x="577733" y="110082"/>
                </a:cubicBezTo>
                <a:cubicBezTo>
                  <a:pt x="568769" y="110082"/>
                  <a:pt x="561548" y="108091"/>
                  <a:pt x="556070" y="104108"/>
                </a:cubicBezTo>
                <a:cubicBezTo>
                  <a:pt x="550592" y="100125"/>
                  <a:pt x="546546" y="94587"/>
                  <a:pt x="543994" y="87555"/>
                </a:cubicBezTo>
                <a:cubicBezTo>
                  <a:pt x="541504" y="80461"/>
                  <a:pt x="540259" y="72372"/>
                  <a:pt x="540259" y="63161"/>
                </a:cubicBezTo>
                <a:cubicBezTo>
                  <a:pt x="540259" y="50653"/>
                  <a:pt x="541753" y="39639"/>
                  <a:pt x="544741" y="30181"/>
                </a:cubicBezTo>
                <a:cubicBezTo>
                  <a:pt x="547791" y="20722"/>
                  <a:pt x="552459" y="13379"/>
                  <a:pt x="558747" y="8089"/>
                </a:cubicBezTo>
                <a:cubicBezTo>
                  <a:pt x="565158" y="2675"/>
                  <a:pt x="573313" y="0"/>
                  <a:pt x="583273" y="0"/>
                </a:cubicBezTo>
                <a:cubicBezTo>
                  <a:pt x="591801" y="0"/>
                  <a:pt x="599333" y="1866"/>
                  <a:pt x="605807" y="5538"/>
                </a:cubicBezTo>
                <a:lnTo>
                  <a:pt x="605807" y="18855"/>
                </a:lnTo>
                <a:cubicBezTo>
                  <a:pt x="599333" y="14437"/>
                  <a:pt x="591801" y="12259"/>
                  <a:pt x="583273" y="12259"/>
                </a:cubicBezTo>
                <a:cubicBezTo>
                  <a:pt x="577111" y="12259"/>
                  <a:pt x="571881" y="13939"/>
                  <a:pt x="567711" y="17361"/>
                </a:cubicBezTo>
                <a:cubicBezTo>
                  <a:pt x="563540" y="20722"/>
                  <a:pt x="560241" y="25327"/>
                  <a:pt x="557875" y="31238"/>
                </a:cubicBezTo>
                <a:cubicBezTo>
                  <a:pt x="555572" y="37026"/>
                  <a:pt x="554203" y="43498"/>
                  <a:pt x="553705" y="50778"/>
                </a:cubicBezTo>
                <a:cubicBezTo>
                  <a:pt x="556941" y="46298"/>
                  <a:pt x="560739" y="42999"/>
                  <a:pt x="565034" y="40759"/>
                </a:cubicBezTo>
                <a:cubicBezTo>
                  <a:pt x="569329" y="38581"/>
                  <a:pt x="573998" y="37523"/>
                  <a:pt x="579102" y="37523"/>
                </a:cubicBezTo>
                <a:cubicBezTo>
                  <a:pt x="585576" y="37523"/>
                  <a:pt x="591303" y="38893"/>
                  <a:pt x="596408" y="41693"/>
                </a:cubicBezTo>
                <a:cubicBezTo>
                  <a:pt x="601574" y="44493"/>
                  <a:pt x="605683" y="48538"/>
                  <a:pt x="608670" y="53952"/>
                </a:cubicBezTo>
                <a:cubicBezTo>
                  <a:pt x="611721" y="59179"/>
                  <a:pt x="613277" y="65713"/>
                  <a:pt x="613277" y="73491"/>
                </a:cubicBezTo>
                <a:close/>
                <a:moveTo>
                  <a:pt x="577297" y="98134"/>
                </a:moveTo>
                <a:cubicBezTo>
                  <a:pt x="581156" y="98134"/>
                  <a:pt x="584767" y="97263"/>
                  <a:pt x="588066" y="95458"/>
                </a:cubicBezTo>
                <a:cubicBezTo>
                  <a:pt x="591303" y="93529"/>
                  <a:pt x="593980" y="90791"/>
                  <a:pt x="595971" y="87244"/>
                </a:cubicBezTo>
                <a:cubicBezTo>
                  <a:pt x="598026" y="83635"/>
                  <a:pt x="599084" y="79154"/>
                  <a:pt x="599084" y="73803"/>
                </a:cubicBezTo>
                <a:cubicBezTo>
                  <a:pt x="599084" y="68389"/>
                  <a:pt x="598088" y="63908"/>
                  <a:pt x="596096" y="60174"/>
                </a:cubicBezTo>
                <a:cubicBezTo>
                  <a:pt x="594104" y="56503"/>
                  <a:pt x="591552" y="53765"/>
                  <a:pt x="588502" y="51961"/>
                </a:cubicBezTo>
                <a:cubicBezTo>
                  <a:pt x="585389" y="50093"/>
                  <a:pt x="582152" y="49160"/>
                  <a:pt x="578791" y="49160"/>
                </a:cubicBezTo>
                <a:cubicBezTo>
                  <a:pt x="572193" y="49160"/>
                  <a:pt x="566652" y="51276"/>
                  <a:pt x="562171" y="55570"/>
                </a:cubicBezTo>
                <a:cubicBezTo>
                  <a:pt x="557813" y="59739"/>
                  <a:pt x="555634" y="65900"/>
                  <a:pt x="555634" y="74114"/>
                </a:cubicBezTo>
                <a:cubicBezTo>
                  <a:pt x="555634" y="81270"/>
                  <a:pt x="557564" y="87058"/>
                  <a:pt x="561424" y="91538"/>
                </a:cubicBezTo>
                <a:cubicBezTo>
                  <a:pt x="565345" y="95956"/>
                  <a:pt x="570636" y="98134"/>
                  <a:pt x="577297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grpSp>
        <p:nvGrpSpPr>
          <p:cNvPr id="1149" name="Группа 1148">
            <a:extLst>
              <a:ext uri="{FF2B5EF4-FFF2-40B4-BE49-F238E27FC236}">
                <a16:creationId xmlns:a16="http://schemas.microsoft.com/office/drawing/2014/main" id="{463C9BA5-0311-A1EE-84FC-3C68C3A87E7F}"/>
              </a:ext>
            </a:extLst>
          </p:cNvPr>
          <p:cNvGrpSpPr/>
          <p:nvPr userDrawn="1"/>
        </p:nvGrpSpPr>
        <p:grpSpPr>
          <a:xfrm>
            <a:off x="8502520" y="7619044"/>
            <a:ext cx="312638" cy="312638"/>
            <a:chOff x="2816046" y="7085282"/>
            <a:chExt cx="346932" cy="346932"/>
          </a:xfrm>
        </p:grpSpPr>
        <p:sp>
          <p:nvSpPr>
            <p:cNvPr id="1150" name="Рисунок 1184">
              <a:extLst>
                <a:ext uri="{FF2B5EF4-FFF2-40B4-BE49-F238E27FC236}">
                  <a16:creationId xmlns:a16="http://schemas.microsoft.com/office/drawing/2014/main" id="{3FE45A5F-2871-CF9F-8B2A-82807E1B367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51" name="Прямоугольник 1150">
              <a:extLst>
                <a:ext uri="{FF2B5EF4-FFF2-40B4-BE49-F238E27FC236}">
                  <a16:creationId xmlns:a16="http://schemas.microsoft.com/office/drawing/2014/main" id="{921D6A88-A105-5290-D7B6-5DF20E25693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52" name="Рисунок 1184">
              <a:extLst>
                <a:ext uri="{FF2B5EF4-FFF2-40B4-BE49-F238E27FC236}">
                  <a16:creationId xmlns:a16="http://schemas.microsoft.com/office/drawing/2014/main" id="{FA6ED55B-5BDB-8F2D-63C6-D05742C18C92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53" name="Группа 1152">
            <a:extLst>
              <a:ext uri="{FF2B5EF4-FFF2-40B4-BE49-F238E27FC236}">
                <a16:creationId xmlns:a16="http://schemas.microsoft.com/office/drawing/2014/main" id="{4BE52CB6-7464-C894-B4B8-92CB48D51309}"/>
              </a:ext>
            </a:extLst>
          </p:cNvPr>
          <p:cNvGrpSpPr/>
          <p:nvPr userDrawn="1"/>
        </p:nvGrpSpPr>
        <p:grpSpPr>
          <a:xfrm>
            <a:off x="5801026" y="7619044"/>
            <a:ext cx="312638" cy="312638"/>
            <a:chOff x="2816046" y="7085282"/>
            <a:chExt cx="346932" cy="346932"/>
          </a:xfrm>
        </p:grpSpPr>
        <p:sp>
          <p:nvSpPr>
            <p:cNvPr id="1154" name="Рисунок 1184">
              <a:extLst>
                <a:ext uri="{FF2B5EF4-FFF2-40B4-BE49-F238E27FC236}">
                  <a16:creationId xmlns:a16="http://schemas.microsoft.com/office/drawing/2014/main" id="{DA025B64-F606-771A-1E95-D50A4E1656C6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55" name="Прямоугольник 1154">
              <a:extLst>
                <a:ext uri="{FF2B5EF4-FFF2-40B4-BE49-F238E27FC236}">
                  <a16:creationId xmlns:a16="http://schemas.microsoft.com/office/drawing/2014/main" id="{5945484E-A70B-7BA2-8D31-B5B4DF7E6CA1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56" name="Рисунок 1184">
              <a:extLst>
                <a:ext uri="{FF2B5EF4-FFF2-40B4-BE49-F238E27FC236}">
                  <a16:creationId xmlns:a16="http://schemas.microsoft.com/office/drawing/2014/main" id="{A3D4FAF2-21E2-E592-99E5-8E0BF7A0263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61" name="Группа 1160">
            <a:extLst>
              <a:ext uri="{FF2B5EF4-FFF2-40B4-BE49-F238E27FC236}">
                <a16:creationId xmlns:a16="http://schemas.microsoft.com/office/drawing/2014/main" id="{652C4313-48A7-1516-482F-5139FE35F08F}"/>
              </a:ext>
            </a:extLst>
          </p:cNvPr>
          <p:cNvGrpSpPr/>
          <p:nvPr userDrawn="1"/>
        </p:nvGrpSpPr>
        <p:grpSpPr>
          <a:xfrm>
            <a:off x="11179305" y="7619044"/>
            <a:ext cx="312638" cy="312638"/>
            <a:chOff x="2816046" y="7085282"/>
            <a:chExt cx="346932" cy="346932"/>
          </a:xfrm>
        </p:grpSpPr>
        <p:sp>
          <p:nvSpPr>
            <p:cNvPr id="1162" name="Рисунок 1184">
              <a:extLst>
                <a:ext uri="{FF2B5EF4-FFF2-40B4-BE49-F238E27FC236}">
                  <a16:creationId xmlns:a16="http://schemas.microsoft.com/office/drawing/2014/main" id="{FDD0F98B-F7D5-74E6-AEA8-084085AE419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3" name="Прямоугольник 1162">
              <a:extLst>
                <a:ext uri="{FF2B5EF4-FFF2-40B4-BE49-F238E27FC236}">
                  <a16:creationId xmlns:a16="http://schemas.microsoft.com/office/drawing/2014/main" id="{DF758386-B8E3-135D-299A-FBE406D9646F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64" name="Рисунок 1184">
              <a:extLst>
                <a:ext uri="{FF2B5EF4-FFF2-40B4-BE49-F238E27FC236}">
                  <a16:creationId xmlns:a16="http://schemas.microsoft.com/office/drawing/2014/main" id="{6616CF4E-1613-0151-3FA5-14E8689115A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65" name="Группа 1164">
            <a:extLst>
              <a:ext uri="{FF2B5EF4-FFF2-40B4-BE49-F238E27FC236}">
                <a16:creationId xmlns:a16="http://schemas.microsoft.com/office/drawing/2014/main" id="{4CF362FE-6FCA-224B-2A80-AC11C9CC995F}"/>
              </a:ext>
            </a:extLst>
          </p:cNvPr>
          <p:cNvGrpSpPr/>
          <p:nvPr userDrawn="1"/>
        </p:nvGrpSpPr>
        <p:grpSpPr>
          <a:xfrm>
            <a:off x="13246605" y="8342103"/>
            <a:ext cx="312638" cy="312638"/>
            <a:chOff x="2816046" y="7085282"/>
            <a:chExt cx="346932" cy="346932"/>
          </a:xfrm>
        </p:grpSpPr>
        <p:sp>
          <p:nvSpPr>
            <p:cNvPr id="1166" name="Рисунок 1184">
              <a:extLst>
                <a:ext uri="{FF2B5EF4-FFF2-40B4-BE49-F238E27FC236}">
                  <a16:creationId xmlns:a16="http://schemas.microsoft.com/office/drawing/2014/main" id="{CBBF9D57-E5A3-6485-A3C8-9B0FC397481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7" name="Прямоугольник 1166">
              <a:extLst>
                <a:ext uri="{FF2B5EF4-FFF2-40B4-BE49-F238E27FC236}">
                  <a16:creationId xmlns:a16="http://schemas.microsoft.com/office/drawing/2014/main" id="{15EE2DFD-05CD-0198-272F-D6B7A8CBDE1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68" name="Рисунок 1184">
              <a:extLst>
                <a:ext uri="{FF2B5EF4-FFF2-40B4-BE49-F238E27FC236}">
                  <a16:creationId xmlns:a16="http://schemas.microsoft.com/office/drawing/2014/main" id="{FE67E686-B959-5CDC-3DE2-027F6FFA523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05" name="TextBox 1204">
            <a:extLst>
              <a:ext uri="{FF2B5EF4-FFF2-40B4-BE49-F238E27FC236}">
                <a16:creationId xmlns:a16="http://schemas.microsoft.com/office/drawing/2014/main" id="{4AC18DDF-B8CC-29BA-481B-C07C59298BE8}"/>
              </a:ext>
            </a:extLst>
          </p:cNvPr>
          <p:cNvSpPr txBox="1"/>
          <p:nvPr userDrawn="1"/>
        </p:nvSpPr>
        <p:spPr>
          <a:xfrm>
            <a:off x="12296582" y="9812368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9EFFFF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07" name="Полилиния 1206">
            <a:extLst>
              <a:ext uri="{FF2B5EF4-FFF2-40B4-BE49-F238E27FC236}">
                <a16:creationId xmlns:a16="http://schemas.microsoft.com/office/drawing/2014/main" id="{769DAE36-D41A-B874-14AF-984FA77938F8}"/>
              </a:ext>
            </a:extLst>
          </p:cNvPr>
          <p:cNvSpPr/>
          <p:nvPr userDrawn="1"/>
        </p:nvSpPr>
        <p:spPr>
          <a:xfrm>
            <a:off x="12270615" y="7422308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EAE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08" name="TextBox 1207">
            <a:extLst>
              <a:ext uri="{FF2B5EF4-FFF2-40B4-BE49-F238E27FC236}">
                <a16:creationId xmlns:a16="http://schemas.microsoft.com/office/drawing/2014/main" id="{EE45F42B-8957-D571-2CAB-1520CF2EDFB8}"/>
              </a:ext>
            </a:extLst>
          </p:cNvPr>
          <p:cNvSpPr txBox="1"/>
          <p:nvPr userDrawn="1"/>
        </p:nvSpPr>
        <p:spPr>
          <a:xfrm>
            <a:off x="12296582" y="7627976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00EAE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09" name="Рисунок 1184">
            <a:extLst>
              <a:ext uri="{FF2B5EF4-FFF2-40B4-BE49-F238E27FC236}">
                <a16:creationId xmlns:a16="http://schemas.microsoft.com/office/drawing/2014/main" id="{F1C40573-F081-E1AA-66C4-19A0FA610E92}"/>
              </a:ext>
            </a:extLst>
          </p:cNvPr>
          <p:cNvSpPr/>
          <p:nvPr userDrawn="1"/>
        </p:nvSpPr>
        <p:spPr>
          <a:xfrm>
            <a:off x="13259003" y="7636651"/>
            <a:ext cx="287842" cy="287842"/>
          </a:xfrm>
          <a:custGeom>
            <a:avLst/>
            <a:gdLst>
              <a:gd name="connsiteX0" fmla="*/ 5614 w 171450"/>
              <a:gd name="connsiteY0" fmla="*/ 18193 h 171450"/>
              <a:gd name="connsiteX1" fmla="*/ 0 w 171450"/>
              <a:gd name="connsiteY1" fmla="*/ 64770 h 171450"/>
              <a:gd name="connsiteX2" fmla="*/ 0 w 171450"/>
              <a:gd name="connsiteY2" fmla="*/ 106680 h 171450"/>
              <a:gd name="connsiteX3" fmla="*/ 5614 w 171450"/>
              <a:gd name="connsiteY3" fmla="*/ 153257 h 171450"/>
              <a:gd name="connsiteX4" fmla="*/ 18193 w 171450"/>
              <a:gd name="connsiteY4" fmla="*/ 165836 h 171450"/>
              <a:gd name="connsiteX5" fmla="*/ 64770 w 171450"/>
              <a:gd name="connsiteY5" fmla="*/ 171450 h 171450"/>
              <a:gd name="connsiteX6" fmla="*/ 106680 w 171450"/>
              <a:gd name="connsiteY6" fmla="*/ 171450 h 171450"/>
              <a:gd name="connsiteX7" fmla="*/ 153257 w 171450"/>
              <a:gd name="connsiteY7" fmla="*/ 165836 h 171450"/>
              <a:gd name="connsiteX8" fmla="*/ 165836 w 171450"/>
              <a:gd name="connsiteY8" fmla="*/ 153257 h 171450"/>
              <a:gd name="connsiteX9" fmla="*/ 171450 w 171450"/>
              <a:gd name="connsiteY9" fmla="*/ 106680 h 171450"/>
              <a:gd name="connsiteX10" fmla="*/ 171450 w 171450"/>
              <a:gd name="connsiteY10" fmla="*/ 64770 h 171450"/>
              <a:gd name="connsiteX11" fmla="*/ 165836 w 171450"/>
              <a:gd name="connsiteY11" fmla="*/ 18193 h 171450"/>
              <a:gd name="connsiteX12" fmla="*/ 153257 w 171450"/>
              <a:gd name="connsiteY12" fmla="*/ 5614 h 171450"/>
              <a:gd name="connsiteX13" fmla="*/ 106680 w 171450"/>
              <a:gd name="connsiteY13" fmla="*/ 0 h 171450"/>
              <a:gd name="connsiteX14" fmla="*/ 64770 w 171450"/>
              <a:gd name="connsiteY14" fmla="*/ 0 h 171450"/>
              <a:gd name="connsiteX15" fmla="*/ 18193 w 171450"/>
              <a:gd name="connsiteY15" fmla="*/ 5614 h 171450"/>
              <a:gd name="connsiteX16" fmla="*/ 5614 w 171450"/>
              <a:gd name="connsiteY16" fmla="*/ 18193 h 171450"/>
              <a:gd name="connsiteX17" fmla="*/ 76095 w 171450"/>
              <a:gd name="connsiteY17" fmla="*/ 123822 h 171450"/>
              <a:gd name="connsiteX18" fmla="*/ 138113 w 171450"/>
              <a:gd name="connsiteY18" fmla="*/ 61910 h 171450"/>
              <a:gd name="connsiteX19" fmla="*/ 123825 w 171450"/>
              <a:gd name="connsiteY19" fmla="*/ 47625 h 171450"/>
              <a:gd name="connsiteX20" fmla="*/ 76095 w 171450"/>
              <a:gd name="connsiteY20" fmla="*/ 95247 h 171450"/>
              <a:gd name="connsiteX21" fmla="*/ 47621 w 171450"/>
              <a:gd name="connsiteY21" fmla="*/ 66679 h 171450"/>
              <a:gd name="connsiteX22" fmla="*/ 33338 w 171450"/>
              <a:gd name="connsiteY22" fmla="*/ 80960 h 171450"/>
              <a:gd name="connsiteX23" fmla="*/ 76095 w 171450"/>
              <a:gd name="connsiteY23" fmla="*/ 123822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71450" h="171450">
                <a:moveTo>
                  <a:pt x="5614" y="18193"/>
                </a:moveTo>
                <a:cubicBezTo>
                  <a:pt x="0" y="27355"/>
                  <a:pt x="0" y="39827"/>
                  <a:pt x="0" y="64770"/>
                </a:cubicBezTo>
                <a:lnTo>
                  <a:pt x="0" y="106680"/>
                </a:lnTo>
                <a:cubicBezTo>
                  <a:pt x="0" y="131623"/>
                  <a:pt x="0" y="144095"/>
                  <a:pt x="5614" y="153257"/>
                </a:cubicBezTo>
                <a:cubicBezTo>
                  <a:pt x="8756" y="158384"/>
                  <a:pt x="13066" y="162694"/>
                  <a:pt x="18193" y="165836"/>
                </a:cubicBezTo>
                <a:cubicBezTo>
                  <a:pt x="27355" y="171450"/>
                  <a:pt x="39827" y="171450"/>
                  <a:pt x="64770" y="171450"/>
                </a:cubicBezTo>
                <a:lnTo>
                  <a:pt x="106680" y="171450"/>
                </a:lnTo>
                <a:cubicBezTo>
                  <a:pt x="131623" y="171450"/>
                  <a:pt x="144095" y="171450"/>
                  <a:pt x="153257" y="165836"/>
                </a:cubicBezTo>
                <a:cubicBezTo>
                  <a:pt x="158384" y="162694"/>
                  <a:pt x="162694" y="158384"/>
                  <a:pt x="165836" y="153257"/>
                </a:cubicBezTo>
                <a:cubicBezTo>
                  <a:pt x="171450" y="144095"/>
                  <a:pt x="171450" y="131623"/>
                  <a:pt x="171450" y="106680"/>
                </a:cubicBezTo>
                <a:lnTo>
                  <a:pt x="171450" y="64770"/>
                </a:lnTo>
                <a:cubicBezTo>
                  <a:pt x="171450" y="39827"/>
                  <a:pt x="171450" y="27355"/>
                  <a:pt x="165836" y="18193"/>
                </a:cubicBezTo>
                <a:cubicBezTo>
                  <a:pt x="162694" y="13066"/>
                  <a:pt x="158384" y="8756"/>
                  <a:pt x="153257" y="5614"/>
                </a:cubicBezTo>
                <a:cubicBezTo>
                  <a:pt x="144095" y="0"/>
                  <a:pt x="131623" y="0"/>
                  <a:pt x="106680" y="0"/>
                </a:cubicBezTo>
                <a:lnTo>
                  <a:pt x="64770" y="0"/>
                </a:lnTo>
                <a:cubicBezTo>
                  <a:pt x="39827" y="0"/>
                  <a:pt x="27355" y="0"/>
                  <a:pt x="18193" y="5614"/>
                </a:cubicBezTo>
                <a:cubicBezTo>
                  <a:pt x="13066" y="8756"/>
                  <a:pt x="8756" y="13066"/>
                  <a:pt x="5614" y="18193"/>
                </a:cubicBezTo>
                <a:close/>
                <a:moveTo>
                  <a:pt x="76095" y="123822"/>
                </a:moveTo>
                <a:lnTo>
                  <a:pt x="138113" y="61910"/>
                </a:lnTo>
                <a:lnTo>
                  <a:pt x="123825" y="47625"/>
                </a:lnTo>
                <a:lnTo>
                  <a:pt x="76095" y="95247"/>
                </a:lnTo>
                <a:lnTo>
                  <a:pt x="47621" y="66679"/>
                </a:lnTo>
                <a:lnTo>
                  <a:pt x="33338" y="80960"/>
                </a:lnTo>
                <a:lnTo>
                  <a:pt x="76095" y="123822"/>
                </a:lnTo>
                <a:close/>
              </a:path>
            </a:pathLst>
          </a:custGeom>
          <a:solidFill>
            <a:srgbClr val="191E2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23" name="Полилиния 1222">
            <a:extLst>
              <a:ext uri="{FF2B5EF4-FFF2-40B4-BE49-F238E27FC236}">
                <a16:creationId xmlns:a16="http://schemas.microsoft.com/office/drawing/2014/main" id="{A2E72A2C-B4CE-2631-6ED0-5471146A50CE}"/>
              </a:ext>
            </a:extLst>
          </p:cNvPr>
          <p:cNvSpPr/>
          <p:nvPr userDrawn="1"/>
        </p:nvSpPr>
        <p:spPr>
          <a:xfrm>
            <a:off x="12393824" y="10625622"/>
            <a:ext cx="739556" cy="128252"/>
          </a:xfrm>
          <a:custGeom>
            <a:avLst/>
            <a:gdLst>
              <a:gd name="connsiteX0" fmla="*/ 22111 w 633706"/>
              <a:gd name="connsiteY0" fmla="*/ 108402 h 109895"/>
              <a:gd name="connsiteX1" fmla="*/ 10159 w 633706"/>
              <a:gd name="connsiteY1" fmla="*/ 108402 h 109895"/>
              <a:gd name="connsiteX2" fmla="*/ 16434 w 633706"/>
              <a:gd name="connsiteY2" fmla="*/ 77475 h 109895"/>
              <a:gd name="connsiteX3" fmla="*/ 0 w 633706"/>
              <a:gd name="connsiteY3" fmla="*/ 77475 h 109895"/>
              <a:gd name="connsiteX4" fmla="*/ 0 w 633706"/>
              <a:gd name="connsiteY4" fmla="*/ 67020 h 109895"/>
              <a:gd name="connsiteX5" fmla="*/ 18675 w 633706"/>
              <a:gd name="connsiteY5" fmla="*/ 67020 h 109895"/>
              <a:gd name="connsiteX6" fmla="*/ 24202 w 633706"/>
              <a:gd name="connsiteY6" fmla="*/ 39826 h 109895"/>
              <a:gd name="connsiteX7" fmla="*/ 4034 w 633706"/>
              <a:gd name="connsiteY7" fmla="*/ 39826 h 109895"/>
              <a:gd name="connsiteX8" fmla="*/ 4034 w 633706"/>
              <a:gd name="connsiteY8" fmla="*/ 29372 h 109895"/>
              <a:gd name="connsiteX9" fmla="*/ 26294 w 633706"/>
              <a:gd name="connsiteY9" fmla="*/ 29372 h 109895"/>
              <a:gd name="connsiteX10" fmla="*/ 32120 w 633706"/>
              <a:gd name="connsiteY10" fmla="*/ 1307 h 109895"/>
              <a:gd name="connsiteX11" fmla="*/ 44072 w 633706"/>
              <a:gd name="connsiteY11" fmla="*/ 1307 h 109895"/>
              <a:gd name="connsiteX12" fmla="*/ 38246 w 633706"/>
              <a:gd name="connsiteY12" fmla="*/ 29372 h 109895"/>
              <a:gd name="connsiteX13" fmla="*/ 60655 w 633706"/>
              <a:gd name="connsiteY13" fmla="*/ 29372 h 109895"/>
              <a:gd name="connsiteX14" fmla="*/ 66482 w 633706"/>
              <a:gd name="connsiteY14" fmla="*/ 1307 h 109895"/>
              <a:gd name="connsiteX15" fmla="*/ 78434 w 633706"/>
              <a:gd name="connsiteY15" fmla="*/ 1307 h 109895"/>
              <a:gd name="connsiteX16" fmla="*/ 72607 w 633706"/>
              <a:gd name="connsiteY16" fmla="*/ 29372 h 109895"/>
              <a:gd name="connsiteX17" fmla="*/ 89340 w 633706"/>
              <a:gd name="connsiteY17" fmla="*/ 29372 h 109895"/>
              <a:gd name="connsiteX18" fmla="*/ 89340 w 633706"/>
              <a:gd name="connsiteY18" fmla="*/ 39826 h 109895"/>
              <a:gd name="connsiteX19" fmla="*/ 70516 w 633706"/>
              <a:gd name="connsiteY19" fmla="*/ 39826 h 109895"/>
              <a:gd name="connsiteX20" fmla="*/ 64988 w 633706"/>
              <a:gd name="connsiteY20" fmla="*/ 67020 h 109895"/>
              <a:gd name="connsiteX21" fmla="*/ 85306 w 633706"/>
              <a:gd name="connsiteY21" fmla="*/ 67020 h 109895"/>
              <a:gd name="connsiteX22" fmla="*/ 85306 w 633706"/>
              <a:gd name="connsiteY22" fmla="*/ 77475 h 109895"/>
              <a:gd name="connsiteX23" fmla="*/ 62747 w 633706"/>
              <a:gd name="connsiteY23" fmla="*/ 77475 h 109895"/>
              <a:gd name="connsiteX24" fmla="*/ 56472 w 633706"/>
              <a:gd name="connsiteY24" fmla="*/ 108402 h 109895"/>
              <a:gd name="connsiteX25" fmla="*/ 44520 w 633706"/>
              <a:gd name="connsiteY25" fmla="*/ 108402 h 109895"/>
              <a:gd name="connsiteX26" fmla="*/ 50795 w 633706"/>
              <a:gd name="connsiteY26" fmla="*/ 77475 h 109895"/>
              <a:gd name="connsiteX27" fmla="*/ 28386 w 633706"/>
              <a:gd name="connsiteY27" fmla="*/ 77475 h 109895"/>
              <a:gd name="connsiteX28" fmla="*/ 22111 w 633706"/>
              <a:gd name="connsiteY28" fmla="*/ 108402 h 109895"/>
              <a:gd name="connsiteX29" fmla="*/ 30626 w 633706"/>
              <a:gd name="connsiteY29" fmla="*/ 67020 h 109895"/>
              <a:gd name="connsiteX30" fmla="*/ 53036 w 633706"/>
              <a:gd name="connsiteY30" fmla="*/ 67020 h 109895"/>
              <a:gd name="connsiteX31" fmla="*/ 58564 w 633706"/>
              <a:gd name="connsiteY31" fmla="*/ 39826 h 109895"/>
              <a:gd name="connsiteX32" fmla="*/ 36154 w 633706"/>
              <a:gd name="connsiteY32" fmla="*/ 39826 h 109895"/>
              <a:gd name="connsiteX33" fmla="*/ 30626 w 633706"/>
              <a:gd name="connsiteY33" fmla="*/ 67020 h 109895"/>
              <a:gd name="connsiteX34" fmla="*/ 107825 w 633706"/>
              <a:gd name="connsiteY34" fmla="*/ 1307 h 109895"/>
              <a:gd name="connsiteX35" fmla="*/ 143830 w 633706"/>
              <a:gd name="connsiteY35" fmla="*/ 1307 h 109895"/>
              <a:gd name="connsiteX36" fmla="*/ 163849 w 633706"/>
              <a:gd name="connsiteY36" fmla="*/ 3858 h 109895"/>
              <a:gd name="connsiteX37" fmla="*/ 179984 w 633706"/>
              <a:gd name="connsiteY37" fmla="*/ 12197 h 109895"/>
              <a:gd name="connsiteX38" fmla="*/ 190741 w 633706"/>
              <a:gd name="connsiteY38" fmla="*/ 27443 h 109895"/>
              <a:gd name="connsiteX39" fmla="*/ 194625 w 633706"/>
              <a:gd name="connsiteY39" fmla="*/ 51215 h 109895"/>
              <a:gd name="connsiteX40" fmla="*/ 187753 w 633706"/>
              <a:gd name="connsiteY40" fmla="*/ 82889 h 109895"/>
              <a:gd name="connsiteX41" fmla="*/ 169228 w 633706"/>
              <a:gd name="connsiteY41" fmla="*/ 101992 h 109895"/>
              <a:gd name="connsiteX42" fmla="*/ 142187 w 633706"/>
              <a:gd name="connsiteY42" fmla="*/ 108402 h 109895"/>
              <a:gd name="connsiteX43" fmla="*/ 107825 w 633706"/>
              <a:gd name="connsiteY43" fmla="*/ 108402 h 109895"/>
              <a:gd name="connsiteX44" fmla="*/ 107825 w 633706"/>
              <a:gd name="connsiteY44" fmla="*/ 1307 h 109895"/>
              <a:gd name="connsiteX45" fmla="*/ 142187 w 633706"/>
              <a:gd name="connsiteY45" fmla="*/ 95707 h 109895"/>
              <a:gd name="connsiteX46" fmla="*/ 161608 w 633706"/>
              <a:gd name="connsiteY46" fmla="*/ 91227 h 109895"/>
              <a:gd name="connsiteX47" fmla="*/ 174606 w 633706"/>
              <a:gd name="connsiteY47" fmla="*/ 77039 h 109895"/>
              <a:gd name="connsiteX48" fmla="*/ 179387 w 633706"/>
              <a:gd name="connsiteY48" fmla="*/ 52272 h 109895"/>
              <a:gd name="connsiteX49" fmla="*/ 174755 w 633706"/>
              <a:gd name="connsiteY49" fmla="*/ 28936 h 109895"/>
              <a:gd name="connsiteX50" fmla="*/ 162056 w 633706"/>
              <a:gd name="connsiteY50" fmla="*/ 17424 h 109895"/>
              <a:gd name="connsiteX51" fmla="*/ 143830 w 633706"/>
              <a:gd name="connsiteY51" fmla="*/ 14188 h 109895"/>
              <a:gd name="connsiteX52" fmla="*/ 121869 w 633706"/>
              <a:gd name="connsiteY52" fmla="*/ 14188 h 109895"/>
              <a:gd name="connsiteX53" fmla="*/ 121869 w 633706"/>
              <a:gd name="connsiteY53" fmla="*/ 95707 h 109895"/>
              <a:gd name="connsiteX54" fmla="*/ 142187 w 633706"/>
              <a:gd name="connsiteY54" fmla="*/ 95707 h 109895"/>
              <a:gd name="connsiteX55" fmla="*/ 259770 w 633706"/>
              <a:gd name="connsiteY55" fmla="*/ 109896 h 109895"/>
              <a:gd name="connsiteX56" fmla="*/ 231983 w 633706"/>
              <a:gd name="connsiteY56" fmla="*/ 103300 h 109895"/>
              <a:gd name="connsiteX57" fmla="*/ 213607 w 633706"/>
              <a:gd name="connsiteY57" fmla="*/ 84507 h 109895"/>
              <a:gd name="connsiteX58" fmla="*/ 207033 w 633706"/>
              <a:gd name="connsiteY58" fmla="*/ 54948 h 109895"/>
              <a:gd name="connsiteX59" fmla="*/ 220628 w 633706"/>
              <a:gd name="connsiteY59" fmla="*/ 14624 h 109895"/>
              <a:gd name="connsiteX60" fmla="*/ 259472 w 633706"/>
              <a:gd name="connsiteY60" fmla="*/ 0 h 109895"/>
              <a:gd name="connsiteX61" fmla="*/ 277399 w 633706"/>
              <a:gd name="connsiteY61" fmla="*/ 2054 h 109895"/>
              <a:gd name="connsiteX62" fmla="*/ 292040 w 633706"/>
              <a:gd name="connsiteY62" fmla="*/ 7716 h 109895"/>
              <a:gd name="connsiteX63" fmla="*/ 292040 w 633706"/>
              <a:gd name="connsiteY63" fmla="*/ 21158 h 109895"/>
              <a:gd name="connsiteX64" fmla="*/ 276951 w 633706"/>
              <a:gd name="connsiteY64" fmla="*/ 14935 h 109895"/>
              <a:gd name="connsiteX65" fmla="*/ 259322 w 633706"/>
              <a:gd name="connsiteY65" fmla="*/ 12695 h 109895"/>
              <a:gd name="connsiteX66" fmla="*/ 231385 w 633706"/>
              <a:gd name="connsiteY66" fmla="*/ 23273 h 109895"/>
              <a:gd name="connsiteX67" fmla="*/ 222272 w 633706"/>
              <a:gd name="connsiteY67" fmla="*/ 54948 h 109895"/>
              <a:gd name="connsiteX68" fmla="*/ 232132 w 633706"/>
              <a:gd name="connsiteY68" fmla="*/ 86747 h 109895"/>
              <a:gd name="connsiteX69" fmla="*/ 260966 w 633706"/>
              <a:gd name="connsiteY69" fmla="*/ 97201 h 109895"/>
              <a:gd name="connsiteX70" fmla="*/ 292040 w 633706"/>
              <a:gd name="connsiteY70" fmla="*/ 87369 h 109895"/>
              <a:gd name="connsiteX71" fmla="*/ 292040 w 633706"/>
              <a:gd name="connsiteY71" fmla="*/ 100811 h 109895"/>
              <a:gd name="connsiteX72" fmla="*/ 278146 w 633706"/>
              <a:gd name="connsiteY72" fmla="*/ 107531 h 109895"/>
              <a:gd name="connsiteX73" fmla="*/ 259770 w 633706"/>
              <a:gd name="connsiteY73" fmla="*/ 109896 h 109895"/>
              <a:gd name="connsiteX74" fmla="*/ 313539 w 633706"/>
              <a:gd name="connsiteY74" fmla="*/ 1307 h 109895"/>
              <a:gd name="connsiteX75" fmla="*/ 378975 w 633706"/>
              <a:gd name="connsiteY75" fmla="*/ 1307 h 109895"/>
              <a:gd name="connsiteX76" fmla="*/ 378975 w 633706"/>
              <a:gd name="connsiteY76" fmla="*/ 14188 h 109895"/>
              <a:gd name="connsiteX77" fmla="*/ 327582 w 633706"/>
              <a:gd name="connsiteY77" fmla="*/ 14188 h 109895"/>
              <a:gd name="connsiteX78" fmla="*/ 327582 w 633706"/>
              <a:gd name="connsiteY78" fmla="*/ 49720 h 109895"/>
              <a:gd name="connsiteX79" fmla="*/ 371206 w 633706"/>
              <a:gd name="connsiteY79" fmla="*/ 49720 h 109895"/>
              <a:gd name="connsiteX80" fmla="*/ 371206 w 633706"/>
              <a:gd name="connsiteY80" fmla="*/ 62415 h 109895"/>
              <a:gd name="connsiteX81" fmla="*/ 327582 w 633706"/>
              <a:gd name="connsiteY81" fmla="*/ 62415 h 109895"/>
              <a:gd name="connsiteX82" fmla="*/ 327582 w 633706"/>
              <a:gd name="connsiteY82" fmla="*/ 108402 h 109895"/>
              <a:gd name="connsiteX83" fmla="*/ 313539 w 633706"/>
              <a:gd name="connsiteY83" fmla="*/ 108402 h 109895"/>
              <a:gd name="connsiteX84" fmla="*/ 313539 w 633706"/>
              <a:gd name="connsiteY84" fmla="*/ 1307 h 109895"/>
              <a:gd name="connsiteX85" fmla="*/ 398450 w 633706"/>
              <a:gd name="connsiteY85" fmla="*/ 1307 h 109895"/>
              <a:gd name="connsiteX86" fmla="*/ 463886 w 633706"/>
              <a:gd name="connsiteY86" fmla="*/ 1307 h 109895"/>
              <a:gd name="connsiteX87" fmla="*/ 463886 w 633706"/>
              <a:gd name="connsiteY87" fmla="*/ 14188 h 109895"/>
              <a:gd name="connsiteX88" fmla="*/ 412493 w 633706"/>
              <a:gd name="connsiteY88" fmla="*/ 14188 h 109895"/>
              <a:gd name="connsiteX89" fmla="*/ 412493 w 633706"/>
              <a:gd name="connsiteY89" fmla="*/ 49720 h 109895"/>
              <a:gd name="connsiteX90" fmla="*/ 456117 w 633706"/>
              <a:gd name="connsiteY90" fmla="*/ 49720 h 109895"/>
              <a:gd name="connsiteX91" fmla="*/ 456117 w 633706"/>
              <a:gd name="connsiteY91" fmla="*/ 62415 h 109895"/>
              <a:gd name="connsiteX92" fmla="*/ 412493 w 633706"/>
              <a:gd name="connsiteY92" fmla="*/ 62415 h 109895"/>
              <a:gd name="connsiteX93" fmla="*/ 412493 w 633706"/>
              <a:gd name="connsiteY93" fmla="*/ 108402 h 109895"/>
              <a:gd name="connsiteX94" fmla="*/ 398450 w 633706"/>
              <a:gd name="connsiteY94" fmla="*/ 108402 h 109895"/>
              <a:gd name="connsiteX95" fmla="*/ 398450 w 633706"/>
              <a:gd name="connsiteY95" fmla="*/ 1307 h 109895"/>
              <a:gd name="connsiteX96" fmla="*/ 483362 w 633706"/>
              <a:gd name="connsiteY96" fmla="*/ 1307 h 109895"/>
              <a:gd name="connsiteX97" fmla="*/ 548799 w 633706"/>
              <a:gd name="connsiteY97" fmla="*/ 1307 h 109895"/>
              <a:gd name="connsiteX98" fmla="*/ 548799 w 633706"/>
              <a:gd name="connsiteY98" fmla="*/ 14188 h 109895"/>
              <a:gd name="connsiteX99" fmla="*/ 497405 w 633706"/>
              <a:gd name="connsiteY99" fmla="*/ 14188 h 109895"/>
              <a:gd name="connsiteX100" fmla="*/ 497405 w 633706"/>
              <a:gd name="connsiteY100" fmla="*/ 49720 h 109895"/>
              <a:gd name="connsiteX101" fmla="*/ 541031 w 633706"/>
              <a:gd name="connsiteY101" fmla="*/ 49720 h 109895"/>
              <a:gd name="connsiteX102" fmla="*/ 541031 w 633706"/>
              <a:gd name="connsiteY102" fmla="*/ 62415 h 109895"/>
              <a:gd name="connsiteX103" fmla="*/ 497405 w 633706"/>
              <a:gd name="connsiteY103" fmla="*/ 62415 h 109895"/>
              <a:gd name="connsiteX104" fmla="*/ 497405 w 633706"/>
              <a:gd name="connsiteY104" fmla="*/ 108402 h 109895"/>
              <a:gd name="connsiteX105" fmla="*/ 483362 w 633706"/>
              <a:gd name="connsiteY105" fmla="*/ 108402 h 109895"/>
              <a:gd name="connsiteX106" fmla="*/ 483362 w 633706"/>
              <a:gd name="connsiteY106" fmla="*/ 1307 h 109895"/>
              <a:gd name="connsiteX107" fmla="*/ 568271 w 633706"/>
              <a:gd name="connsiteY107" fmla="*/ 1307 h 109895"/>
              <a:gd name="connsiteX108" fmla="*/ 633707 w 633706"/>
              <a:gd name="connsiteY108" fmla="*/ 1307 h 109895"/>
              <a:gd name="connsiteX109" fmla="*/ 633707 w 633706"/>
              <a:gd name="connsiteY109" fmla="*/ 14188 h 109895"/>
              <a:gd name="connsiteX110" fmla="*/ 582314 w 633706"/>
              <a:gd name="connsiteY110" fmla="*/ 14188 h 109895"/>
              <a:gd name="connsiteX111" fmla="*/ 582314 w 633706"/>
              <a:gd name="connsiteY111" fmla="*/ 49720 h 109895"/>
              <a:gd name="connsiteX112" fmla="*/ 625938 w 633706"/>
              <a:gd name="connsiteY112" fmla="*/ 49720 h 109895"/>
              <a:gd name="connsiteX113" fmla="*/ 625938 w 633706"/>
              <a:gd name="connsiteY113" fmla="*/ 62415 h 109895"/>
              <a:gd name="connsiteX114" fmla="*/ 582314 w 633706"/>
              <a:gd name="connsiteY114" fmla="*/ 62415 h 109895"/>
              <a:gd name="connsiteX115" fmla="*/ 582314 w 633706"/>
              <a:gd name="connsiteY115" fmla="*/ 108402 h 109895"/>
              <a:gd name="connsiteX116" fmla="*/ 568271 w 633706"/>
              <a:gd name="connsiteY116" fmla="*/ 108402 h 109895"/>
              <a:gd name="connsiteX117" fmla="*/ 568271 w 633706"/>
              <a:gd name="connsiteY11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33706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5" y="1307"/>
                </a:moveTo>
                <a:lnTo>
                  <a:pt x="143830" y="1307"/>
                </a:lnTo>
                <a:cubicBezTo>
                  <a:pt x="151001" y="1307"/>
                  <a:pt x="157674" y="2179"/>
                  <a:pt x="163849" y="3858"/>
                </a:cubicBezTo>
                <a:cubicBezTo>
                  <a:pt x="170024" y="5538"/>
                  <a:pt x="175403" y="8339"/>
                  <a:pt x="179984" y="12197"/>
                </a:cubicBezTo>
                <a:cubicBezTo>
                  <a:pt x="184566" y="15993"/>
                  <a:pt x="188151" y="21096"/>
                  <a:pt x="190741" y="27443"/>
                </a:cubicBezTo>
                <a:cubicBezTo>
                  <a:pt x="193330" y="33853"/>
                  <a:pt x="194625" y="41756"/>
                  <a:pt x="194625" y="51215"/>
                </a:cubicBezTo>
                <a:cubicBezTo>
                  <a:pt x="194625" y="63722"/>
                  <a:pt x="192334" y="74301"/>
                  <a:pt x="187753" y="82889"/>
                </a:cubicBezTo>
                <a:cubicBezTo>
                  <a:pt x="183271" y="91352"/>
                  <a:pt x="177096" y="97699"/>
                  <a:pt x="169228" y="101992"/>
                </a:cubicBezTo>
                <a:cubicBezTo>
                  <a:pt x="161359" y="106287"/>
                  <a:pt x="152346" y="108402"/>
                  <a:pt x="142187" y="108402"/>
                </a:cubicBezTo>
                <a:lnTo>
                  <a:pt x="107825" y="108402"/>
                </a:lnTo>
                <a:lnTo>
                  <a:pt x="107825" y="1307"/>
                </a:lnTo>
                <a:close/>
                <a:moveTo>
                  <a:pt x="142187" y="95707"/>
                </a:moveTo>
                <a:cubicBezTo>
                  <a:pt x="149557" y="95707"/>
                  <a:pt x="156031" y="94214"/>
                  <a:pt x="161608" y="91227"/>
                </a:cubicBezTo>
                <a:cubicBezTo>
                  <a:pt x="167186" y="88116"/>
                  <a:pt x="171518" y="83386"/>
                  <a:pt x="174606" y="77039"/>
                </a:cubicBezTo>
                <a:cubicBezTo>
                  <a:pt x="177793" y="70568"/>
                  <a:pt x="179387" y="62291"/>
                  <a:pt x="179387" y="52272"/>
                </a:cubicBezTo>
                <a:cubicBezTo>
                  <a:pt x="179387" y="42191"/>
                  <a:pt x="177843" y="34413"/>
                  <a:pt x="174755" y="28936"/>
                </a:cubicBezTo>
                <a:cubicBezTo>
                  <a:pt x="171668" y="23460"/>
                  <a:pt x="167435" y="19664"/>
                  <a:pt x="162056" y="17424"/>
                </a:cubicBezTo>
                <a:cubicBezTo>
                  <a:pt x="156778" y="15246"/>
                  <a:pt x="150702" y="14188"/>
                  <a:pt x="143830" y="14188"/>
                </a:cubicBezTo>
                <a:lnTo>
                  <a:pt x="121869" y="14188"/>
                </a:lnTo>
                <a:lnTo>
                  <a:pt x="121869" y="95707"/>
                </a:lnTo>
                <a:lnTo>
                  <a:pt x="142187" y="95707"/>
                </a:lnTo>
                <a:close/>
                <a:moveTo>
                  <a:pt x="259770" y="109896"/>
                </a:moveTo>
                <a:cubicBezTo>
                  <a:pt x="249213" y="109896"/>
                  <a:pt x="239950" y="107718"/>
                  <a:pt x="231983" y="103300"/>
                </a:cubicBezTo>
                <a:cubicBezTo>
                  <a:pt x="224114" y="98943"/>
                  <a:pt x="217989" y="92658"/>
                  <a:pt x="213607" y="84507"/>
                </a:cubicBezTo>
                <a:cubicBezTo>
                  <a:pt x="209224" y="76230"/>
                  <a:pt x="207033" y="66398"/>
                  <a:pt x="207033" y="54948"/>
                </a:cubicBezTo>
                <a:cubicBezTo>
                  <a:pt x="207033" y="37711"/>
                  <a:pt x="211565" y="24269"/>
                  <a:pt x="220628" y="14624"/>
                </a:cubicBezTo>
                <a:cubicBezTo>
                  <a:pt x="229692" y="4854"/>
                  <a:pt x="242640" y="0"/>
                  <a:pt x="259472" y="0"/>
                </a:cubicBezTo>
                <a:cubicBezTo>
                  <a:pt x="265746" y="0"/>
                  <a:pt x="271722" y="684"/>
                  <a:pt x="277399" y="2054"/>
                </a:cubicBezTo>
                <a:cubicBezTo>
                  <a:pt x="283176" y="3361"/>
                  <a:pt x="288056" y="5228"/>
                  <a:pt x="292040" y="7716"/>
                </a:cubicBezTo>
                <a:lnTo>
                  <a:pt x="292040" y="21158"/>
                </a:lnTo>
                <a:cubicBezTo>
                  <a:pt x="287758" y="18482"/>
                  <a:pt x="282728" y="16428"/>
                  <a:pt x="276951" y="14935"/>
                </a:cubicBezTo>
                <a:cubicBezTo>
                  <a:pt x="271274" y="13442"/>
                  <a:pt x="265398" y="12695"/>
                  <a:pt x="259322" y="12695"/>
                </a:cubicBezTo>
                <a:cubicBezTo>
                  <a:pt x="246773" y="12695"/>
                  <a:pt x="237460" y="16180"/>
                  <a:pt x="231385" y="23273"/>
                </a:cubicBezTo>
                <a:cubicBezTo>
                  <a:pt x="225309" y="30368"/>
                  <a:pt x="222272" y="40885"/>
                  <a:pt x="222272" y="54948"/>
                </a:cubicBezTo>
                <a:cubicBezTo>
                  <a:pt x="222272" y="69074"/>
                  <a:pt x="225558" y="79653"/>
                  <a:pt x="232132" y="86747"/>
                </a:cubicBezTo>
                <a:cubicBezTo>
                  <a:pt x="238705" y="93716"/>
                  <a:pt x="248317" y="97201"/>
                  <a:pt x="260966" y="97201"/>
                </a:cubicBezTo>
                <a:cubicBezTo>
                  <a:pt x="272917" y="97201"/>
                  <a:pt x="283276" y="93903"/>
                  <a:pt x="292040" y="87369"/>
                </a:cubicBezTo>
                <a:lnTo>
                  <a:pt x="292040" y="100811"/>
                </a:lnTo>
                <a:cubicBezTo>
                  <a:pt x="288554" y="103548"/>
                  <a:pt x="283923" y="105788"/>
                  <a:pt x="278146" y="107531"/>
                </a:cubicBezTo>
                <a:cubicBezTo>
                  <a:pt x="272370" y="109087"/>
                  <a:pt x="266244" y="109896"/>
                  <a:pt x="259770" y="109896"/>
                </a:cubicBezTo>
                <a:close/>
                <a:moveTo>
                  <a:pt x="313539" y="1307"/>
                </a:moveTo>
                <a:lnTo>
                  <a:pt x="378975" y="1307"/>
                </a:lnTo>
                <a:lnTo>
                  <a:pt x="378975" y="14188"/>
                </a:lnTo>
                <a:lnTo>
                  <a:pt x="327582" y="14188"/>
                </a:lnTo>
                <a:lnTo>
                  <a:pt x="327582" y="49720"/>
                </a:lnTo>
                <a:lnTo>
                  <a:pt x="371206" y="49720"/>
                </a:lnTo>
                <a:lnTo>
                  <a:pt x="371206" y="62415"/>
                </a:lnTo>
                <a:lnTo>
                  <a:pt x="327582" y="62415"/>
                </a:lnTo>
                <a:lnTo>
                  <a:pt x="327582" y="108402"/>
                </a:lnTo>
                <a:lnTo>
                  <a:pt x="313539" y="108402"/>
                </a:lnTo>
                <a:lnTo>
                  <a:pt x="313539" y="1307"/>
                </a:lnTo>
                <a:close/>
                <a:moveTo>
                  <a:pt x="398450" y="1307"/>
                </a:moveTo>
                <a:lnTo>
                  <a:pt x="463886" y="1307"/>
                </a:lnTo>
                <a:lnTo>
                  <a:pt x="463886" y="14188"/>
                </a:lnTo>
                <a:lnTo>
                  <a:pt x="412493" y="14188"/>
                </a:lnTo>
                <a:lnTo>
                  <a:pt x="412493" y="49720"/>
                </a:lnTo>
                <a:lnTo>
                  <a:pt x="456117" y="49720"/>
                </a:lnTo>
                <a:lnTo>
                  <a:pt x="456117" y="62415"/>
                </a:lnTo>
                <a:lnTo>
                  <a:pt x="412493" y="62415"/>
                </a:lnTo>
                <a:lnTo>
                  <a:pt x="412493" y="108402"/>
                </a:lnTo>
                <a:lnTo>
                  <a:pt x="398450" y="108402"/>
                </a:lnTo>
                <a:lnTo>
                  <a:pt x="398450" y="1307"/>
                </a:lnTo>
                <a:close/>
                <a:moveTo>
                  <a:pt x="483362" y="1307"/>
                </a:moveTo>
                <a:lnTo>
                  <a:pt x="548799" y="1307"/>
                </a:lnTo>
                <a:lnTo>
                  <a:pt x="548799" y="14188"/>
                </a:lnTo>
                <a:lnTo>
                  <a:pt x="497405" y="14188"/>
                </a:lnTo>
                <a:lnTo>
                  <a:pt x="497405" y="49720"/>
                </a:lnTo>
                <a:lnTo>
                  <a:pt x="541031" y="49720"/>
                </a:lnTo>
                <a:lnTo>
                  <a:pt x="541031" y="62415"/>
                </a:lnTo>
                <a:lnTo>
                  <a:pt x="497405" y="62415"/>
                </a:lnTo>
                <a:lnTo>
                  <a:pt x="497405" y="108402"/>
                </a:lnTo>
                <a:lnTo>
                  <a:pt x="483362" y="108402"/>
                </a:lnTo>
                <a:lnTo>
                  <a:pt x="483362" y="1307"/>
                </a:lnTo>
                <a:close/>
                <a:moveTo>
                  <a:pt x="568271" y="1307"/>
                </a:moveTo>
                <a:lnTo>
                  <a:pt x="633707" y="1307"/>
                </a:lnTo>
                <a:lnTo>
                  <a:pt x="633707" y="14188"/>
                </a:lnTo>
                <a:lnTo>
                  <a:pt x="582314" y="14188"/>
                </a:lnTo>
                <a:lnTo>
                  <a:pt x="582314" y="49720"/>
                </a:lnTo>
                <a:lnTo>
                  <a:pt x="625938" y="49720"/>
                </a:lnTo>
                <a:lnTo>
                  <a:pt x="625938" y="62415"/>
                </a:lnTo>
                <a:lnTo>
                  <a:pt x="582314" y="62415"/>
                </a:lnTo>
                <a:lnTo>
                  <a:pt x="582314" y="108402"/>
                </a:lnTo>
                <a:lnTo>
                  <a:pt x="568271" y="108402"/>
                </a:lnTo>
                <a:lnTo>
                  <a:pt x="568271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24" name="TextBox 1223">
            <a:extLst>
              <a:ext uri="{FF2B5EF4-FFF2-40B4-BE49-F238E27FC236}">
                <a16:creationId xmlns:a16="http://schemas.microsoft.com/office/drawing/2014/main" id="{90ED083D-C907-9E8E-1819-2097DACAC042}"/>
              </a:ext>
            </a:extLst>
          </p:cNvPr>
          <p:cNvSpPr txBox="1"/>
          <p:nvPr userDrawn="1"/>
        </p:nvSpPr>
        <p:spPr>
          <a:xfrm>
            <a:off x="12296582" y="9812368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9EFFFF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29" name="Полилиния 147">
            <a:extLst>
              <a:ext uri="{FF2B5EF4-FFF2-40B4-BE49-F238E27FC236}">
                <a16:creationId xmlns:a16="http://schemas.microsoft.com/office/drawing/2014/main" id="{15A51785-0526-EDF5-6168-F7A4F717E472}"/>
              </a:ext>
            </a:extLst>
          </p:cNvPr>
          <p:cNvSpPr/>
          <p:nvPr userDrawn="1"/>
        </p:nvSpPr>
        <p:spPr>
          <a:xfrm>
            <a:off x="12270615" y="7422308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EAE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30" name="TextBox 1229">
            <a:extLst>
              <a:ext uri="{FF2B5EF4-FFF2-40B4-BE49-F238E27FC236}">
                <a16:creationId xmlns:a16="http://schemas.microsoft.com/office/drawing/2014/main" id="{A3523D40-7C2E-0AF2-8414-C82C7F4A7FF1}"/>
              </a:ext>
            </a:extLst>
          </p:cNvPr>
          <p:cNvSpPr txBox="1"/>
          <p:nvPr userDrawn="1"/>
        </p:nvSpPr>
        <p:spPr>
          <a:xfrm>
            <a:off x="12296582" y="7627976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00EAE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81" name="Полилиния 340">
            <a:extLst>
              <a:ext uri="{FF2B5EF4-FFF2-40B4-BE49-F238E27FC236}">
                <a16:creationId xmlns:a16="http://schemas.microsoft.com/office/drawing/2014/main" id="{2FE125F1-6FB0-3EE4-45CC-EF2DBC4AE044}"/>
              </a:ext>
            </a:extLst>
          </p:cNvPr>
          <p:cNvSpPr/>
          <p:nvPr userDrawn="1"/>
        </p:nvSpPr>
        <p:spPr>
          <a:xfrm>
            <a:off x="12393824" y="10625622"/>
            <a:ext cx="739556" cy="128252"/>
          </a:xfrm>
          <a:custGeom>
            <a:avLst/>
            <a:gdLst>
              <a:gd name="connsiteX0" fmla="*/ 22111 w 633706"/>
              <a:gd name="connsiteY0" fmla="*/ 108402 h 109895"/>
              <a:gd name="connsiteX1" fmla="*/ 10159 w 633706"/>
              <a:gd name="connsiteY1" fmla="*/ 108402 h 109895"/>
              <a:gd name="connsiteX2" fmla="*/ 16434 w 633706"/>
              <a:gd name="connsiteY2" fmla="*/ 77475 h 109895"/>
              <a:gd name="connsiteX3" fmla="*/ 0 w 633706"/>
              <a:gd name="connsiteY3" fmla="*/ 77475 h 109895"/>
              <a:gd name="connsiteX4" fmla="*/ 0 w 633706"/>
              <a:gd name="connsiteY4" fmla="*/ 67020 h 109895"/>
              <a:gd name="connsiteX5" fmla="*/ 18675 w 633706"/>
              <a:gd name="connsiteY5" fmla="*/ 67020 h 109895"/>
              <a:gd name="connsiteX6" fmla="*/ 24202 w 633706"/>
              <a:gd name="connsiteY6" fmla="*/ 39826 h 109895"/>
              <a:gd name="connsiteX7" fmla="*/ 4034 w 633706"/>
              <a:gd name="connsiteY7" fmla="*/ 39826 h 109895"/>
              <a:gd name="connsiteX8" fmla="*/ 4034 w 633706"/>
              <a:gd name="connsiteY8" fmla="*/ 29372 h 109895"/>
              <a:gd name="connsiteX9" fmla="*/ 26294 w 633706"/>
              <a:gd name="connsiteY9" fmla="*/ 29372 h 109895"/>
              <a:gd name="connsiteX10" fmla="*/ 32120 w 633706"/>
              <a:gd name="connsiteY10" fmla="*/ 1307 h 109895"/>
              <a:gd name="connsiteX11" fmla="*/ 44072 w 633706"/>
              <a:gd name="connsiteY11" fmla="*/ 1307 h 109895"/>
              <a:gd name="connsiteX12" fmla="*/ 38246 w 633706"/>
              <a:gd name="connsiteY12" fmla="*/ 29372 h 109895"/>
              <a:gd name="connsiteX13" fmla="*/ 60655 w 633706"/>
              <a:gd name="connsiteY13" fmla="*/ 29372 h 109895"/>
              <a:gd name="connsiteX14" fmla="*/ 66482 w 633706"/>
              <a:gd name="connsiteY14" fmla="*/ 1307 h 109895"/>
              <a:gd name="connsiteX15" fmla="*/ 78434 w 633706"/>
              <a:gd name="connsiteY15" fmla="*/ 1307 h 109895"/>
              <a:gd name="connsiteX16" fmla="*/ 72607 w 633706"/>
              <a:gd name="connsiteY16" fmla="*/ 29372 h 109895"/>
              <a:gd name="connsiteX17" fmla="*/ 89340 w 633706"/>
              <a:gd name="connsiteY17" fmla="*/ 29372 h 109895"/>
              <a:gd name="connsiteX18" fmla="*/ 89340 w 633706"/>
              <a:gd name="connsiteY18" fmla="*/ 39826 h 109895"/>
              <a:gd name="connsiteX19" fmla="*/ 70516 w 633706"/>
              <a:gd name="connsiteY19" fmla="*/ 39826 h 109895"/>
              <a:gd name="connsiteX20" fmla="*/ 64988 w 633706"/>
              <a:gd name="connsiteY20" fmla="*/ 67020 h 109895"/>
              <a:gd name="connsiteX21" fmla="*/ 85306 w 633706"/>
              <a:gd name="connsiteY21" fmla="*/ 67020 h 109895"/>
              <a:gd name="connsiteX22" fmla="*/ 85306 w 633706"/>
              <a:gd name="connsiteY22" fmla="*/ 77475 h 109895"/>
              <a:gd name="connsiteX23" fmla="*/ 62747 w 633706"/>
              <a:gd name="connsiteY23" fmla="*/ 77475 h 109895"/>
              <a:gd name="connsiteX24" fmla="*/ 56472 w 633706"/>
              <a:gd name="connsiteY24" fmla="*/ 108402 h 109895"/>
              <a:gd name="connsiteX25" fmla="*/ 44520 w 633706"/>
              <a:gd name="connsiteY25" fmla="*/ 108402 h 109895"/>
              <a:gd name="connsiteX26" fmla="*/ 50795 w 633706"/>
              <a:gd name="connsiteY26" fmla="*/ 77475 h 109895"/>
              <a:gd name="connsiteX27" fmla="*/ 28386 w 633706"/>
              <a:gd name="connsiteY27" fmla="*/ 77475 h 109895"/>
              <a:gd name="connsiteX28" fmla="*/ 22111 w 633706"/>
              <a:gd name="connsiteY28" fmla="*/ 108402 h 109895"/>
              <a:gd name="connsiteX29" fmla="*/ 30626 w 633706"/>
              <a:gd name="connsiteY29" fmla="*/ 67020 h 109895"/>
              <a:gd name="connsiteX30" fmla="*/ 53036 w 633706"/>
              <a:gd name="connsiteY30" fmla="*/ 67020 h 109895"/>
              <a:gd name="connsiteX31" fmla="*/ 58564 w 633706"/>
              <a:gd name="connsiteY31" fmla="*/ 39826 h 109895"/>
              <a:gd name="connsiteX32" fmla="*/ 36154 w 633706"/>
              <a:gd name="connsiteY32" fmla="*/ 39826 h 109895"/>
              <a:gd name="connsiteX33" fmla="*/ 30626 w 633706"/>
              <a:gd name="connsiteY33" fmla="*/ 67020 h 109895"/>
              <a:gd name="connsiteX34" fmla="*/ 107825 w 633706"/>
              <a:gd name="connsiteY34" fmla="*/ 1307 h 109895"/>
              <a:gd name="connsiteX35" fmla="*/ 143830 w 633706"/>
              <a:gd name="connsiteY35" fmla="*/ 1307 h 109895"/>
              <a:gd name="connsiteX36" fmla="*/ 163849 w 633706"/>
              <a:gd name="connsiteY36" fmla="*/ 3858 h 109895"/>
              <a:gd name="connsiteX37" fmla="*/ 179984 w 633706"/>
              <a:gd name="connsiteY37" fmla="*/ 12197 h 109895"/>
              <a:gd name="connsiteX38" fmla="*/ 190741 w 633706"/>
              <a:gd name="connsiteY38" fmla="*/ 27443 h 109895"/>
              <a:gd name="connsiteX39" fmla="*/ 194625 w 633706"/>
              <a:gd name="connsiteY39" fmla="*/ 51215 h 109895"/>
              <a:gd name="connsiteX40" fmla="*/ 187753 w 633706"/>
              <a:gd name="connsiteY40" fmla="*/ 82889 h 109895"/>
              <a:gd name="connsiteX41" fmla="*/ 169228 w 633706"/>
              <a:gd name="connsiteY41" fmla="*/ 101992 h 109895"/>
              <a:gd name="connsiteX42" fmla="*/ 142187 w 633706"/>
              <a:gd name="connsiteY42" fmla="*/ 108402 h 109895"/>
              <a:gd name="connsiteX43" fmla="*/ 107825 w 633706"/>
              <a:gd name="connsiteY43" fmla="*/ 108402 h 109895"/>
              <a:gd name="connsiteX44" fmla="*/ 107825 w 633706"/>
              <a:gd name="connsiteY44" fmla="*/ 1307 h 109895"/>
              <a:gd name="connsiteX45" fmla="*/ 142187 w 633706"/>
              <a:gd name="connsiteY45" fmla="*/ 95707 h 109895"/>
              <a:gd name="connsiteX46" fmla="*/ 161608 w 633706"/>
              <a:gd name="connsiteY46" fmla="*/ 91227 h 109895"/>
              <a:gd name="connsiteX47" fmla="*/ 174606 w 633706"/>
              <a:gd name="connsiteY47" fmla="*/ 77039 h 109895"/>
              <a:gd name="connsiteX48" fmla="*/ 179387 w 633706"/>
              <a:gd name="connsiteY48" fmla="*/ 52272 h 109895"/>
              <a:gd name="connsiteX49" fmla="*/ 174755 w 633706"/>
              <a:gd name="connsiteY49" fmla="*/ 28936 h 109895"/>
              <a:gd name="connsiteX50" fmla="*/ 162056 w 633706"/>
              <a:gd name="connsiteY50" fmla="*/ 17424 h 109895"/>
              <a:gd name="connsiteX51" fmla="*/ 143830 w 633706"/>
              <a:gd name="connsiteY51" fmla="*/ 14188 h 109895"/>
              <a:gd name="connsiteX52" fmla="*/ 121869 w 633706"/>
              <a:gd name="connsiteY52" fmla="*/ 14188 h 109895"/>
              <a:gd name="connsiteX53" fmla="*/ 121869 w 633706"/>
              <a:gd name="connsiteY53" fmla="*/ 95707 h 109895"/>
              <a:gd name="connsiteX54" fmla="*/ 142187 w 633706"/>
              <a:gd name="connsiteY54" fmla="*/ 95707 h 109895"/>
              <a:gd name="connsiteX55" fmla="*/ 259770 w 633706"/>
              <a:gd name="connsiteY55" fmla="*/ 109896 h 109895"/>
              <a:gd name="connsiteX56" fmla="*/ 231983 w 633706"/>
              <a:gd name="connsiteY56" fmla="*/ 103300 h 109895"/>
              <a:gd name="connsiteX57" fmla="*/ 213607 w 633706"/>
              <a:gd name="connsiteY57" fmla="*/ 84507 h 109895"/>
              <a:gd name="connsiteX58" fmla="*/ 207033 w 633706"/>
              <a:gd name="connsiteY58" fmla="*/ 54948 h 109895"/>
              <a:gd name="connsiteX59" fmla="*/ 220628 w 633706"/>
              <a:gd name="connsiteY59" fmla="*/ 14624 h 109895"/>
              <a:gd name="connsiteX60" fmla="*/ 259472 w 633706"/>
              <a:gd name="connsiteY60" fmla="*/ 0 h 109895"/>
              <a:gd name="connsiteX61" fmla="*/ 277399 w 633706"/>
              <a:gd name="connsiteY61" fmla="*/ 2054 h 109895"/>
              <a:gd name="connsiteX62" fmla="*/ 292040 w 633706"/>
              <a:gd name="connsiteY62" fmla="*/ 7716 h 109895"/>
              <a:gd name="connsiteX63" fmla="*/ 292040 w 633706"/>
              <a:gd name="connsiteY63" fmla="*/ 21158 h 109895"/>
              <a:gd name="connsiteX64" fmla="*/ 276951 w 633706"/>
              <a:gd name="connsiteY64" fmla="*/ 14935 h 109895"/>
              <a:gd name="connsiteX65" fmla="*/ 259322 w 633706"/>
              <a:gd name="connsiteY65" fmla="*/ 12695 h 109895"/>
              <a:gd name="connsiteX66" fmla="*/ 231385 w 633706"/>
              <a:gd name="connsiteY66" fmla="*/ 23273 h 109895"/>
              <a:gd name="connsiteX67" fmla="*/ 222272 w 633706"/>
              <a:gd name="connsiteY67" fmla="*/ 54948 h 109895"/>
              <a:gd name="connsiteX68" fmla="*/ 232132 w 633706"/>
              <a:gd name="connsiteY68" fmla="*/ 86747 h 109895"/>
              <a:gd name="connsiteX69" fmla="*/ 260966 w 633706"/>
              <a:gd name="connsiteY69" fmla="*/ 97201 h 109895"/>
              <a:gd name="connsiteX70" fmla="*/ 292040 w 633706"/>
              <a:gd name="connsiteY70" fmla="*/ 87369 h 109895"/>
              <a:gd name="connsiteX71" fmla="*/ 292040 w 633706"/>
              <a:gd name="connsiteY71" fmla="*/ 100811 h 109895"/>
              <a:gd name="connsiteX72" fmla="*/ 278146 w 633706"/>
              <a:gd name="connsiteY72" fmla="*/ 107531 h 109895"/>
              <a:gd name="connsiteX73" fmla="*/ 259770 w 633706"/>
              <a:gd name="connsiteY73" fmla="*/ 109896 h 109895"/>
              <a:gd name="connsiteX74" fmla="*/ 313539 w 633706"/>
              <a:gd name="connsiteY74" fmla="*/ 1307 h 109895"/>
              <a:gd name="connsiteX75" fmla="*/ 378975 w 633706"/>
              <a:gd name="connsiteY75" fmla="*/ 1307 h 109895"/>
              <a:gd name="connsiteX76" fmla="*/ 378975 w 633706"/>
              <a:gd name="connsiteY76" fmla="*/ 14188 h 109895"/>
              <a:gd name="connsiteX77" fmla="*/ 327582 w 633706"/>
              <a:gd name="connsiteY77" fmla="*/ 14188 h 109895"/>
              <a:gd name="connsiteX78" fmla="*/ 327582 w 633706"/>
              <a:gd name="connsiteY78" fmla="*/ 49720 h 109895"/>
              <a:gd name="connsiteX79" fmla="*/ 371206 w 633706"/>
              <a:gd name="connsiteY79" fmla="*/ 49720 h 109895"/>
              <a:gd name="connsiteX80" fmla="*/ 371206 w 633706"/>
              <a:gd name="connsiteY80" fmla="*/ 62415 h 109895"/>
              <a:gd name="connsiteX81" fmla="*/ 327582 w 633706"/>
              <a:gd name="connsiteY81" fmla="*/ 62415 h 109895"/>
              <a:gd name="connsiteX82" fmla="*/ 327582 w 633706"/>
              <a:gd name="connsiteY82" fmla="*/ 108402 h 109895"/>
              <a:gd name="connsiteX83" fmla="*/ 313539 w 633706"/>
              <a:gd name="connsiteY83" fmla="*/ 108402 h 109895"/>
              <a:gd name="connsiteX84" fmla="*/ 313539 w 633706"/>
              <a:gd name="connsiteY84" fmla="*/ 1307 h 109895"/>
              <a:gd name="connsiteX85" fmla="*/ 398450 w 633706"/>
              <a:gd name="connsiteY85" fmla="*/ 1307 h 109895"/>
              <a:gd name="connsiteX86" fmla="*/ 463886 w 633706"/>
              <a:gd name="connsiteY86" fmla="*/ 1307 h 109895"/>
              <a:gd name="connsiteX87" fmla="*/ 463886 w 633706"/>
              <a:gd name="connsiteY87" fmla="*/ 14188 h 109895"/>
              <a:gd name="connsiteX88" fmla="*/ 412493 w 633706"/>
              <a:gd name="connsiteY88" fmla="*/ 14188 h 109895"/>
              <a:gd name="connsiteX89" fmla="*/ 412493 w 633706"/>
              <a:gd name="connsiteY89" fmla="*/ 49720 h 109895"/>
              <a:gd name="connsiteX90" fmla="*/ 456117 w 633706"/>
              <a:gd name="connsiteY90" fmla="*/ 49720 h 109895"/>
              <a:gd name="connsiteX91" fmla="*/ 456117 w 633706"/>
              <a:gd name="connsiteY91" fmla="*/ 62415 h 109895"/>
              <a:gd name="connsiteX92" fmla="*/ 412493 w 633706"/>
              <a:gd name="connsiteY92" fmla="*/ 62415 h 109895"/>
              <a:gd name="connsiteX93" fmla="*/ 412493 w 633706"/>
              <a:gd name="connsiteY93" fmla="*/ 108402 h 109895"/>
              <a:gd name="connsiteX94" fmla="*/ 398450 w 633706"/>
              <a:gd name="connsiteY94" fmla="*/ 108402 h 109895"/>
              <a:gd name="connsiteX95" fmla="*/ 398450 w 633706"/>
              <a:gd name="connsiteY95" fmla="*/ 1307 h 109895"/>
              <a:gd name="connsiteX96" fmla="*/ 483362 w 633706"/>
              <a:gd name="connsiteY96" fmla="*/ 1307 h 109895"/>
              <a:gd name="connsiteX97" fmla="*/ 548799 w 633706"/>
              <a:gd name="connsiteY97" fmla="*/ 1307 h 109895"/>
              <a:gd name="connsiteX98" fmla="*/ 548799 w 633706"/>
              <a:gd name="connsiteY98" fmla="*/ 14188 h 109895"/>
              <a:gd name="connsiteX99" fmla="*/ 497405 w 633706"/>
              <a:gd name="connsiteY99" fmla="*/ 14188 h 109895"/>
              <a:gd name="connsiteX100" fmla="*/ 497405 w 633706"/>
              <a:gd name="connsiteY100" fmla="*/ 49720 h 109895"/>
              <a:gd name="connsiteX101" fmla="*/ 541031 w 633706"/>
              <a:gd name="connsiteY101" fmla="*/ 49720 h 109895"/>
              <a:gd name="connsiteX102" fmla="*/ 541031 w 633706"/>
              <a:gd name="connsiteY102" fmla="*/ 62415 h 109895"/>
              <a:gd name="connsiteX103" fmla="*/ 497405 w 633706"/>
              <a:gd name="connsiteY103" fmla="*/ 62415 h 109895"/>
              <a:gd name="connsiteX104" fmla="*/ 497405 w 633706"/>
              <a:gd name="connsiteY104" fmla="*/ 108402 h 109895"/>
              <a:gd name="connsiteX105" fmla="*/ 483362 w 633706"/>
              <a:gd name="connsiteY105" fmla="*/ 108402 h 109895"/>
              <a:gd name="connsiteX106" fmla="*/ 483362 w 633706"/>
              <a:gd name="connsiteY106" fmla="*/ 1307 h 109895"/>
              <a:gd name="connsiteX107" fmla="*/ 568271 w 633706"/>
              <a:gd name="connsiteY107" fmla="*/ 1307 h 109895"/>
              <a:gd name="connsiteX108" fmla="*/ 633707 w 633706"/>
              <a:gd name="connsiteY108" fmla="*/ 1307 h 109895"/>
              <a:gd name="connsiteX109" fmla="*/ 633707 w 633706"/>
              <a:gd name="connsiteY109" fmla="*/ 14188 h 109895"/>
              <a:gd name="connsiteX110" fmla="*/ 582314 w 633706"/>
              <a:gd name="connsiteY110" fmla="*/ 14188 h 109895"/>
              <a:gd name="connsiteX111" fmla="*/ 582314 w 633706"/>
              <a:gd name="connsiteY111" fmla="*/ 49720 h 109895"/>
              <a:gd name="connsiteX112" fmla="*/ 625938 w 633706"/>
              <a:gd name="connsiteY112" fmla="*/ 49720 h 109895"/>
              <a:gd name="connsiteX113" fmla="*/ 625938 w 633706"/>
              <a:gd name="connsiteY113" fmla="*/ 62415 h 109895"/>
              <a:gd name="connsiteX114" fmla="*/ 582314 w 633706"/>
              <a:gd name="connsiteY114" fmla="*/ 62415 h 109895"/>
              <a:gd name="connsiteX115" fmla="*/ 582314 w 633706"/>
              <a:gd name="connsiteY115" fmla="*/ 108402 h 109895"/>
              <a:gd name="connsiteX116" fmla="*/ 568271 w 633706"/>
              <a:gd name="connsiteY116" fmla="*/ 108402 h 109895"/>
              <a:gd name="connsiteX117" fmla="*/ 568271 w 633706"/>
              <a:gd name="connsiteY11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33706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5" y="1307"/>
                </a:moveTo>
                <a:lnTo>
                  <a:pt x="143830" y="1307"/>
                </a:lnTo>
                <a:cubicBezTo>
                  <a:pt x="151001" y="1307"/>
                  <a:pt x="157674" y="2179"/>
                  <a:pt x="163849" y="3858"/>
                </a:cubicBezTo>
                <a:cubicBezTo>
                  <a:pt x="170024" y="5538"/>
                  <a:pt x="175403" y="8339"/>
                  <a:pt x="179984" y="12197"/>
                </a:cubicBezTo>
                <a:cubicBezTo>
                  <a:pt x="184566" y="15993"/>
                  <a:pt x="188151" y="21096"/>
                  <a:pt x="190741" y="27443"/>
                </a:cubicBezTo>
                <a:cubicBezTo>
                  <a:pt x="193330" y="33853"/>
                  <a:pt x="194625" y="41756"/>
                  <a:pt x="194625" y="51215"/>
                </a:cubicBezTo>
                <a:cubicBezTo>
                  <a:pt x="194625" y="63722"/>
                  <a:pt x="192334" y="74301"/>
                  <a:pt x="187753" y="82889"/>
                </a:cubicBezTo>
                <a:cubicBezTo>
                  <a:pt x="183271" y="91352"/>
                  <a:pt x="177096" y="97699"/>
                  <a:pt x="169228" y="101992"/>
                </a:cubicBezTo>
                <a:cubicBezTo>
                  <a:pt x="161359" y="106287"/>
                  <a:pt x="152346" y="108402"/>
                  <a:pt x="142187" y="108402"/>
                </a:cubicBezTo>
                <a:lnTo>
                  <a:pt x="107825" y="108402"/>
                </a:lnTo>
                <a:lnTo>
                  <a:pt x="107825" y="1307"/>
                </a:lnTo>
                <a:close/>
                <a:moveTo>
                  <a:pt x="142187" y="95707"/>
                </a:moveTo>
                <a:cubicBezTo>
                  <a:pt x="149557" y="95707"/>
                  <a:pt x="156031" y="94214"/>
                  <a:pt x="161608" y="91227"/>
                </a:cubicBezTo>
                <a:cubicBezTo>
                  <a:pt x="167186" y="88116"/>
                  <a:pt x="171518" y="83386"/>
                  <a:pt x="174606" y="77039"/>
                </a:cubicBezTo>
                <a:cubicBezTo>
                  <a:pt x="177793" y="70568"/>
                  <a:pt x="179387" y="62291"/>
                  <a:pt x="179387" y="52272"/>
                </a:cubicBezTo>
                <a:cubicBezTo>
                  <a:pt x="179387" y="42191"/>
                  <a:pt x="177843" y="34413"/>
                  <a:pt x="174755" y="28936"/>
                </a:cubicBezTo>
                <a:cubicBezTo>
                  <a:pt x="171668" y="23460"/>
                  <a:pt x="167435" y="19664"/>
                  <a:pt x="162056" y="17424"/>
                </a:cubicBezTo>
                <a:cubicBezTo>
                  <a:pt x="156778" y="15246"/>
                  <a:pt x="150702" y="14188"/>
                  <a:pt x="143830" y="14188"/>
                </a:cubicBezTo>
                <a:lnTo>
                  <a:pt x="121869" y="14188"/>
                </a:lnTo>
                <a:lnTo>
                  <a:pt x="121869" y="95707"/>
                </a:lnTo>
                <a:lnTo>
                  <a:pt x="142187" y="95707"/>
                </a:lnTo>
                <a:close/>
                <a:moveTo>
                  <a:pt x="259770" y="109896"/>
                </a:moveTo>
                <a:cubicBezTo>
                  <a:pt x="249213" y="109896"/>
                  <a:pt x="239950" y="107718"/>
                  <a:pt x="231983" y="103300"/>
                </a:cubicBezTo>
                <a:cubicBezTo>
                  <a:pt x="224114" y="98943"/>
                  <a:pt x="217989" y="92658"/>
                  <a:pt x="213607" y="84507"/>
                </a:cubicBezTo>
                <a:cubicBezTo>
                  <a:pt x="209224" y="76230"/>
                  <a:pt x="207033" y="66398"/>
                  <a:pt x="207033" y="54948"/>
                </a:cubicBezTo>
                <a:cubicBezTo>
                  <a:pt x="207033" y="37711"/>
                  <a:pt x="211565" y="24269"/>
                  <a:pt x="220628" y="14624"/>
                </a:cubicBezTo>
                <a:cubicBezTo>
                  <a:pt x="229692" y="4854"/>
                  <a:pt x="242640" y="0"/>
                  <a:pt x="259472" y="0"/>
                </a:cubicBezTo>
                <a:cubicBezTo>
                  <a:pt x="265746" y="0"/>
                  <a:pt x="271722" y="684"/>
                  <a:pt x="277399" y="2054"/>
                </a:cubicBezTo>
                <a:cubicBezTo>
                  <a:pt x="283176" y="3361"/>
                  <a:pt x="288056" y="5228"/>
                  <a:pt x="292040" y="7716"/>
                </a:cubicBezTo>
                <a:lnTo>
                  <a:pt x="292040" y="21158"/>
                </a:lnTo>
                <a:cubicBezTo>
                  <a:pt x="287758" y="18482"/>
                  <a:pt x="282728" y="16428"/>
                  <a:pt x="276951" y="14935"/>
                </a:cubicBezTo>
                <a:cubicBezTo>
                  <a:pt x="271274" y="13442"/>
                  <a:pt x="265398" y="12695"/>
                  <a:pt x="259322" y="12695"/>
                </a:cubicBezTo>
                <a:cubicBezTo>
                  <a:pt x="246773" y="12695"/>
                  <a:pt x="237460" y="16180"/>
                  <a:pt x="231385" y="23273"/>
                </a:cubicBezTo>
                <a:cubicBezTo>
                  <a:pt x="225309" y="30368"/>
                  <a:pt x="222272" y="40885"/>
                  <a:pt x="222272" y="54948"/>
                </a:cubicBezTo>
                <a:cubicBezTo>
                  <a:pt x="222272" y="69074"/>
                  <a:pt x="225558" y="79653"/>
                  <a:pt x="232132" y="86747"/>
                </a:cubicBezTo>
                <a:cubicBezTo>
                  <a:pt x="238705" y="93716"/>
                  <a:pt x="248317" y="97201"/>
                  <a:pt x="260966" y="97201"/>
                </a:cubicBezTo>
                <a:cubicBezTo>
                  <a:pt x="272917" y="97201"/>
                  <a:pt x="283276" y="93903"/>
                  <a:pt x="292040" y="87369"/>
                </a:cubicBezTo>
                <a:lnTo>
                  <a:pt x="292040" y="100811"/>
                </a:lnTo>
                <a:cubicBezTo>
                  <a:pt x="288554" y="103548"/>
                  <a:pt x="283923" y="105788"/>
                  <a:pt x="278146" y="107531"/>
                </a:cubicBezTo>
                <a:cubicBezTo>
                  <a:pt x="272370" y="109087"/>
                  <a:pt x="266244" y="109896"/>
                  <a:pt x="259770" y="109896"/>
                </a:cubicBezTo>
                <a:close/>
                <a:moveTo>
                  <a:pt x="313539" y="1307"/>
                </a:moveTo>
                <a:lnTo>
                  <a:pt x="378975" y="1307"/>
                </a:lnTo>
                <a:lnTo>
                  <a:pt x="378975" y="14188"/>
                </a:lnTo>
                <a:lnTo>
                  <a:pt x="327582" y="14188"/>
                </a:lnTo>
                <a:lnTo>
                  <a:pt x="327582" y="49720"/>
                </a:lnTo>
                <a:lnTo>
                  <a:pt x="371206" y="49720"/>
                </a:lnTo>
                <a:lnTo>
                  <a:pt x="371206" y="62415"/>
                </a:lnTo>
                <a:lnTo>
                  <a:pt x="327582" y="62415"/>
                </a:lnTo>
                <a:lnTo>
                  <a:pt x="327582" y="108402"/>
                </a:lnTo>
                <a:lnTo>
                  <a:pt x="313539" y="108402"/>
                </a:lnTo>
                <a:lnTo>
                  <a:pt x="313539" y="1307"/>
                </a:lnTo>
                <a:close/>
                <a:moveTo>
                  <a:pt x="398450" y="1307"/>
                </a:moveTo>
                <a:lnTo>
                  <a:pt x="463886" y="1307"/>
                </a:lnTo>
                <a:lnTo>
                  <a:pt x="463886" y="14188"/>
                </a:lnTo>
                <a:lnTo>
                  <a:pt x="412493" y="14188"/>
                </a:lnTo>
                <a:lnTo>
                  <a:pt x="412493" y="49720"/>
                </a:lnTo>
                <a:lnTo>
                  <a:pt x="456117" y="49720"/>
                </a:lnTo>
                <a:lnTo>
                  <a:pt x="456117" y="62415"/>
                </a:lnTo>
                <a:lnTo>
                  <a:pt x="412493" y="62415"/>
                </a:lnTo>
                <a:lnTo>
                  <a:pt x="412493" y="108402"/>
                </a:lnTo>
                <a:lnTo>
                  <a:pt x="398450" y="108402"/>
                </a:lnTo>
                <a:lnTo>
                  <a:pt x="398450" y="1307"/>
                </a:lnTo>
                <a:close/>
                <a:moveTo>
                  <a:pt x="483362" y="1307"/>
                </a:moveTo>
                <a:lnTo>
                  <a:pt x="548799" y="1307"/>
                </a:lnTo>
                <a:lnTo>
                  <a:pt x="548799" y="14188"/>
                </a:lnTo>
                <a:lnTo>
                  <a:pt x="497405" y="14188"/>
                </a:lnTo>
                <a:lnTo>
                  <a:pt x="497405" y="49720"/>
                </a:lnTo>
                <a:lnTo>
                  <a:pt x="541031" y="49720"/>
                </a:lnTo>
                <a:lnTo>
                  <a:pt x="541031" y="62415"/>
                </a:lnTo>
                <a:lnTo>
                  <a:pt x="497405" y="62415"/>
                </a:lnTo>
                <a:lnTo>
                  <a:pt x="497405" y="108402"/>
                </a:lnTo>
                <a:lnTo>
                  <a:pt x="483362" y="108402"/>
                </a:lnTo>
                <a:lnTo>
                  <a:pt x="483362" y="1307"/>
                </a:lnTo>
                <a:close/>
                <a:moveTo>
                  <a:pt x="568271" y="1307"/>
                </a:moveTo>
                <a:lnTo>
                  <a:pt x="633707" y="1307"/>
                </a:lnTo>
                <a:lnTo>
                  <a:pt x="633707" y="14188"/>
                </a:lnTo>
                <a:lnTo>
                  <a:pt x="582314" y="14188"/>
                </a:lnTo>
                <a:lnTo>
                  <a:pt x="582314" y="49720"/>
                </a:lnTo>
                <a:lnTo>
                  <a:pt x="625938" y="49720"/>
                </a:lnTo>
                <a:lnTo>
                  <a:pt x="625938" y="62415"/>
                </a:lnTo>
                <a:lnTo>
                  <a:pt x="582314" y="62415"/>
                </a:lnTo>
                <a:lnTo>
                  <a:pt x="582314" y="108402"/>
                </a:lnTo>
                <a:lnTo>
                  <a:pt x="568271" y="108402"/>
                </a:lnTo>
                <a:lnTo>
                  <a:pt x="568271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grpSp>
        <p:nvGrpSpPr>
          <p:cNvPr id="1286" name="Группа 1285">
            <a:extLst>
              <a:ext uri="{FF2B5EF4-FFF2-40B4-BE49-F238E27FC236}">
                <a16:creationId xmlns:a16="http://schemas.microsoft.com/office/drawing/2014/main" id="{2754A8BD-291E-B3E2-99E5-79B19D769804}"/>
              </a:ext>
            </a:extLst>
          </p:cNvPr>
          <p:cNvGrpSpPr/>
          <p:nvPr userDrawn="1"/>
        </p:nvGrpSpPr>
        <p:grpSpPr>
          <a:xfrm>
            <a:off x="1418355" y="2964695"/>
            <a:ext cx="312638" cy="312638"/>
            <a:chOff x="2816046" y="7085282"/>
            <a:chExt cx="346932" cy="346932"/>
          </a:xfrm>
        </p:grpSpPr>
        <p:sp>
          <p:nvSpPr>
            <p:cNvPr id="1287" name="Рисунок 1184">
              <a:extLst>
                <a:ext uri="{FF2B5EF4-FFF2-40B4-BE49-F238E27FC236}">
                  <a16:creationId xmlns:a16="http://schemas.microsoft.com/office/drawing/2014/main" id="{A9D78F8D-5CCE-3704-180B-E40E0A0B16B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88" name="Прямоугольник 1287">
              <a:extLst>
                <a:ext uri="{FF2B5EF4-FFF2-40B4-BE49-F238E27FC236}">
                  <a16:creationId xmlns:a16="http://schemas.microsoft.com/office/drawing/2014/main" id="{814646C8-7B1A-E28E-02F3-D8622B94548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89" name="Рисунок 1184">
              <a:extLst>
                <a:ext uri="{FF2B5EF4-FFF2-40B4-BE49-F238E27FC236}">
                  <a16:creationId xmlns:a16="http://schemas.microsoft.com/office/drawing/2014/main" id="{C1E71A5F-A648-15C2-5D3A-2E25E8090020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90" name="Группа 1289">
            <a:extLst>
              <a:ext uri="{FF2B5EF4-FFF2-40B4-BE49-F238E27FC236}">
                <a16:creationId xmlns:a16="http://schemas.microsoft.com/office/drawing/2014/main" id="{433F0BC9-9650-0524-0522-227F0234B035}"/>
              </a:ext>
            </a:extLst>
          </p:cNvPr>
          <p:cNvGrpSpPr/>
          <p:nvPr userDrawn="1"/>
        </p:nvGrpSpPr>
        <p:grpSpPr>
          <a:xfrm>
            <a:off x="1418355" y="2515993"/>
            <a:ext cx="312638" cy="312638"/>
            <a:chOff x="2816046" y="7085282"/>
            <a:chExt cx="346932" cy="346932"/>
          </a:xfrm>
        </p:grpSpPr>
        <p:sp>
          <p:nvSpPr>
            <p:cNvPr id="1291" name="Рисунок 1184">
              <a:extLst>
                <a:ext uri="{FF2B5EF4-FFF2-40B4-BE49-F238E27FC236}">
                  <a16:creationId xmlns:a16="http://schemas.microsoft.com/office/drawing/2014/main" id="{A0C7908F-9515-341E-2764-5B39B16B117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92" name="Прямоугольник 1291">
              <a:extLst>
                <a:ext uri="{FF2B5EF4-FFF2-40B4-BE49-F238E27FC236}">
                  <a16:creationId xmlns:a16="http://schemas.microsoft.com/office/drawing/2014/main" id="{948E2F9E-1E9B-B719-0319-19BA9284C29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93" name="Рисунок 1184">
              <a:extLst>
                <a:ext uri="{FF2B5EF4-FFF2-40B4-BE49-F238E27FC236}">
                  <a16:creationId xmlns:a16="http://schemas.microsoft.com/office/drawing/2014/main" id="{A0FC4A77-576F-87EA-15A6-6EE9FE5DBC0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10" name="Полилиния 1709">
            <a:extLst>
              <a:ext uri="{FF2B5EF4-FFF2-40B4-BE49-F238E27FC236}">
                <a16:creationId xmlns:a16="http://schemas.microsoft.com/office/drawing/2014/main" id="{14E862DF-06D3-5FC1-D851-48570855003D}"/>
              </a:ext>
            </a:extLst>
          </p:cNvPr>
          <p:cNvSpPr/>
          <p:nvPr/>
        </p:nvSpPr>
        <p:spPr>
          <a:xfrm>
            <a:off x="1444111" y="4497483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1" name="Полилиния 1710">
            <a:extLst>
              <a:ext uri="{FF2B5EF4-FFF2-40B4-BE49-F238E27FC236}">
                <a16:creationId xmlns:a16="http://schemas.microsoft.com/office/drawing/2014/main" id="{EF315DD6-7E90-2347-7E83-3A43858A09F7}"/>
              </a:ext>
            </a:extLst>
          </p:cNvPr>
          <p:cNvSpPr/>
          <p:nvPr/>
        </p:nvSpPr>
        <p:spPr>
          <a:xfrm>
            <a:off x="1578549" y="4798971"/>
            <a:ext cx="691535" cy="129012"/>
          </a:xfrm>
          <a:custGeom>
            <a:avLst/>
            <a:gdLst>
              <a:gd name="connsiteX0" fmla="*/ 22099 w 590058"/>
              <a:gd name="connsiteY0" fmla="*/ 108588 h 110081"/>
              <a:gd name="connsiteX1" fmla="*/ 10147 w 590058"/>
              <a:gd name="connsiteY1" fmla="*/ 108588 h 110081"/>
              <a:gd name="connsiteX2" fmla="*/ 16434 w 590058"/>
              <a:gd name="connsiteY2" fmla="*/ 77661 h 110081"/>
              <a:gd name="connsiteX3" fmla="*/ 0 w 590058"/>
              <a:gd name="connsiteY3" fmla="*/ 77661 h 110081"/>
              <a:gd name="connsiteX4" fmla="*/ 0 w 590058"/>
              <a:gd name="connsiteY4" fmla="*/ 67206 h 110081"/>
              <a:gd name="connsiteX5" fmla="*/ 18675 w 590058"/>
              <a:gd name="connsiteY5" fmla="*/ 67206 h 110081"/>
              <a:gd name="connsiteX6" fmla="*/ 24215 w 590058"/>
              <a:gd name="connsiteY6" fmla="*/ 40012 h 110081"/>
              <a:gd name="connsiteX7" fmla="*/ 4046 w 590058"/>
              <a:gd name="connsiteY7" fmla="*/ 40012 h 110081"/>
              <a:gd name="connsiteX8" fmla="*/ 4046 w 590058"/>
              <a:gd name="connsiteY8" fmla="*/ 29559 h 110081"/>
              <a:gd name="connsiteX9" fmla="*/ 26270 w 590058"/>
              <a:gd name="connsiteY9" fmla="*/ 29559 h 110081"/>
              <a:gd name="connsiteX10" fmla="*/ 32121 w 590058"/>
              <a:gd name="connsiteY10" fmla="*/ 1493 h 110081"/>
              <a:gd name="connsiteX11" fmla="*/ 44073 w 590058"/>
              <a:gd name="connsiteY11" fmla="*/ 1493 h 110081"/>
              <a:gd name="connsiteX12" fmla="*/ 38221 w 590058"/>
              <a:gd name="connsiteY12" fmla="*/ 29559 h 110081"/>
              <a:gd name="connsiteX13" fmla="*/ 60630 w 590058"/>
              <a:gd name="connsiteY13" fmla="*/ 29559 h 110081"/>
              <a:gd name="connsiteX14" fmla="*/ 66482 w 590058"/>
              <a:gd name="connsiteY14" fmla="*/ 1493 h 110081"/>
              <a:gd name="connsiteX15" fmla="*/ 78434 w 590058"/>
              <a:gd name="connsiteY15" fmla="*/ 1493 h 110081"/>
              <a:gd name="connsiteX16" fmla="*/ 72582 w 590058"/>
              <a:gd name="connsiteY16" fmla="*/ 29559 h 110081"/>
              <a:gd name="connsiteX17" fmla="*/ 89328 w 590058"/>
              <a:gd name="connsiteY17" fmla="*/ 29559 h 110081"/>
              <a:gd name="connsiteX18" fmla="*/ 89328 w 590058"/>
              <a:gd name="connsiteY18" fmla="*/ 40012 h 110081"/>
              <a:gd name="connsiteX19" fmla="*/ 70529 w 590058"/>
              <a:gd name="connsiteY19" fmla="*/ 40012 h 110081"/>
              <a:gd name="connsiteX20" fmla="*/ 64988 w 590058"/>
              <a:gd name="connsiteY20" fmla="*/ 67206 h 110081"/>
              <a:gd name="connsiteX21" fmla="*/ 85282 w 590058"/>
              <a:gd name="connsiteY21" fmla="*/ 67206 h 110081"/>
              <a:gd name="connsiteX22" fmla="*/ 85282 w 590058"/>
              <a:gd name="connsiteY22" fmla="*/ 77661 h 110081"/>
              <a:gd name="connsiteX23" fmla="*/ 62747 w 590058"/>
              <a:gd name="connsiteY23" fmla="*/ 77661 h 110081"/>
              <a:gd name="connsiteX24" fmla="*/ 56460 w 590058"/>
              <a:gd name="connsiteY24" fmla="*/ 108588 h 110081"/>
              <a:gd name="connsiteX25" fmla="*/ 44508 w 590058"/>
              <a:gd name="connsiteY25" fmla="*/ 108588 h 110081"/>
              <a:gd name="connsiteX26" fmla="*/ 50795 w 590058"/>
              <a:gd name="connsiteY26" fmla="*/ 77661 h 110081"/>
              <a:gd name="connsiteX27" fmla="*/ 28386 w 590058"/>
              <a:gd name="connsiteY27" fmla="*/ 77661 h 110081"/>
              <a:gd name="connsiteX28" fmla="*/ 22099 w 590058"/>
              <a:gd name="connsiteY28" fmla="*/ 108588 h 110081"/>
              <a:gd name="connsiteX29" fmla="*/ 30627 w 590058"/>
              <a:gd name="connsiteY29" fmla="*/ 67206 h 110081"/>
              <a:gd name="connsiteX30" fmla="*/ 53036 w 590058"/>
              <a:gd name="connsiteY30" fmla="*/ 67206 h 110081"/>
              <a:gd name="connsiteX31" fmla="*/ 58576 w 590058"/>
              <a:gd name="connsiteY31" fmla="*/ 40012 h 110081"/>
              <a:gd name="connsiteX32" fmla="*/ 36167 w 590058"/>
              <a:gd name="connsiteY32" fmla="*/ 40012 h 110081"/>
              <a:gd name="connsiteX33" fmla="*/ 30627 w 590058"/>
              <a:gd name="connsiteY33" fmla="*/ 67206 h 110081"/>
              <a:gd name="connsiteX34" fmla="*/ 150829 w 590058"/>
              <a:gd name="connsiteY34" fmla="*/ 108588 h 110081"/>
              <a:gd name="connsiteX35" fmla="*/ 137259 w 590058"/>
              <a:gd name="connsiteY35" fmla="*/ 108588 h 110081"/>
              <a:gd name="connsiteX36" fmla="*/ 137259 w 590058"/>
              <a:gd name="connsiteY36" fmla="*/ 18357 h 110081"/>
              <a:gd name="connsiteX37" fmla="*/ 107691 w 590058"/>
              <a:gd name="connsiteY37" fmla="*/ 41071 h 110081"/>
              <a:gd name="connsiteX38" fmla="*/ 107691 w 590058"/>
              <a:gd name="connsiteY38" fmla="*/ 26011 h 110081"/>
              <a:gd name="connsiteX39" fmla="*/ 139500 w 590058"/>
              <a:gd name="connsiteY39" fmla="*/ 1493 h 110081"/>
              <a:gd name="connsiteX40" fmla="*/ 150829 w 590058"/>
              <a:gd name="connsiteY40" fmla="*/ 1493 h 110081"/>
              <a:gd name="connsiteX41" fmla="*/ 150829 w 590058"/>
              <a:gd name="connsiteY41" fmla="*/ 108588 h 110081"/>
              <a:gd name="connsiteX42" fmla="*/ 182327 w 590058"/>
              <a:gd name="connsiteY42" fmla="*/ 35844 h 110081"/>
              <a:gd name="connsiteX43" fmla="*/ 186996 w 590058"/>
              <a:gd name="connsiteY43" fmla="*/ 17051 h 110081"/>
              <a:gd name="connsiteX44" fmla="*/ 199820 w 590058"/>
              <a:gd name="connsiteY44" fmla="*/ 4480 h 110081"/>
              <a:gd name="connsiteX45" fmla="*/ 217871 w 590058"/>
              <a:gd name="connsiteY45" fmla="*/ 0 h 110081"/>
              <a:gd name="connsiteX46" fmla="*/ 239534 w 590058"/>
              <a:gd name="connsiteY46" fmla="*/ 5849 h 110081"/>
              <a:gd name="connsiteX47" fmla="*/ 251673 w 590058"/>
              <a:gd name="connsiteY47" fmla="*/ 21842 h 110081"/>
              <a:gd name="connsiteX48" fmla="*/ 255408 w 590058"/>
              <a:gd name="connsiteY48" fmla="*/ 45426 h 110081"/>
              <a:gd name="connsiteX49" fmla="*/ 250739 w 590058"/>
              <a:gd name="connsiteY49" fmla="*/ 80088 h 110081"/>
              <a:gd name="connsiteX50" fmla="*/ 236421 w 590058"/>
              <a:gd name="connsiteY50" fmla="*/ 102303 h 110081"/>
              <a:gd name="connsiteX51" fmla="*/ 211896 w 590058"/>
              <a:gd name="connsiteY51" fmla="*/ 110082 h 110081"/>
              <a:gd name="connsiteX52" fmla="*/ 188926 w 590058"/>
              <a:gd name="connsiteY52" fmla="*/ 104543 h 110081"/>
              <a:gd name="connsiteX53" fmla="*/ 188926 w 590058"/>
              <a:gd name="connsiteY53" fmla="*/ 91413 h 110081"/>
              <a:gd name="connsiteX54" fmla="*/ 211896 w 590058"/>
              <a:gd name="connsiteY54" fmla="*/ 98010 h 110081"/>
              <a:gd name="connsiteX55" fmla="*/ 227458 w 590058"/>
              <a:gd name="connsiteY55" fmla="*/ 92907 h 110081"/>
              <a:gd name="connsiteX56" fmla="*/ 237169 w 590058"/>
              <a:gd name="connsiteY56" fmla="*/ 79154 h 110081"/>
              <a:gd name="connsiteX57" fmla="*/ 241526 w 590058"/>
              <a:gd name="connsiteY57" fmla="*/ 59739 h 110081"/>
              <a:gd name="connsiteX58" fmla="*/ 230446 w 590058"/>
              <a:gd name="connsiteY58" fmla="*/ 68389 h 110081"/>
              <a:gd name="connsiteX59" fmla="*/ 216564 w 590058"/>
              <a:gd name="connsiteY59" fmla="*/ 71127 h 110081"/>
              <a:gd name="connsiteX60" fmla="*/ 199197 w 590058"/>
              <a:gd name="connsiteY60" fmla="*/ 67082 h 110081"/>
              <a:gd name="connsiteX61" fmla="*/ 186809 w 590058"/>
              <a:gd name="connsiteY61" fmla="*/ 55134 h 110081"/>
              <a:gd name="connsiteX62" fmla="*/ 182327 w 590058"/>
              <a:gd name="connsiteY62" fmla="*/ 35844 h 110081"/>
              <a:gd name="connsiteX63" fmla="*/ 218370 w 590058"/>
              <a:gd name="connsiteY63" fmla="*/ 12134 h 110081"/>
              <a:gd name="connsiteX64" fmla="*/ 207601 w 590058"/>
              <a:gd name="connsiteY64" fmla="*/ 14810 h 110081"/>
              <a:gd name="connsiteX65" fmla="*/ 199508 w 590058"/>
              <a:gd name="connsiteY65" fmla="*/ 22589 h 110081"/>
              <a:gd name="connsiteX66" fmla="*/ 196520 w 590058"/>
              <a:gd name="connsiteY66" fmla="*/ 35532 h 110081"/>
              <a:gd name="connsiteX67" fmla="*/ 199508 w 590058"/>
              <a:gd name="connsiteY67" fmla="*/ 48725 h 110081"/>
              <a:gd name="connsiteX68" fmla="*/ 207165 w 590058"/>
              <a:gd name="connsiteY68" fmla="*/ 56752 h 110081"/>
              <a:gd name="connsiteX69" fmla="*/ 216876 w 590058"/>
              <a:gd name="connsiteY69" fmla="*/ 59428 h 110081"/>
              <a:gd name="connsiteX70" fmla="*/ 233309 w 590058"/>
              <a:gd name="connsiteY70" fmla="*/ 53329 h 110081"/>
              <a:gd name="connsiteX71" fmla="*/ 240032 w 590058"/>
              <a:gd name="connsiteY71" fmla="*/ 35283 h 110081"/>
              <a:gd name="connsiteX72" fmla="*/ 234181 w 590058"/>
              <a:gd name="connsiteY72" fmla="*/ 18544 h 110081"/>
              <a:gd name="connsiteX73" fmla="*/ 218370 w 590058"/>
              <a:gd name="connsiteY73" fmla="*/ 12134 h 110081"/>
              <a:gd name="connsiteX74" fmla="*/ 315104 w 590058"/>
              <a:gd name="connsiteY74" fmla="*/ 108588 h 110081"/>
              <a:gd name="connsiteX75" fmla="*/ 301534 w 590058"/>
              <a:gd name="connsiteY75" fmla="*/ 108588 h 110081"/>
              <a:gd name="connsiteX76" fmla="*/ 301534 w 590058"/>
              <a:gd name="connsiteY76" fmla="*/ 18357 h 110081"/>
              <a:gd name="connsiteX77" fmla="*/ 271966 w 590058"/>
              <a:gd name="connsiteY77" fmla="*/ 41071 h 110081"/>
              <a:gd name="connsiteX78" fmla="*/ 271966 w 590058"/>
              <a:gd name="connsiteY78" fmla="*/ 26011 h 110081"/>
              <a:gd name="connsiteX79" fmla="*/ 303775 w 590058"/>
              <a:gd name="connsiteY79" fmla="*/ 1493 h 110081"/>
              <a:gd name="connsiteX80" fmla="*/ 315104 w 590058"/>
              <a:gd name="connsiteY80" fmla="*/ 1493 h 110081"/>
              <a:gd name="connsiteX81" fmla="*/ 315104 w 590058"/>
              <a:gd name="connsiteY81" fmla="*/ 108588 h 110081"/>
              <a:gd name="connsiteX82" fmla="*/ 354259 w 590058"/>
              <a:gd name="connsiteY82" fmla="*/ 1493 h 110081"/>
              <a:gd name="connsiteX83" fmla="*/ 420554 w 590058"/>
              <a:gd name="connsiteY83" fmla="*/ 1493 h 110081"/>
              <a:gd name="connsiteX84" fmla="*/ 420554 w 590058"/>
              <a:gd name="connsiteY84" fmla="*/ 14374 h 110081"/>
              <a:gd name="connsiteX85" fmla="*/ 368265 w 590058"/>
              <a:gd name="connsiteY85" fmla="*/ 14374 h 110081"/>
              <a:gd name="connsiteX86" fmla="*/ 368265 w 590058"/>
              <a:gd name="connsiteY86" fmla="*/ 46734 h 110081"/>
              <a:gd name="connsiteX87" fmla="*/ 412649 w 590058"/>
              <a:gd name="connsiteY87" fmla="*/ 46734 h 110081"/>
              <a:gd name="connsiteX88" fmla="*/ 412649 w 590058"/>
              <a:gd name="connsiteY88" fmla="*/ 59428 h 110081"/>
              <a:gd name="connsiteX89" fmla="*/ 368265 w 590058"/>
              <a:gd name="connsiteY89" fmla="*/ 59428 h 110081"/>
              <a:gd name="connsiteX90" fmla="*/ 368265 w 590058"/>
              <a:gd name="connsiteY90" fmla="*/ 95893 h 110081"/>
              <a:gd name="connsiteX91" fmla="*/ 421301 w 590058"/>
              <a:gd name="connsiteY91" fmla="*/ 95893 h 110081"/>
              <a:gd name="connsiteX92" fmla="*/ 421301 w 590058"/>
              <a:gd name="connsiteY92" fmla="*/ 108588 h 110081"/>
              <a:gd name="connsiteX93" fmla="*/ 354259 w 590058"/>
              <a:gd name="connsiteY93" fmla="*/ 108588 h 110081"/>
              <a:gd name="connsiteX94" fmla="*/ 354259 w 590058"/>
              <a:gd name="connsiteY94" fmla="*/ 1493 h 110081"/>
              <a:gd name="connsiteX95" fmla="*/ 506582 w 590058"/>
              <a:gd name="connsiteY95" fmla="*/ 108588 h 110081"/>
              <a:gd name="connsiteX96" fmla="*/ 438295 w 590058"/>
              <a:gd name="connsiteY96" fmla="*/ 108588 h 110081"/>
              <a:gd name="connsiteX97" fmla="*/ 438295 w 590058"/>
              <a:gd name="connsiteY97" fmla="*/ 94400 h 110081"/>
              <a:gd name="connsiteX98" fmla="*/ 464439 w 590058"/>
              <a:gd name="connsiteY98" fmla="*/ 72433 h 110081"/>
              <a:gd name="connsiteX99" fmla="*/ 480438 w 590058"/>
              <a:gd name="connsiteY99" fmla="*/ 56628 h 110081"/>
              <a:gd name="connsiteX100" fmla="*/ 488530 w 590058"/>
              <a:gd name="connsiteY100" fmla="*/ 43933 h 110081"/>
              <a:gd name="connsiteX101" fmla="*/ 490895 w 590058"/>
              <a:gd name="connsiteY101" fmla="*/ 32109 h 110081"/>
              <a:gd name="connsiteX102" fmla="*/ 485356 w 590058"/>
              <a:gd name="connsiteY102" fmla="*/ 17610 h 110081"/>
              <a:gd name="connsiteX103" fmla="*/ 470104 w 590058"/>
              <a:gd name="connsiteY103" fmla="*/ 12383 h 110081"/>
              <a:gd name="connsiteX104" fmla="*/ 441158 w 590058"/>
              <a:gd name="connsiteY104" fmla="*/ 27194 h 110081"/>
              <a:gd name="connsiteX105" fmla="*/ 441158 w 590058"/>
              <a:gd name="connsiteY105" fmla="*/ 12134 h 110081"/>
              <a:gd name="connsiteX106" fmla="*/ 470603 w 590058"/>
              <a:gd name="connsiteY106" fmla="*/ 0 h 110081"/>
              <a:gd name="connsiteX107" fmla="*/ 496000 w 590058"/>
              <a:gd name="connsiteY107" fmla="*/ 8401 h 110081"/>
              <a:gd name="connsiteX108" fmla="*/ 505400 w 590058"/>
              <a:gd name="connsiteY108" fmla="*/ 30803 h 110081"/>
              <a:gd name="connsiteX109" fmla="*/ 502972 w 590058"/>
              <a:gd name="connsiteY109" fmla="*/ 44804 h 110081"/>
              <a:gd name="connsiteX110" fmla="*/ 494941 w 590058"/>
              <a:gd name="connsiteY110" fmla="*/ 58681 h 110081"/>
              <a:gd name="connsiteX111" fmla="*/ 479255 w 590058"/>
              <a:gd name="connsiteY111" fmla="*/ 74860 h 110081"/>
              <a:gd name="connsiteX112" fmla="*/ 453857 w 590058"/>
              <a:gd name="connsiteY112" fmla="*/ 95769 h 110081"/>
              <a:gd name="connsiteX113" fmla="*/ 506582 w 590058"/>
              <a:gd name="connsiteY113" fmla="*/ 95769 h 110081"/>
              <a:gd name="connsiteX114" fmla="*/ 506582 w 590058"/>
              <a:gd name="connsiteY114" fmla="*/ 108588 h 110081"/>
              <a:gd name="connsiteX115" fmla="*/ 554639 w 590058"/>
              <a:gd name="connsiteY115" fmla="*/ 110082 h 110081"/>
              <a:gd name="connsiteX116" fmla="*/ 535964 w 590058"/>
              <a:gd name="connsiteY116" fmla="*/ 106473 h 110081"/>
              <a:gd name="connsiteX117" fmla="*/ 523265 w 590058"/>
              <a:gd name="connsiteY117" fmla="*/ 96205 h 110081"/>
              <a:gd name="connsiteX118" fmla="*/ 518659 w 590058"/>
              <a:gd name="connsiteY118" fmla="*/ 79777 h 110081"/>
              <a:gd name="connsiteX119" fmla="*/ 524012 w 590058"/>
              <a:gd name="connsiteY119" fmla="*/ 62291 h 110081"/>
              <a:gd name="connsiteX120" fmla="*/ 538827 w 590058"/>
              <a:gd name="connsiteY120" fmla="*/ 51711 h 110081"/>
              <a:gd name="connsiteX121" fmla="*/ 526875 w 590058"/>
              <a:gd name="connsiteY121" fmla="*/ 42564 h 110081"/>
              <a:gd name="connsiteX122" fmla="*/ 522518 w 590058"/>
              <a:gd name="connsiteY122" fmla="*/ 27504 h 110081"/>
              <a:gd name="connsiteX123" fmla="*/ 526688 w 590058"/>
              <a:gd name="connsiteY123" fmla="*/ 12570 h 110081"/>
              <a:gd name="connsiteX124" fmla="*/ 538205 w 590058"/>
              <a:gd name="connsiteY124" fmla="*/ 3298 h 110081"/>
              <a:gd name="connsiteX125" fmla="*/ 554639 w 590058"/>
              <a:gd name="connsiteY125" fmla="*/ 186 h 110081"/>
              <a:gd name="connsiteX126" fmla="*/ 570761 w 590058"/>
              <a:gd name="connsiteY126" fmla="*/ 3298 h 110081"/>
              <a:gd name="connsiteX127" fmla="*/ 582152 w 590058"/>
              <a:gd name="connsiteY127" fmla="*/ 12259 h 110081"/>
              <a:gd name="connsiteX128" fmla="*/ 586448 w 590058"/>
              <a:gd name="connsiteY128" fmla="*/ 27194 h 110081"/>
              <a:gd name="connsiteX129" fmla="*/ 581965 w 590058"/>
              <a:gd name="connsiteY129" fmla="*/ 42439 h 110081"/>
              <a:gd name="connsiteX130" fmla="*/ 570201 w 590058"/>
              <a:gd name="connsiteY130" fmla="*/ 51711 h 110081"/>
              <a:gd name="connsiteX131" fmla="*/ 584518 w 590058"/>
              <a:gd name="connsiteY131" fmla="*/ 61855 h 110081"/>
              <a:gd name="connsiteX132" fmla="*/ 590058 w 590058"/>
              <a:gd name="connsiteY132" fmla="*/ 79341 h 110081"/>
              <a:gd name="connsiteX133" fmla="*/ 585452 w 590058"/>
              <a:gd name="connsiteY133" fmla="*/ 95893 h 110081"/>
              <a:gd name="connsiteX134" fmla="*/ 572753 w 590058"/>
              <a:gd name="connsiteY134" fmla="*/ 106473 h 110081"/>
              <a:gd name="connsiteX135" fmla="*/ 554639 w 590058"/>
              <a:gd name="connsiteY135" fmla="*/ 110082 h 110081"/>
              <a:gd name="connsiteX136" fmla="*/ 554639 w 590058"/>
              <a:gd name="connsiteY136" fmla="*/ 46298 h 110081"/>
              <a:gd name="connsiteX137" fmla="*/ 567649 w 590058"/>
              <a:gd name="connsiteY137" fmla="*/ 41817 h 110081"/>
              <a:gd name="connsiteX138" fmla="*/ 572877 w 590058"/>
              <a:gd name="connsiteY138" fmla="*/ 29122 h 110081"/>
              <a:gd name="connsiteX139" fmla="*/ 567649 w 590058"/>
              <a:gd name="connsiteY139" fmla="*/ 16615 h 110081"/>
              <a:gd name="connsiteX140" fmla="*/ 554639 w 590058"/>
              <a:gd name="connsiteY140" fmla="*/ 11947 h 110081"/>
              <a:gd name="connsiteX141" fmla="*/ 541380 w 590058"/>
              <a:gd name="connsiteY141" fmla="*/ 16615 h 110081"/>
              <a:gd name="connsiteX142" fmla="*/ 536150 w 590058"/>
              <a:gd name="connsiteY142" fmla="*/ 29122 h 110081"/>
              <a:gd name="connsiteX143" fmla="*/ 541380 w 590058"/>
              <a:gd name="connsiteY143" fmla="*/ 41817 h 110081"/>
              <a:gd name="connsiteX144" fmla="*/ 554639 w 590058"/>
              <a:gd name="connsiteY144" fmla="*/ 46298 h 110081"/>
              <a:gd name="connsiteX145" fmla="*/ 554639 w 590058"/>
              <a:gd name="connsiteY145" fmla="*/ 98258 h 110081"/>
              <a:gd name="connsiteX146" fmla="*/ 570014 w 590058"/>
              <a:gd name="connsiteY146" fmla="*/ 92907 h 110081"/>
              <a:gd name="connsiteX147" fmla="*/ 576301 w 590058"/>
              <a:gd name="connsiteY147" fmla="*/ 77536 h 110081"/>
              <a:gd name="connsiteX148" fmla="*/ 570014 w 590058"/>
              <a:gd name="connsiteY148" fmla="*/ 62291 h 110081"/>
              <a:gd name="connsiteX149" fmla="*/ 554639 w 590058"/>
              <a:gd name="connsiteY149" fmla="*/ 56752 h 110081"/>
              <a:gd name="connsiteX150" fmla="*/ 538640 w 590058"/>
              <a:gd name="connsiteY150" fmla="*/ 62291 h 110081"/>
              <a:gd name="connsiteX151" fmla="*/ 532415 w 590058"/>
              <a:gd name="connsiteY151" fmla="*/ 77536 h 110081"/>
              <a:gd name="connsiteX152" fmla="*/ 538640 w 590058"/>
              <a:gd name="connsiteY152" fmla="*/ 92907 h 110081"/>
              <a:gd name="connsiteX153" fmla="*/ 554639 w 590058"/>
              <a:gd name="connsiteY153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59005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0829" y="108588"/>
                </a:moveTo>
                <a:lnTo>
                  <a:pt x="137259" y="108588"/>
                </a:lnTo>
                <a:lnTo>
                  <a:pt x="137259" y="18357"/>
                </a:lnTo>
                <a:lnTo>
                  <a:pt x="107691" y="41071"/>
                </a:lnTo>
                <a:lnTo>
                  <a:pt x="107691" y="26011"/>
                </a:lnTo>
                <a:lnTo>
                  <a:pt x="139500" y="1493"/>
                </a:lnTo>
                <a:lnTo>
                  <a:pt x="150829" y="1493"/>
                </a:lnTo>
                <a:lnTo>
                  <a:pt x="150829" y="108588"/>
                </a:lnTo>
                <a:close/>
                <a:moveTo>
                  <a:pt x="182327" y="35844"/>
                </a:moveTo>
                <a:cubicBezTo>
                  <a:pt x="182327" y="28687"/>
                  <a:pt x="183884" y="22402"/>
                  <a:pt x="186996" y="17051"/>
                </a:cubicBezTo>
                <a:cubicBezTo>
                  <a:pt x="190171" y="11637"/>
                  <a:pt x="194466" y="7467"/>
                  <a:pt x="199820" y="4480"/>
                </a:cubicBezTo>
                <a:cubicBezTo>
                  <a:pt x="205173" y="1493"/>
                  <a:pt x="211211" y="0"/>
                  <a:pt x="217871" y="0"/>
                </a:cubicBezTo>
                <a:cubicBezTo>
                  <a:pt x="226836" y="0"/>
                  <a:pt x="234057" y="1929"/>
                  <a:pt x="239534" y="5849"/>
                </a:cubicBezTo>
                <a:cubicBezTo>
                  <a:pt x="245136" y="9645"/>
                  <a:pt x="249183" y="14934"/>
                  <a:pt x="251673" y="21842"/>
                </a:cubicBezTo>
                <a:cubicBezTo>
                  <a:pt x="254163" y="28563"/>
                  <a:pt x="255408" y="36466"/>
                  <a:pt x="255408" y="45426"/>
                </a:cubicBezTo>
                <a:cubicBezTo>
                  <a:pt x="255408" y="58868"/>
                  <a:pt x="253851" y="70380"/>
                  <a:pt x="250739" y="80088"/>
                </a:cubicBezTo>
                <a:cubicBezTo>
                  <a:pt x="247689" y="89733"/>
                  <a:pt x="242896" y="97138"/>
                  <a:pt x="236421" y="102303"/>
                </a:cubicBezTo>
                <a:cubicBezTo>
                  <a:pt x="230073" y="107468"/>
                  <a:pt x="221855" y="110082"/>
                  <a:pt x="211896" y="110082"/>
                </a:cubicBezTo>
                <a:cubicBezTo>
                  <a:pt x="202932" y="110082"/>
                  <a:pt x="195275" y="108215"/>
                  <a:pt x="188926" y="104543"/>
                </a:cubicBezTo>
                <a:lnTo>
                  <a:pt x="188926" y="91413"/>
                </a:lnTo>
                <a:cubicBezTo>
                  <a:pt x="195711" y="95769"/>
                  <a:pt x="203368" y="98010"/>
                  <a:pt x="211896" y="98010"/>
                </a:cubicBezTo>
                <a:cubicBezTo>
                  <a:pt x="218121" y="98010"/>
                  <a:pt x="223287" y="96267"/>
                  <a:pt x="227458" y="92907"/>
                </a:cubicBezTo>
                <a:cubicBezTo>
                  <a:pt x="231629" y="89546"/>
                  <a:pt x="234865" y="84941"/>
                  <a:pt x="237169" y="79154"/>
                </a:cubicBezTo>
                <a:cubicBezTo>
                  <a:pt x="239534" y="73367"/>
                  <a:pt x="241029" y="66896"/>
                  <a:pt x="241526" y="59739"/>
                </a:cubicBezTo>
                <a:cubicBezTo>
                  <a:pt x="238414" y="63660"/>
                  <a:pt x="234741" y="66522"/>
                  <a:pt x="230446" y="68389"/>
                </a:cubicBezTo>
                <a:cubicBezTo>
                  <a:pt x="226151" y="70193"/>
                  <a:pt x="221545" y="71127"/>
                  <a:pt x="216564" y="71127"/>
                </a:cubicBezTo>
                <a:cubicBezTo>
                  <a:pt x="210153" y="71127"/>
                  <a:pt x="204426" y="69758"/>
                  <a:pt x="199197" y="67082"/>
                </a:cubicBezTo>
                <a:cubicBezTo>
                  <a:pt x="194030" y="64406"/>
                  <a:pt x="189922" y="60424"/>
                  <a:pt x="186809" y="55134"/>
                </a:cubicBezTo>
                <a:cubicBezTo>
                  <a:pt x="183821" y="49845"/>
                  <a:pt x="182327" y="43435"/>
                  <a:pt x="182327" y="35844"/>
                </a:cubicBezTo>
                <a:close/>
                <a:moveTo>
                  <a:pt x="218370" y="12134"/>
                </a:moveTo>
                <a:cubicBezTo>
                  <a:pt x="214573" y="12134"/>
                  <a:pt x="210962" y="13006"/>
                  <a:pt x="207601" y="14810"/>
                </a:cubicBezTo>
                <a:cubicBezTo>
                  <a:pt x="204301" y="16490"/>
                  <a:pt x="201624" y="19104"/>
                  <a:pt x="199508" y="22589"/>
                </a:cubicBezTo>
                <a:cubicBezTo>
                  <a:pt x="197516" y="25949"/>
                  <a:pt x="196520" y="30305"/>
                  <a:pt x="196520" y="35532"/>
                </a:cubicBezTo>
                <a:cubicBezTo>
                  <a:pt x="196520" y="40759"/>
                  <a:pt x="197516" y="45116"/>
                  <a:pt x="199508" y="48725"/>
                </a:cubicBezTo>
                <a:cubicBezTo>
                  <a:pt x="201500" y="52271"/>
                  <a:pt x="204052" y="54947"/>
                  <a:pt x="207165" y="56752"/>
                </a:cubicBezTo>
                <a:cubicBezTo>
                  <a:pt x="210215" y="58556"/>
                  <a:pt x="213452" y="59428"/>
                  <a:pt x="216876" y="59428"/>
                </a:cubicBezTo>
                <a:cubicBezTo>
                  <a:pt x="223412" y="59428"/>
                  <a:pt x="228890" y="57437"/>
                  <a:pt x="233309" y="53329"/>
                </a:cubicBezTo>
                <a:cubicBezTo>
                  <a:pt x="237791" y="49160"/>
                  <a:pt x="240032" y="43124"/>
                  <a:pt x="240032" y="35283"/>
                </a:cubicBezTo>
                <a:cubicBezTo>
                  <a:pt x="240032" y="28313"/>
                  <a:pt x="238040" y="22713"/>
                  <a:pt x="234181" y="18544"/>
                </a:cubicBezTo>
                <a:cubicBezTo>
                  <a:pt x="230321" y="14250"/>
                  <a:pt x="225030" y="12134"/>
                  <a:pt x="218370" y="12134"/>
                </a:cubicBezTo>
                <a:close/>
                <a:moveTo>
                  <a:pt x="315104" y="108588"/>
                </a:moveTo>
                <a:lnTo>
                  <a:pt x="301534" y="108588"/>
                </a:lnTo>
                <a:lnTo>
                  <a:pt x="301534" y="18357"/>
                </a:lnTo>
                <a:lnTo>
                  <a:pt x="271966" y="41071"/>
                </a:lnTo>
                <a:lnTo>
                  <a:pt x="271966" y="26011"/>
                </a:lnTo>
                <a:lnTo>
                  <a:pt x="303775" y="1493"/>
                </a:lnTo>
                <a:lnTo>
                  <a:pt x="315104" y="1493"/>
                </a:lnTo>
                <a:lnTo>
                  <a:pt x="315104" y="108588"/>
                </a:lnTo>
                <a:close/>
                <a:moveTo>
                  <a:pt x="354259" y="1493"/>
                </a:moveTo>
                <a:lnTo>
                  <a:pt x="420554" y="1493"/>
                </a:lnTo>
                <a:lnTo>
                  <a:pt x="420554" y="14374"/>
                </a:lnTo>
                <a:lnTo>
                  <a:pt x="368265" y="14374"/>
                </a:lnTo>
                <a:lnTo>
                  <a:pt x="368265" y="46734"/>
                </a:lnTo>
                <a:lnTo>
                  <a:pt x="412649" y="46734"/>
                </a:lnTo>
                <a:lnTo>
                  <a:pt x="412649" y="59428"/>
                </a:lnTo>
                <a:lnTo>
                  <a:pt x="368265" y="59428"/>
                </a:lnTo>
                <a:lnTo>
                  <a:pt x="368265" y="95893"/>
                </a:lnTo>
                <a:lnTo>
                  <a:pt x="421301" y="95893"/>
                </a:lnTo>
                <a:lnTo>
                  <a:pt x="421301" y="108588"/>
                </a:lnTo>
                <a:lnTo>
                  <a:pt x="354259" y="108588"/>
                </a:lnTo>
                <a:lnTo>
                  <a:pt x="354259" y="1493"/>
                </a:lnTo>
                <a:close/>
                <a:moveTo>
                  <a:pt x="506582" y="108588"/>
                </a:moveTo>
                <a:lnTo>
                  <a:pt x="438295" y="108588"/>
                </a:lnTo>
                <a:lnTo>
                  <a:pt x="438295" y="94400"/>
                </a:lnTo>
                <a:cubicBezTo>
                  <a:pt x="448939" y="85812"/>
                  <a:pt x="457654" y="78532"/>
                  <a:pt x="464439" y="72433"/>
                </a:cubicBezTo>
                <a:cubicBezTo>
                  <a:pt x="471350" y="66397"/>
                  <a:pt x="476641" y="61108"/>
                  <a:pt x="480438" y="56628"/>
                </a:cubicBezTo>
                <a:cubicBezTo>
                  <a:pt x="484297" y="52023"/>
                  <a:pt x="487036" y="47791"/>
                  <a:pt x="488530" y="43933"/>
                </a:cubicBezTo>
                <a:cubicBezTo>
                  <a:pt x="490086" y="40012"/>
                  <a:pt x="490895" y="36092"/>
                  <a:pt x="490895" y="32109"/>
                </a:cubicBezTo>
                <a:cubicBezTo>
                  <a:pt x="490895" y="25949"/>
                  <a:pt x="489028" y="21095"/>
                  <a:pt x="485356" y="17610"/>
                </a:cubicBezTo>
                <a:cubicBezTo>
                  <a:pt x="481682" y="14125"/>
                  <a:pt x="476578" y="12383"/>
                  <a:pt x="470104" y="12383"/>
                </a:cubicBezTo>
                <a:cubicBezTo>
                  <a:pt x="459771" y="12383"/>
                  <a:pt x="450123" y="17361"/>
                  <a:pt x="441158" y="27194"/>
                </a:cubicBezTo>
                <a:lnTo>
                  <a:pt x="441158" y="12134"/>
                </a:lnTo>
                <a:cubicBezTo>
                  <a:pt x="449438" y="4044"/>
                  <a:pt x="459211" y="0"/>
                  <a:pt x="470603" y="0"/>
                </a:cubicBezTo>
                <a:cubicBezTo>
                  <a:pt x="481309" y="0"/>
                  <a:pt x="489775" y="2800"/>
                  <a:pt x="496000" y="8401"/>
                </a:cubicBezTo>
                <a:cubicBezTo>
                  <a:pt x="502225" y="13877"/>
                  <a:pt x="505400" y="21344"/>
                  <a:pt x="505400" y="30803"/>
                </a:cubicBezTo>
                <a:cubicBezTo>
                  <a:pt x="505400" y="35657"/>
                  <a:pt x="504590" y="40324"/>
                  <a:pt x="502972" y="44804"/>
                </a:cubicBezTo>
                <a:cubicBezTo>
                  <a:pt x="501478" y="49222"/>
                  <a:pt x="498801" y="53827"/>
                  <a:pt x="494941" y="58681"/>
                </a:cubicBezTo>
                <a:cubicBezTo>
                  <a:pt x="491144" y="63473"/>
                  <a:pt x="485916" y="68887"/>
                  <a:pt x="479255" y="74860"/>
                </a:cubicBezTo>
                <a:cubicBezTo>
                  <a:pt x="472594" y="80835"/>
                  <a:pt x="464129" y="87804"/>
                  <a:pt x="453857" y="95769"/>
                </a:cubicBezTo>
                <a:lnTo>
                  <a:pt x="506582" y="95769"/>
                </a:lnTo>
                <a:lnTo>
                  <a:pt x="506582" y="108588"/>
                </a:lnTo>
                <a:close/>
                <a:moveTo>
                  <a:pt x="554639" y="110082"/>
                </a:moveTo>
                <a:cubicBezTo>
                  <a:pt x="547666" y="110082"/>
                  <a:pt x="541441" y="108900"/>
                  <a:pt x="535964" y="106473"/>
                </a:cubicBezTo>
                <a:cubicBezTo>
                  <a:pt x="530610" y="104108"/>
                  <a:pt x="526377" y="100685"/>
                  <a:pt x="523265" y="96205"/>
                </a:cubicBezTo>
                <a:cubicBezTo>
                  <a:pt x="520215" y="91600"/>
                  <a:pt x="518659" y="86124"/>
                  <a:pt x="518659" y="79777"/>
                </a:cubicBezTo>
                <a:cubicBezTo>
                  <a:pt x="518659" y="72869"/>
                  <a:pt x="520463" y="67082"/>
                  <a:pt x="524012" y="62291"/>
                </a:cubicBezTo>
                <a:cubicBezTo>
                  <a:pt x="527684" y="57437"/>
                  <a:pt x="532665" y="53889"/>
                  <a:pt x="538827" y="51711"/>
                </a:cubicBezTo>
                <a:cubicBezTo>
                  <a:pt x="533847" y="49720"/>
                  <a:pt x="529863" y="46671"/>
                  <a:pt x="526875" y="42564"/>
                </a:cubicBezTo>
                <a:cubicBezTo>
                  <a:pt x="523950" y="38519"/>
                  <a:pt x="522518" y="33479"/>
                  <a:pt x="522518" y="27504"/>
                </a:cubicBezTo>
                <a:cubicBezTo>
                  <a:pt x="522518" y="21593"/>
                  <a:pt x="523950" y="16615"/>
                  <a:pt x="526688" y="12570"/>
                </a:cubicBezTo>
                <a:cubicBezTo>
                  <a:pt x="529490" y="8463"/>
                  <a:pt x="533349" y="5414"/>
                  <a:pt x="538205" y="3298"/>
                </a:cubicBezTo>
                <a:cubicBezTo>
                  <a:pt x="543122" y="1182"/>
                  <a:pt x="548600" y="186"/>
                  <a:pt x="554639" y="186"/>
                </a:cubicBezTo>
                <a:cubicBezTo>
                  <a:pt x="560614" y="186"/>
                  <a:pt x="566030" y="1182"/>
                  <a:pt x="570761" y="3298"/>
                </a:cubicBezTo>
                <a:cubicBezTo>
                  <a:pt x="575554" y="5289"/>
                  <a:pt x="579351" y="8276"/>
                  <a:pt x="582152" y="12259"/>
                </a:cubicBezTo>
                <a:cubicBezTo>
                  <a:pt x="585016" y="16242"/>
                  <a:pt x="586448" y="21219"/>
                  <a:pt x="586448" y="27194"/>
                </a:cubicBezTo>
                <a:cubicBezTo>
                  <a:pt x="586448" y="33292"/>
                  <a:pt x="584954" y="38332"/>
                  <a:pt x="581965" y="42439"/>
                </a:cubicBezTo>
                <a:cubicBezTo>
                  <a:pt x="578978" y="46484"/>
                  <a:pt x="575056" y="49596"/>
                  <a:pt x="570201" y="51711"/>
                </a:cubicBezTo>
                <a:cubicBezTo>
                  <a:pt x="576177" y="53765"/>
                  <a:pt x="580970" y="57188"/>
                  <a:pt x="584518" y="61855"/>
                </a:cubicBezTo>
                <a:cubicBezTo>
                  <a:pt x="588190" y="66522"/>
                  <a:pt x="590058" y="72372"/>
                  <a:pt x="590058" y="79341"/>
                </a:cubicBezTo>
                <a:cubicBezTo>
                  <a:pt x="590058" y="85688"/>
                  <a:pt x="588502" y="91226"/>
                  <a:pt x="585452" y="95893"/>
                </a:cubicBezTo>
                <a:cubicBezTo>
                  <a:pt x="582339" y="100498"/>
                  <a:pt x="578106" y="103983"/>
                  <a:pt x="572753" y="106473"/>
                </a:cubicBezTo>
                <a:cubicBezTo>
                  <a:pt x="567462" y="108900"/>
                  <a:pt x="561424" y="110082"/>
                  <a:pt x="554639" y="110082"/>
                </a:cubicBezTo>
                <a:close/>
                <a:moveTo>
                  <a:pt x="554639" y="46298"/>
                </a:moveTo>
                <a:cubicBezTo>
                  <a:pt x="559930" y="46298"/>
                  <a:pt x="564287" y="44804"/>
                  <a:pt x="567649" y="41817"/>
                </a:cubicBezTo>
                <a:cubicBezTo>
                  <a:pt x="571134" y="38768"/>
                  <a:pt x="572877" y="34536"/>
                  <a:pt x="572877" y="29122"/>
                </a:cubicBezTo>
                <a:cubicBezTo>
                  <a:pt x="572877" y="23771"/>
                  <a:pt x="571134" y="19601"/>
                  <a:pt x="567649" y="16615"/>
                </a:cubicBezTo>
                <a:cubicBezTo>
                  <a:pt x="564287" y="13503"/>
                  <a:pt x="559930" y="11947"/>
                  <a:pt x="554639" y="11947"/>
                </a:cubicBezTo>
                <a:cubicBezTo>
                  <a:pt x="549347" y="11947"/>
                  <a:pt x="544928" y="13503"/>
                  <a:pt x="541380" y="16615"/>
                </a:cubicBezTo>
                <a:cubicBezTo>
                  <a:pt x="537893" y="19601"/>
                  <a:pt x="536150" y="23771"/>
                  <a:pt x="536150" y="29122"/>
                </a:cubicBezTo>
                <a:cubicBezTo>
                  <a:pt x="536150" y="34536"/>
                  <a:pt x="537893" y="38768"/>
                  <a:pt x="541380" y="41817"/>
                </a:cubicBezTo>
                <a:cubicBezTo>
                  <a:pt x="544928" y="44804"/>
                  <a:pt x="549347" y="46298"/>
                  <a:pt x="554639" y="46298"/>
                </a:cubicBezTo>
                <a:close/>
                <a:moveTo>
                  <a:pt x="554639" y="98258"/>
                </a:moveTo>
                <a:cubicBezTo>
                  <a:pt x="560801" y="98258"/>
                  <a:pt x="565968" y="96516"/>
                  <a:pt x="570014" y="92907"/>
                </a:cubicBezTo>
                <a:cubicBezTo>
                  <a:pt x="574247" y="89235"/>
                  <a:pt x="576301" y="84071"/>
                  <a:pt x="576301" y="77536"/>
                </a:cubicBezTo>
                <a:cubicBezTo>
                  <a:pt x="576301" y="70940"/>
                  <a:pt x="574247" y="65900"/>
                  <a:pt x="570014" y="62291"/>
                </a:cubicBezTo>
                <a:cubicBezTo>
                  <a:pt x="565968" y="58619"/>
                  <a:pt x="560801" y="56752"/>
                  <a:pt x="554639" y="56752"/>
                </a:cubicBezTo>
                <a:cubicBezTo>
                  <a:pt x="548289" y="56752"/>
                  <a:pt x="542936" y="58619"/>
                  <a:pt x="538640" y="62291"/>
                </a:cubicBezTo>
                <a:cubicBezTo>
                  <a:pt x="534469" y="65900"/>
                  <a:pt x="532415" y="70940"/>
                  <a:pt x="532415" y="77536"/>
                </a:cubicBezTo>
                <a:cubicBezTo>
                  <a:pt x="532415" y="84071"/>
                  <a:pt x="534469" y="89235"/>
                  <a:pt x="538640" y="92907"/>
                </a:cubicBezTo>
                <a:cubicBezTo>
                  <a:pt x="542936" y="96516"/>
                  <a:pt x="548289" y="98258"/>
                  <a:pt x="554639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2" name="Полилиния 1711">
            <a:extLst>
              <a:ext uri="{FF2B5EF4-FFF2-40B4-BE49-F238E27FC236}">
                <a16:creationId xmlns:a16="http://schemas.microsoft.com/office/drawing/2014/main" id="{4FF0ECEA-663B-5252-FB18-238957760DCD}"/>
              </a:ext>
            </a:extLst>
          </p:cNvPr>
          <p:cNvSpPr/>
          <p:nvPr/>
        </p:nvSpPr>
        <p:spPr>
          <a:xfrm>
            <a:off x="1444111" y="6676162"/>
            <a:ext cx="2556000" cy="726227"/>
          </a:xfrm>
          <a:custGeom>
            <a:avLst/>
            <a:gdLst>
              <a:gd name="connsiteX0" fmla="*/ 1488 w 2191162"/>
              <a:gd name="connsiteY0" fmla="*/ 1122 h 622284"/>
              <a:gd name="connsiteX1" fmla="*/ 2192651 w 2191162"/>
              <a:gd name="connsiteY1" fmla="*/ 1122 h 622284"/>
              <a:gd name="connsiteX2" fmla="*/ 2192651 w 2191162"/>
              <a:gd name="connsiteY2" fmla="*/ 623406 h 622284"/>
              <a:gd name="connsiteX3" fmla="*/ 1488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122"/>
                </a:moveTo>
                <a:lnTo>
                  <a:pt x="2192651" y="1122"/>
                </a:lnTo>
                <a:lnTo>
                  <a:pt x="2192651" y="623406"/>
                </a:lnTo>
                <a:lnTo>
                  <a:pt x="1488" y="623406"/>
                </a:lnTo>
                <a:close/>
              </a:path>
            </a:pathLst>
          </a:custGeom>
          <a:solidFill>
            <a:srgbClr val="32416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 dirty="0"/>
          </a:p>
        </p:txBody>
      </p:sp>
      <p:sp>
        <p:nvSpPr>
          <p:cNvPr id="1713" name="Полилиния 1712">
            <a:extLst>
              <a:ext uri="{FF2B5EF4-FFF2-40B4-BE49-F238E27FC236}">
                <a16:creationId xmlns:a16="http://schemas.microsoft.com/office/drawing/2014/main" id="{B41F20D3-7D4F-5D53-C37D-9078EB780447}"/>
              </a:ext>
            </a:extLst>
          </p:cNvPr>
          <p:cNvSpPr/>
          <p:nvPr/>
        </p:nvSpPr>
        <p:spPr>
          <a:xfrm>
            <a:off x="1578549" y="6977653"/>
            <a:ext cx="684385" cy="129012"/>
          </a:xfrm>
          <a:custGeom>
            <a:avLst/>
            <a:gdLst>
              <a:gd name="connsiteX0" fmla="*/ 22099 w 583957"/>
              <a:gd name="connsiteY0" fmla="*/ 108588 h 110081"/>
              <a:gd name="connsiteX1" fmla="*/ 10147 w 583957"/>
              <a:gd name="connsiteY1" fmla="*/ 108588 h 110081"/>
              <a:gd name="connsiteX2" fmla="*/ 16434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15 w 583957"/>
              <a:gd name="connsiteY6" fmla="*/ 40012 h 110081"/>
              <a:gd name="connsiteX7" fmla="*/ 4046 w 583957"/>
              <a:gd name="connsiteY7" fmla="*/ 40012 h 110081"/>
              <a:gd name="connsiteX8" fmla="*/ 4046 w 583957"/>
              <a:gd name="connsiteY8" fmla="*/ 29559 h 110081"/>
              <a:gd name="connsiteX9" fmla="*/ 26270 w 583957"/>
              <a:gd name="connsiteY9" fmla="*/ 29559 h 110081"/>
              <a:gd name="connsiteX10" fmla="*/ 32121 w 583957"/>
              <a:gd name="connsiteY10" fmla="*/ 1493 h 110081"/>
              <a:gd name="connsiteX11" fmla="*/ 44073 w 583957"/>
              <a:gd name="connsiteY11" fmla="*/ 1493 h 110081"/>
              <a:gd name="connsiteX12" fmla="*/ 38221 w 583957"/>
              <a:gd name="connsiteY12" fmla="*/ 29559 h 110081"/>
              <a:gd name="connsiteX13" fmla="*/ 60630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582 w 583957"/>
              <a:gd name="connsiteY16" fmla="*/ 29559 h 110081"/>
              <a:gd name="connsiteX17" fmla="*/ 89328 w 583957"/>
              <a:gd name="connsiteY17" fmla="*/ 29559 h 110081"/>
              <a:gd name="connsiteX18" fmla="*/ 89328 w 583957"/>
              <a:gd name="connsiteY18" fmla="*/ 40012 h 110081"/>
              <a:gd name="connsiteX19" fmla="*/ 70529 w 583957"/>
              <a:gd name="connsiteY19" fmla="*/ 40012 h 110081"/>
              <a:gd name="connsiteX20" fmla="*/ 64988 w 583957"/>
              <a:gd name="connsiteY20" fmla="*/ 67206 h 110081"/>
              <a:gd name="connsiteX21" fmla="*/ 85282 w 583957"/>
              <a:gd name="connsiteY21" fmla="*/ 67206 h 110081"/>
              <a:gd name="connsiteX22" fmla="*/ 85282 w 583957"/>
              <a:gd name="connsiteY22" fmla="*/ 77661 h 110081"/>
              <a:gd name="connsiteX23" fmla="*/ 62747 w 583957"/>
              <a:gd name="connsiteY23" fmla="*/ 77661 h 110081"/>
              <a:gd name="connsiteX24" fmla="*/ 56460 w 583957"/>
              <a:gd name="connsiteY24" fmla="*/ 108588 h 110081"/>
              <a:gd name="connsiteX25" fmla="*/ 44508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099 w 583957"/>
              <a:gd name="connsiteY28" fmla="*/ 108588 h 110081"/>
              <a:gd name="connsiteX29" fmla="*/ 30627 w 583957"/>
              <a:gd name="connsiteY29" fmla="*/ 67206 h 110081"/>
              <a:gd name="connsiteX30" fmla="*/ 53036 w 583957"/>
              <a:gd name="connsiteY30" fmla="*/ 67206 h 110081"/>
              <a:gd name="connsiteX31" fmla="*/ 58576 w 583957"/>
              <a:gd name="connsiteY31" fmla="*/ 40012 h 110081"/>
              <a:gd name="connsiteX32" fmla="*/ 36167 w 583957"/>
              <a:gd name="connsiteY32" fmla="*/ 40012 h 110081"/>
              <a:gd name="connsiteX33" fmla="*/ 30627 w 583957"/>
              <a:gd name="connsiteY33" fmla="*/ 67206 h 110081"/>
              <a:gd name="connsiteX34" fmla="*/ 120078 w 583957"/>
              <a:gd name="connsiteY34" fmla="*/ 58992 h 110081"/>
              <a:gd name="connsiteX35" fmla="*/ 120078 w 583957"/>
              <a:gd name="connsiteY35" fmla="*/ 46298 h 110081"/>
              <a:gd name="connsiteX36" fmla="*/ 134396 w 583957"/>
              <a:gd name="connsiteY36" fmla="*/ 46298 h 110081"/>
              <a:gd name="connsiteX37" fmla="*/ 148028 w 583957"/>
              <a:gd name="connsiteY37" fmla="*/ 41817 h 110081"/>
              <a:gd name="connsiteX38" fmla="*/ 153382 w 583957"/>
              <a:gd name="connsiteY38" fmla="*/ 28812 h 110081"/>
              <a:gd name="connsiteX39" fmla="*/ 148464 w 583957"/>
              <a:gd name="connsiteY39" fmla="*/ 16864 h 110081"/>
              <a:gd name="connsiteX40" fmla="*/ 134271 w 583957"/>
              <a:gd name="connsiteY40" fmla="*/ 12383 h 110081"/>
              <a:gd name="connsiteX41" fmla="*/ 119643 w 583957"/>
              <a:gd name="connsiteY41" fmla="*/ 15246 h 110081"/>
              <a:gd name="connsiteX42" fmla="*/ 105575 w 583957"/>
              <a:gd name="connsiteY42" fmla="*/ 24331 h 110081"/>
              <a:gd name="connsiteX43" fmla="*/ 105575 w 583957"/>
              <a:gd name="connsiteY43" fmla="*/ 9707 h 110081"/>
              <a:gd name="connsiteX44" fmla="*/ 134396 w 583957"/>
              <a:gd name="connsiteY44" fmla="*/ 0 h 110081"/>
              <a:gd name="connsiteX45" fmla="*/ 158486 w 583957"/>
              <a:gd name="connsiteY45" fmla="*/ 7779 h 110081"/>
              <a:gd name="connsiteX46" fmla="*/ 167263 w 583957"/>
              <a:gd name="connsiteY46" fmla="*/ 28065 h 110081"/>
              <a:gd name="connsiteX47" fmla="*/ 161599 w 583957"/>
              <a:gd name="connsiteY47" fmla="*/ 44244 h 110081"/>
              <a:gd name="connsiteX48" fmla="*/ 148340 w 583957"/>
              <a:gd name="connsiteY48" fmla="*/ 52147 h 110081"/>
              <a:gd name="connsiteX49" fmla="*/ 159793 w 583957"/>
              <a:gd name="connsiteY49" fmla="*/ 56441 h 110081"/>
              <a:gd name="connsiteX50" fmla="*/ 168508 w 583957"/>
              <a:gd name="connsiteY50" fmla="*/ 65153 h 110081"/>
              <a:gd name="connsiteX51" fmla="*/ 171745 w 583957"/>
              <a:gd name="connsiteY51" fmla="*/ 77661 h 110081"/>
              <a:gd name="connsiteX52" fmla="*/ 166827 w 583957"/>
              <a:gd name="connsiteY52" fmla="*/ 94836 h 110081"/>
              <a:gd name="connsiteX53" fmla="*/ 153257 w 583957"/>
              <a:gd name="connsiteY53" fmla="*/ 106224 h 110081"/>
              <a:gd name="connsiteX54" fmla="*/ 133400 w 583957"/>
              <a:gd name="connsiteY54" fmla="*/ 110082 h 110081"/>
              <a:gd name="connsiteX55" fmla="*/ 102898 w 583957"/>
              <a:gd name="connsiteY55" fmla="*/ 100997 h 110081"/>
              <a:gd name="connsiteX56" fmla="*/ 102898 w 583957"/>
              <a:gd name="connsiteY56" fmla="*/ 86062 h 110081"/>
              <a:gd name="connsiteX57" fmla="*/ 116654 w 583957"/>
              <a:gd name="connsiteY57" fmla="*/ 94711 h 110081"/>
              <a:gd name="connsiteX58" fmla="*/ 133524 w 583957"/>
              <a:gd name="connsiteY58" fmla="*/ 97823 h 110081"/>
              <a:gd name="connsiteX59" fmla="*/ 150829 w 583957"/>
              <a:gd name="connsiteY59" fmla="*/ 92596 h 110081"/>
              <a:gd name="connsiteX60" fmla="*/ 157303 w 583957"/>
              <a:gd name="connsiteY60" fmla="*/ 77972 h 110081"/>
              <a:gd name="connsiteX61" fmla="*/ 151452 w 583957"/>
              <a:gd name="connsiteY61" fmla="*/ 64095 h 110081"/>
              <a:gd name="connsiteX62" fmla="*/ 133835 w 583957"/>
              <a:gd name="connsiteY62" fmla="*/ 58992 h 110081"/>
              <a:gd name="connsiteX63" fmla="*/ 120078 w 583957"/>
              <a:gd name="connsiteY63" fmla="*/ 58992 h 110081"/>
              <a:gd name="connsiteX64" fmla="*/ 252980 w 583957"/>
              <a:gd name="connsiteY64" fmla="*/ 108588 h 110081"/>
              <a:gd name="connsiteX65" fmla="*/ 184755 w 583957"/>
              <a:gd name="connsiteY65" fmla="*/ 108588 h 110081"/>
              <a:gd name="connsiteX66" fmla="*/ 184755 w 583957"/>
              <a:gd name="connsiteY66" fmla="*/ 94400 h 110081"/>
              <a:gd name="connsiteX67" fmla="*/ 210899 w 583957"/>
              <a:gd name="connsiteY67" fmla="*/ 72433 h 110081"/>
              <a:gd name="connsiteX68" fmla="*/ 226836 w 583957"/>
              <a:gd name="connsiteY68" fmla="*/ 56628 h 110081"/>
              <a:gd name="connsiteX69" fmla="*/ 234927 w 583957"/>
              <a:gd name="connsiteY69" fmla="*/ 43933 h 110081"/>
              <a:gd name="connsiteX70" fmla="*/ 237293 w 583957"/>
              <a:gd name="connsiteY70" fmla="*/ 32109 h 110081"/>
              <a:gd name="connsiteX71" fmla="*/ 231815 w 583957"/>
              <a:gd name="connsiteY71" fmla="*/ 17610 h 110081"/>
              <a:gd name="connsiteX72" fmla="*/ 216564 w 583957"/>
              <a:gd name="connsiteY72" fmla="*/ 12383 h 110081"/>
              <a:gd name="connsiteX73" fmla="*/ 187556 w 583957"/>
              <a:gd name="connsiteY73" fmla="*/ 27194 h 110081"/>
              <a:gd name="connsiteX74" fmla="*/ 187556 w 583957"/>
              <a:gd name="connsiteY74" fmla="*/ 12134 h 110081"/>
              <a:gd name="connsiteX75" fmla="*/ 217000 w 583957"/>
              <a:gd name="connsiteY75" fmla="*/ 0 h 110081"/>
              <a:gd name="connsiteX76" fmla="*/ 242398 w 583957"/>
              <a:gd name="connsiteY76" fmla="*/ 8401 h 110081"/>
              <a:gd name="connsiteX77" fmla="*/ 251797 w 583957"/>
              <a:gd name="connsiteY77" fmla="*/ 30803 h 110081"/>
              <a:gd name="connsiteX78" fmla="*/ 249432 w 583957"/>
              <a:gd name="connsiteY78" fmla="*/ 44804 h 110081"/>
              <a:gd name="connsiteX79" fmla="*/ 241339 w 583957"/>
              <a:gd name="connsiteY79" fmla="*/ 58681 h 110081"/>
              <a:gd name="connsiteX80" fmla="*/ 225652 w 583957"/>
              <a:gd name="connsiteY80" fmla="*/ 74860 h 110081"/>
              <a:gd name="connsiteX81" fmla="*/ 200255 w 583957"/>
              <a:gd name="connsiteY81" fmla="*/ 95769 h 110081"/>
              <a:gd name="connsiteX82" fmla="*/ 252980 w 583957"/>
              <a:gd name="connsiteY82" fmla="*/ 95769 h 110081"/>
              <a:gd name="connsiteX83" fmla="*/ 252980 w 583957"/>
              <a:gd name="connsiteY83" fmla="*/ 108588 h 110081"/>
              <a:gd name="connsiteX84" fmla="*/ 323072 w 583957"/>
              <a:gd name="connsiteY84" fmla="*/ 108588 h 110081"/>
              <a:gd name="connsiteX85" fmla="*/ 309875 w 583957"/>
              <a:gd name="connsiteY85" fmla="*/ 108588 h 110081"/>
              <a:gd name="connsiteX86" fmla="*/ 309875 w 583957"/>
              <a:gd name="connsiteY86" fmla="*/ 83199 h 110081"/>
              <a:gd name="connsiteX87" fmla="*/ 263563 w 583957"/>
              <a:gd name="connsiteY87" fmla="*/ 83199 h 110081"/>
              <a:gd name="connsiteX88" fmla="*/ 263563 w 583957"/>
              <a:gd name="connsiteY88" fmla="*/ 73927 h 110081"/>
              <a:gd name="connsiteX89" fmla="*/ 305394 w 583957"/>
              <a:gd name="connsiteY89" fmla="*/ 1493 h 110081"/>
              <a:gd name="connsiteX90" fmla="*/ 323072 w 583957"/>
              <a:gd name="connsiteY90" fmla="*/ 1493 h 110081"/>
              <a:gd name="connsiteX91" fmla="*/ 323072 w 583957"/>
              <a:gd name="connsiteY91" fmla="*/ 71873 h 110081"/>
              <a:gd name="connsiteX92" fmla="*/ 337514 w 583957"/>
              <a:gd name="connsiteY92" fmla="*/ 71873 h 110081"/>
              <a:gd name="connsiteX93" fmla="*/ 337514 w 583957"/>
              <a:gd name="connsiteY93" fmla="*/ 83199 h 110081"/>
              <a:gd name="connsiteX94" fmla="*/ 323072 w 583957"/>
              <a:gd name="connsiteY94" fmla="*/ 83199 h 110081"/>
              <a:gd name="connsiteX95" fmla="*/ 323072 w 583957"/>
              <a:gd name="connsiteY95" fmla="*/ 108588 h 110081"/>
              <a:gd name="connsiteX96" fmla="*/ 277195 w 583957"/>
              <a:gd name="connsiteY96" fmla="*/ 71873 h 110081"/>
              <a:gd name="connsiteX97" fmla="*/ 309875 w 583957"/>
              <a:gd name="connsiteY97" fmla="*/ 71873 h 110081"/>
              <a:gd name="connsiteX98" fmla="*/ 309875 w 583957"/>
              <a:gd name="connsiteY98" fmla="*/ 16117 h 110081"/>
              <a:gd name="connsiteX99" fmla="*/ 277195 w 583957"/>
              <a:gd name="connsiteY99" fmla="*/ 71873 h 110081"/>
              <a:gd name="connsiteX100" fmla="*/ 397273 w 583957"/>
              <a:gd name="connsiteY100" fmla="*/ 108588 h 110081"/>
              <a:gd name="connsiteX101" fmla="*/ 383703 w 583957"/>
              <a:gd name="connsiteY101" fmla="*/ 108588 h 110081"/>
              <a:gd name="connsiteX102" fmla="*/ 383703 w 583957"/>
              <a:gd name="connsiteY102" fmla="*/ 18357 h 110081"/>
              <a:gd name="connsiteX103" fmla="*/ 354072 w 583957"/>
              <a:gd name="connsiteY103" fmla="*/ 41071 h 110081"/>
              <a:gd name="connsiteX104" fmla="*/ 354072 w 583957"/>
              <a:gd name="connsiteY104" fmla="*/ 26011 h 110081"/>
              <a:gd name="connsiteX105" fmla="*/ 385943 w 583957"/>
              <a:gd name="connsiteY105" fmla="*/ 1493 h 110081"/>
              <a:gd name="connsiteX106" fmla="*/ 397273 w 583957"/>
              <a:gd name="connsiteY106" fmla="*/ 1493 h 110081"/>
              <a:gd name="connsiteX107" fmla="*/ 397273 w 583957"/>
              <a:gd name="connsiteY107" fmla="*/ 108588 h 110081"/>
              <a:gd name="connsiteX108" fmla="*/ 501789 w 583957"/>
              <a:gd name="connsiteY108" fmla="*/ 73491 h 110081"/>
              <a:gd name="connsiteX109" fmla="*/ 497058 w 583957"/>
              <a:gd name="connsiteY109" fmla="*/ 92782 h 110081"/>
              <a:gd name="connsiteX110" fmla="*/ 484359 w 583957"/>
              <a:gd name="connsiteY110" fmla="*/ 105601 h 110081"/>
              <a:gd name="connsiteX111" fmla="*/ 466245 w 583957"/>
              <a:gd name="connsiteY111" fmla="*/ 110082 h 110081"/>
              <a:gd name="connsiteX112" fmla="*/ 444582 w 583957"/>
              <a:gd name="connsiteY112" fmla="*/ 104108 h 110081"/>
              <a:gd name="connsiteX113" fmla="*/ 432506 w 583957"/>
              <a:gd name="connsiteY113" fmla="*/ 87555 h 110081"/>
              <a:gd name="connsiteX114" fmla="*/ 428771 w 583957"/>
              <a:gd name="connsiteY114" fmla="*/ 63161 h 110081"/>
              <a:gd name="connsiteX115" fmla="*/ 433253 w 583957"/>
              <a:gd name="connsiteY115" fmla="*/ 30181 h 110081"/>
              <a:gd name="connsiteX116" fmla="*/ 447259 w 583957"/>
              <a:gd name="connsiteY116" fmla="*/ 8089 h 110081"/>
              <a:gd name="connsiteX117" fmla="*/ 471785 w 583957"/>
              <a:gd name="connsiteY117" fmla="*/ 0 h 110081"/>
              <a:gd name="connsiteX118" fmla="*/ 494319 w 583957"/>
              <a:gd name="connsiteY118" fmla="*/ 5538 h 110081"/>
              <a:gd name="connsiteX119" fmla="*/ 494319 w 583957"/>
              <a:gd name="connsiteY119" fmla="*/ 18855 h 110081"/>
              <a:gd name="connsiteX120" fmla="*/ 471785 w 583957"/>
              <a:gd name="connsiteY120" fmla="*/ 12259 h 110081"/>
              <a:gd name="connsiteX121" fmla="*/ 456223 w 583957"/>
              <a:gd name="connsiteY121" fmla="*/ 17361 h 110081"/>
              <a:gd name="connsiteX122" fmla="*/ 446388 w 583957"/>
              <a:gd name="connsiteY122" fmla="*/ 31238 h 110081"/>
              <a:gd name="connsiteX123" fmla="*/ 442217 w 583957"/>
              <a:gd name="connsiteY123" fmla="*/ 50778 h 110081"/>
              <a:gd name="connsiteX124" fmla="*/ 453546 w 583957"/>
              <a:gd name="connsiteY124" fmla="*/ 40759 h 110081"/>
              <a:gd name="connsiteX125" fmla="*/ 467614 w 583957"/>
              <a:gd name="connsiteY125" fmla="*/ 37523 h 110081"/>
              <a:gd name="connsiteX126" fmla="*/ 484919 w 583957"/>
              <a:gd name="connsiteY126" fmla="*/ 41693 h 110081"/>
              <a:gd name="connsiteX127" fmla="*/ 497182 w 583957"/>
              <a:gd name="connsiteY127" fmla="*/ 53952 h 110081"/>
              <a:gd name="connsiteX128" fmla="*/ 501789 w 583957"/>
              <a:gd name="connsiteY128" fmla="*/ 73491 h 110081"/>
              <a:gd name="connsiteX129" fmla="*/ 465809 w 583957"/>
              <a:gd name="connsiteY129" fmla="*/ 98134 h 110081"/>
              <a:gd name="connsiteX130" fmla="*/ 476578 w 583957"/>
              <a:gd name="connsiteY130" fmla="*/ 95458 h 110081"/>
              <a:gd name="connsiteX131" fmla="*/ 484484 w 583957"/>
              <a:gd name="connsiteY131" fmla="*/ 87244 h 110081"/>
              <a:gd name="connsiteX132" fmla="*/ 487597 w 583957"/>
              <a:gd name="connsiteY132" fmla="*/ 73803 h 110081"/>
              <a:gd name="connsiteX133" fmla="*/ 484609 w 583957"/>
              <a:gd name="connsiteY133" fmla="*/ 60174 h 110081"/>
              <a:gd name="connsiteX134" fmla="*/ 477014 w 583957"/>
              <a:gd name="connsiteY134" fmla="*/ 51961 h 110081"/>
              <a:gd name="connsiteX135" fmla="*/ 467303 w 583957"/>
              <a:gd name="connsiteY135" fmla="*/ 49160 h 110081"/>
              <a:gd name="connsiteX136" fmla="*/ 450745 w 583957"/>
              <a:gd name="connsiteY136" fmla="*/ 55570 h 110081"/>
              <a:gd name="connsiteX137" fmla="*/ 444147 w 583957"/>
              <a:gd name="connsiteY137" fmla="*/ 74114 h 110081"/>
              <a:gd name="connsiteX138" fmla="*/ 449998 w 583957"/>
              <a:gd name="connsiteY138" fmla="*/ 91538 h 110081"/>
              <a:gd name="connsiteX139" fmla="*/ 465809 w 583957"/>
              <a:gd name="connsiteY139" fmla="*/ 98134 h 110081"/>
              <a:gd name="connsiteX140" fmla="*/ 569453 w 583957"/>
              <a:gd name="connsiteY140" fmla="*/ 108588 h 110081"/>
              <a:gd name="connsiteX141" fmla="*/ 556319 w 583957"/>
              <a:gd name="connsiteY141" fmla="*/ 108588 h 110081"/>
              <a:gd name="connsiteX142" fmla="*/ 556319 w 583957"/>
              <a:gd name="connsiteY142" fmla="*/ 83199 h 110081"/>
              <a:gd name="connsiteX143" fmla="*/ 510006 w 583957"/>
              <a:gd name="connsiteY143" fmla="*/ 83199 h 110081"/>
              <a:gd name="connsiteX144" fmla="*/ 510006 w 583957"/>
              <a:gd name="connsiteY144" fmla="*/ 73927 h 110081"/>
              <a:gd name="connsiteX145" fmla="*/ 551837 w 583957"/>
              <a:gd name="connsiteY145" fmla="*/ 1493 h 110081"/>
              <a:gd name="connsiteX146" fmla="*/ 569453 w 583957"/>
              <a:gd name="connsiteY146" fmla="*/ 1493 h 110081"/>
              <a:gd name="connsiteX147" fmla="*/ 569453 w 583957"/>
              <a:gd name="connsiteY147" fmla="*/ 71873 h 110081"/>
              <a:gd name="connsiteX148" fmla="*/ 583958 w 583957"/>
              <a:gd name="connsiteY148" fmla="*/ 71873 h 110081"/>
              <a:gd name="connsiteX149" fmla="*/ 583958 w 583957"/>
              <a:gd name="connsiteY149" fmla="*/ 83199 h 110081"/>
              <a:gd name="connsiteX150" fmla="*/ 569453 w 583957"/>
              <a:gd name="connsiteY150" fmla="*/ 83199 h 110081"/>
              <a:gd name="connsiteX151" fmla="*/ 569453 w 583957"/>
              <a:gd name="connsiteY151" fmla="*/ 108588 h 110081"/>
              <a:gd name="connsiteX152" fmla="*/ 523576 w 583957"/>
              <a:gd name="connsiteY152" fmla="*/ 71873 h 110081"/>
              <a:gd name="connsiteX153" fmla="*/ 556319 w 583957"/>
              <a:gd name="connsiteY153" fmla="*/ 71873 h 110081"/>
              <a:gd name="connsiteX154" fmla="*/ 556319 w 583957"/>
              <a:gd name="connsiteY154" fmla="*/ 16117 h 110081"/>
              <a:gd name="connsiteX155" fmla="*/ 523576 w 583957"/>
              <a:gd name="connsiteY155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583957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3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3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7" y="13379"/>
                  <a:pt x="119643" y="15246"/>
                </a:cubicBezTo>
                <a:cubicBezTo>
                  <a:pt x="115161" y="17113"/>
                  <a:pt x="110492" y="20162"/>
                  <a:pt x="105575" y="24331"/>
                </a:cubicBezTo>
                <a:lnTo>
                  <a:pt x="105575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7" y="12943"/>
                  <a:pt x="167263" y="19726"/>
                  <a:pt x="167263" y="28065"/>
                </a:cubicBezTo>
                <a:cubicBezTo>
                  <a:pt x="167263" y="34848"/>
                  <a:pt x="165396" y="40262"/>
                  <a:pt x="161599" y="44244"/>
                </a:cubicBezTo>
                <a:cubicBezTo>
                  <a:pt x="157926" y="48227"/>
                  <a:pt x="153506" y="50840"/>
                  <a:pt x="148340" y="52147"/>
                </a:cubicBezTo>
                <a:cubicBezTo>
                  <a:pt x="152510" y="52707"/>
                  <a:pt x="156307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7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7" y="106224"/>
                </a:cubicBezTo>
                <a:cubicBezTo>
                  <a:pt x="147593" y="108775"/>
                  <a:pt x="140932" y="110082"/>
                  <a:pt x="133400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5" y="89733"/>
                  <a:pt x="111239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69" y="97823"/>
                  <a:pt x="146659" y="96080"/>
                  <a:pt x="150829" y="92596"/>
                </a:cubicBezTo>
                <a:cubicBezTo>
                  <a:pt x="155125" y="89048"/>
                  <a:pt x="157303" y="84132"/>
                  <a:pt x="157303" y="77972"/>
                </a:cubicBezTo>
                <a:cubicBezTo>
                  <a:pt x="157303" y="71998"/>
                  <a:pt x="155312" y="67393"/>
                  <a:pt x="151452" y="64095"/>
                </a:cubicBezTo>
                <a:cubicBezTo>
                  <a:pt x="147655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0" y="108588"/>
                </a:moveTo>
                <a:lnTo>
                  <a:pt x="184755" y="108588"/>
                </a:lnTo>
                <a:lnTo>
                  <a:pt x="184755" y="94400"/>
                </a:lnTo>
                <a:cubicBezTo>
                  <a:pt x="195400" y="85812"/>
                  <a:pt x="204115" y="78532"/>
                  <a:pt x="210899" y="72433"/>
                </a:cubicBezTo>
                <a:cubicBezTo>
                  <a:pt x="217747" y="66397"/>
                  <a:pt x="223101" y="61108"/>
                  <a:pt x="226836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3" y="36092"/>
                  <a:pt x="237293" y="32109"/>
                </a:cubicBezTo>
                <a:cubicBezTo>
                  <a:pt x="237293" y="25949"/>
                  <a:pt x="235488" y="21095"/>
                  <a:pt x="231815" y="17610"/>
                </a:cubicBezTo>
                <a:cubicBezTo>
                  <a:pt x="228080" y="14125"/>
                  <a:pt x="223038" y="12383"/>
                  <a:pt x="216564" y="12383"/>
                </a:cubicBezTo>
                <a:cubicBezTo>
                  <a:pt x="206168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6" y="4044"/>
                  <a:pt x="205671" y="0"/>
                  <a:pt x="217000" y="0"/>
                </a:cubicBezTo>
                <a:cubicBezTo>
                  <a:pt x="227769" y="0"/>
                  <a:pt x="236235" y="2800"/>
                  <a:pt x="242398" y="8401"/>
                </a:cubicBezTo>
                <a:cubicBezTo>
                  <a:pt x="248685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1" y="53827"/>
                  <a:pt x="241339" y="58681"/>
                </a:cubicBezTo>
                <a:cubicBezTo>
                  <a:pt x="237542" y="63473"/>
                  <a:pt x="232314" y="68887"/>
                  <a:pt x="225652" y="74860"/>
                </a:cubicBezTo>
                <a:cubicBezTo>
                  <a:pt x="218992" y="80835"/>
                  <a:pt x="210526" y="87804"/>
                  <a:pt x="200255" y="95769"/>
                </a:cubicBezTo>
                <a:lnTo>
                  <a:pt x="252980" y="95769"/>
                </a:lnTo>
                <a:lnTo>
                  <a:pt x="252980" y="108588"/>
                </a:lnTo>
                <a:close/>
                <a:moveTo>
                  <a:pt x="323072" y="108588"/>
                </a:moveTo>
                <a:lnTo>
                  <a:pt x="309875" y="108588"/>
                </a:lnTo>
                <a:lnTo>
                  <a:pt x="309875" y="83199"/>
                </a:lnTo>
                <a:lnTo>
                  <a:pt x="263563" y="83199"/>
                </a:lnTo>
                <a:lnTo>
                  <a:pt x="263563" y="73927"/>
                </a:lnTo>
                <a:lnTo>
                  <a:pt x="305394" y="1493"/>
                </a:lnTo>
                <a:lnTo>
                  <a:pt x="323072" y="1493"/>
                </a:lnTo>
                <a:lnTo>
                  <a:pt x="323072" y="71873"/>
                </a:lnTo>
                <a:lnTo>
                  <a:pt x="337514" y="71873"/>
                </a:lnTo>
                <a:lnTo>
                  <a:pt x="337514" y="83199"/>
                </a:lnTo>
                <a:lnTo>
                  <a:pt x="323072" y="83199"/>
                </a:lnTo>
                <a:lnTo>
                  <a:pt x="323072" y="108588"/>
                </a:lnTo>
                <a:close/>
                <a:moveTo>
                  <a:pt x="277195" y="71873"/>
                </a:moveTo>
                <a:lnTo>
                  <a:pt x="309875" y="71873"/>
                </a:lnTo>
                <a:lnTo>
                  <a:pt x="309875" y="16117"/>
                </a:lnTo>
                <a:lnTo>
                  <a:pt x="277195" y="71873"/>
                </a:lnTo>
                <a:close/>
                <a:moveTo>
                  <a:pt x="397273" y="108588"/>
                </a:moveTo>
                <a:lnTo>
                  <a:pt x="383703" y="108588"/>
                </a:lnTo>
                <a:lnTo>
                  <a:pt x="383703" y="18357"/>
                </a:lnTo>
                <a:lnTo>
                  <a:pt x="354072" y="41071"/>
                </a:lnTo>
                <a:lnTo>
                  <a:pt x="354072" y="26011"/>
                </a:lnTo>
                <a:lnTo>
                  <a:pt x="385943" y="1493"/>
                </a:lnTo>
                <a:lnTo>
                  <a:pt x="397273" y="1493"/>
                </a:lnTo>
                <a:lnTo>
                  <a:pt x="397273" y="108588"/>
                </a:lnTo>
                <a:close/>
                <a:moveTo>
                  <a:pt x="501789" y="73491"/>
                </a:moveTo>
                <a:cubicBezTo>
                  <a:pt x="501789" y="80772"/>
                  <a:pt x="500232" y="87182"/>
                  <a:pt x="497058" y="92782"/>
                </a:cubicBezTo>
                <a:cubicBezTo>
                  <a:pt x="493946" y="98258"/>
                  <a:pt x="489713" y="102490"/>
                  <a:pt x="484359" y="105601"/>
                </a:cubicBezTo>
                <a:cubicBezTo>
                  <a:pt x="478944" y="108588"/>
                  <a:pt x="472906" y="110082"/>
                  <a:pt x="466245" y="110082"/>
                </a:cubicBezTo>
                <a:cubicBezTo>
                  <a:pt x="457281" y="110082"/>
                  <a:pt x="450060" y="108091"/>
                  <a:pt x="444582" y="104108"/>
                </a:cubicBezTo>
                <a:cubicBezTo>
                  <a:pt x="439104" y="100125"/>
                  <a:pt x="435058" y="94587"/>
                  <a:pt x="432506" y="87555"/>
                </a:cubicBezTo>
                <a:cubicBezTo>
                  <a:pt x="430016" y="80461"/>
                  <a:pt x="428771" y="72372"/>
                  <a:pt x="428771" y="63161"/>
                </a:cubicBezTo>
                <a:cubicBezTo>
                  <a:pt x="428771" y="50653"/>
                  <a:pt x="430265" y="39639"/>
                  <a:pt x="433253" y="30181"/>
                </a:cubicBezTo>
                <a:cubicBezTo>
                  <a:pt x="436303" y="20722"/>
                  <a:pt x="441034" y="13379"/>
                  <a:pt x="447259" y="8089"/>
                </a:cubicBezTo>
                <a:cubicBezTo>
                  <a:pt x="453670" y="2675"/>
                  <a:pt x="461825" y="0"/>
                  <a:pt x="471785" y="0"/>
                </a:cubicBezTo>
                <a:cubicBezTo>
                  <a:pt x="480375" y="0"/>
                  <a:pt x="487845" y="1866"/>
                  <a:pt x="494319" y="5538"/>
                </a:cubicBezTo>
                <a:lnTo>
                  <a:pt x="494319" y="18855"/>
                </a:lnTo>
                <a:cubicBezTo>
                  <a:pt x="487845" y="14437"/>
                  <a:pt x="480375" y="12259"/>
                  <a:pt x="471785" y="12259"/>
                </a:cubicBezTo>
                <a:cubicBezTo>
                  <a:pt x="465622" y="12259"/>
                  <a:pt x="460456" y="13939"/>
                  <a:pt x="456223" y="17361"/>
                </a:cubicBezTo>
                <a:cubicBezTo>
                  <a:pt x="452052" y="20722"/>
                  <a:pt x="448753" y="25327"/>
                  <a:pt x="446388" y="31238"/>
                </a:cubicBezTo>
                <a:cubicBezTo>
                  <a:pt x="444085" y="37026"/>
                  <a:pt x="442715" y="43498"/>
                  <a:pt x="442217" y="50778"/>
                </a:cubicBezTo>
                <a:cubicBezTo>
                  <a:pt x="445516" y="46298"/>
                  <a:pt x="449251" y="42999"/>
                  <a:pt x="453546" y="40759"/>
                </a:cubicBezTo>
                <a:cubicBezTo>
                  <a:pt x="457841" y="38581"/>
                  <a:pt x="462510" y="37523"/>
                  <a:pt x="467614" y="37523"/>
                </a:cubicBezTo>
                <a:cubicBezTo>
                  <a:pt x="474088" y="37523"/>
                  <a:pt x="479878" y="38893"/>
                  <a:pt x="484919" y="41693"/>
                </a:cubicBezTo>
                <a:cubicBezTo>
                  <a:pt x="490086" y="44493"/>
                  <a:pt x="494195" y="48538"/>
                  <a:pt x="497182" y="53952"/>
                </a:cubicBezTo>
                <a:cubicBezTo>
                  <a:pt x="500295" y="59179"/>
                  <a:pt x="501789" y="65713"/>
                  <a:pt x="501789" y="73491"/>
                </a:cubicBezTo>
                <a:close/>
                <a:moveTo>
                  <a:pt x="465809" y="98134"/>
                </a:moveTo>
                <a:cubicBezTo>
                  <a:pt x="469669" y="98134"/>
                  <a:pt x="473279" y="97263"/>
                  <a:pt x="476578" y="95458"/>
                </a:cubicBezTo>
                <a:cubicBezTo>
                  <a:pt x="479878" y="93529"/>
                  <a:pt x="482492" y="90791"/>
                  <a:pt x="484484" y="87244"/>
                </a:cubicBezTo>
                <a:cubicBezTo>
                  <a:pt x="486600" y="83635"/>
                  <a:pt x="487597" y="79154"/>
                  <a:pt x="487597" y="73803"/>
                </a:cubicBezTo>
                <a:cubicBezTo>
                  <a:pt x="487597" y="68389"/>
                  <a:pt x="486600" y="63908"/>
                  <a:pt x="484609" y="60174"/>
                </a:cubicBezTo>
                <a:cubicBezTo>
                  <a:pt x="482616" y="56503"/>
                  <a:pt x="480126" y="53765"/>
                  <a:pt x="477014" y="51961"/>
                </a:cubicBezTo>
                <a:cubicBezTo>
                  <a:pt x="473901" y="50093"/>
                  <a:pt x="470664" y="49160"/>
                  <a:pt x="467303" y="49160"/>
                </a:cubicBezTo>
                <a:cubicBezTo>
                  <a:pt x="460705" y="49160"/>
                  <a:pt x="455227" y="51276"/>
                  <a:pt x="450745" y="55570"/>
                </a:cubicBezTo>
                <a:cubicBezTo>
                  <a:pt x="446325" y="59739"/>
                  <a:pt x="444147" y="65900"/>
                  <a:pt x="444147" y="74114"/>
                </a:cubicBezTo>
                <a:cubicBezTo>
                  <a:pt x="444147" y="81270"/>
                  <a:pt x="446076" y="87058"/>
                  <a:pt x="449998" y="91538"/>
                </a:cubicBezTo>
                <a:cubicBezTo>
                  <a:pt x="453857" y="95956"/>
                  <a:pt x="459148" y="98134"/>
                  <a:pt x="465809" y="98134"/>
                </a:cubicBezTo>
                <a:close/>
                <a:moveTo>
                  <a:pt x="569453" y="108588"/>
                </a:moveTo>
                <a:lnTo>
                  <a:pt x="556319" y="108588"/>
                </a:lnTo>
                <a:lnTo>
                  <a:pt x="556319" y="83199"/>
                </a:lnTo>
                <a:lnTo>
                  <a:pt x="510006" y="83199"/>
                </a:lnTo>
                <a:lnTo>
                  <a:pt x="510006" y="73927"/>
                </a:lnTo>
                <a:lnTo>
                  <a:pt x="551837" y="1493"/>
                </a:lnTo>
                <a:lnTo>
                  <a:pt x="569453" y="1493"/>
                </a:lnTo>
                <a:lnTo>
                  <a:pt x="569453" y="71873"/>
                </a:lnTo>
                <a:lnTo>
                  <a:pt x="583958" y="71873"/>
                </a:lnTo>
                <a:lnTo>
                  <a:pt x="583958" y="83199"/>
                </a:lnTo>
                <a:lnTo>
                  <a:pt x="569453" y="83199"/>
                </a:lnTo>
                <a:lnTo>
                  <a:pt x="569453" y="108588"/>
                </a:lnTo>
                <a:close/>
                <a:moveTo>
                  <a:pt x="523576" y="71873"/>
                </a:moveTo>
                <a:lnTo>
                  <a:pt x="556319" y="71873"/>
                </a:lnTo>
                <a:lnTo>
                  <a:pt x="556319" y="16117"/>
                </a:lnTo>
                <a:lnTo>
                  <a:pt x="523576" y="7187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4" name="Полилиния 1713">
            <a:extLst>
              <a:ext uri="{FF2B5EF4-FFF2-40B4-BE49-F238E27FC236}">
                <a16:creationId xmlns:a16="http://schemas.microsoft.com/office/drawing/2014/main" id="{6CD490E9-C0F0-5AC6-CF4C-E9709257303D}"/>
              </a:ext>
            </a:extLst>
          </p:cNvPr>
          <p:cNvSpPr/>
          <p:nvPr/>
        </p:nvSpPr>
        <p:spPr>
          <a:xfrm>
            <a:off x="1444111" y="7405468"/>
            <a:ext cx="2556000" cy="726227"/>
          </a:xfrm>
          <a:custGeom>
            <a:avLst/>
            <a:gdLst>
              <a:gd name="connsiteX0" fmla="*/ 1488 w 2191162"/>
              <a:gd name="connsiteY0" fmla="*/ 1222 h 622284"/>
              <a:gd name="connsiteX1" fmla="*/ 2192651 w 2191162"/>
              <a:gd name="connsiteY1" fmla="*/ 1222 h 622284"/>
              <a:gd name="connsiteX2" fmla="*/ 2192651 w 2191162"/>
              <a:gd name="connsiteY2" fmla="*/ 623506 h 622284"/>
              <a:gd name="connsiteX3" fmla="*/ 1488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222"/>
                </a:moveTo>
                <a:lnTo>
                  <a:pt x="2192651" y="1222"/>
                </a:lnTo>
                <a:lnTo>
                  <a:pt x="2192651" y="623506"/>
                </a:lnTo>
                <a:lnTo>
                  <a:pt x="1488" y="623506"/>
                </a:lnTo>
                <a:close/>
              </a:path>
            </a:pathLst>
          </a:custGeom>
          <a:solidFill>
            <a:srgbClr val="46557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5" name="Полилиния 1714">
            <a:extLst>
              <a:ext uri="{FF2B5EF4-FFF2-40B4-BE49-F238E27FC236}">
                <a16:creationId xmlns:a16="http://schemas.microsoft.com/office/drawing/2014/main" id="{72084992-C479-D95E-6A98-AA4AAB87972F}"/>
              </a:ext>
            </a:extLst>
          </p:cNvPr>
          <p:cNvSpPr/>
          <p:nvPr/>
        </p:nvSpPr>
        <p:spPr>
          <a:xfrm>
            <a:off x="1578549" y="7706956"/>
            <a:ext cx="709408" cy="129012"/>
          </a:xfrm>
          <a:custGeom>
            <a:avLst/>
            <a:gdLst>
              <a:gd name="connsiteX0" fmla="*/ 22099 w 605308"/>
              <a:gd name="connsiteY0" fmla="*/ 108588 h 110081"/>
              <a:gd name="connsiteX1" fmla="*/ 10147 w 605308"/>
              <a:gd name="connsiteY1" fmla="*/ 108588 h 110081"/>
              <a:gd name="connsiteX2" fmla="*/ 16434 w 605308"/>
              <a:gd name="connsiteY2" fmla="*/ 77661 h 110081"/>
              <a:gd name="connsiteX3" fmla="*/ 0 w 605308"/>
              <a:gd name="connsiteY3" fmla="*/ 77661 h 110081"/>
              <a:gd name="connsiteX4" fmla="*/ 0 w 605308"/>
              <a:gd name="connsiteY4" fmla="*/ 67206 h 110081"/>
              <a:gd name="connsiteX5" fmla="*/ 18675 w 605308"/>
              <a:gd name="connsiteY5" fmla="*/ 67206 h 110081"/>
              <a:gd name="connsiteX6" fmla="*/ 24215 w 605308"/>
              <a:gd name="connsiteY6" fmla="*/ 40012 h 110081"/>
              <a:gd name="connsiteX7" fmla="*/ 4046 w 605308"/>
              <a:gd name="connsiteY7" fmla="*/ 40012 h 110081"/>
              <a:gd name="connsiteX8" fmla="*/ 4046 w 605308"/>
              <a:gd name="connsiteY8" fmla="*/ 29559 h 110081"/>
              <a:gd name="connsiteX9" fmla="*/ 26270 w 605308"/>
              <a:gd name="connsiteY9" fmla="*/ 29559 h 110081"/>
              <a:gd name="connsiteX10" fmla="*/ 32121 w 605308"/>
              <a:gd name="connsiteY10" fmla="*/ 1493 h 110081"/>
              <a:gd name="connsiteX11" fmla="*/ 44073 w 605308"/>
              <a:gd name="connsiteY11" fmla="*/ 1493 h 110081"/>
              <a:gd name="connsiteX12" fmla="*/ 38221 w 605308"/>
              <a:gd name="connsiteY12" fmla="*/ 29559 h 110081"/>
              <a:gd name="connsiteX13" fmla="*/ 60630 w 605308"/>
              <a:gd name="connsiteY13" fmla="*/ 29559 h 110081"/>
              <a:gd name="connsiteX14" fmla="*/ 66482 w 605308"/>
              <a:gd name="connsiteY14" fmla="*/ 1493 h 110081"/>
              <a:gd name="connsiteX15" fmla="*/ 78434 w 605308"/>
              <a:gd name="connsiteY15" fmla="*/ 1493 h 110081"/>
              <a:gd name="connsiteX16" fmla="*/ 72582 w 605308"/>
              <a:gd name="connsiteY16" fmla="*/ 29559 h 110081"/>
              <a:gd name="connsiteX17" fmla="*/ 89328 w 605308"/>
              <a:gd name="connsiteY17" fmla="*/ 29559 h 110081"/>
              <a:gd name="connsiteX18" fmla="*/ 89328 w 605308"/>
              <a:gd name="connsiteY18" fmla="*/ 40012 h 110081"/>
              <a:gd name="connsiteX19" fmla="*/ 70529 w 605308"/>
              <a:gd name="connsiteY19" fmla="*/ 40012 h 110081"/>
              <a:gd name="connsiteX20" fmla="*/ 64988 w 605308"/>
              <a:gd name="connsiteY20" fmla="*/ 67206 h 110081"/>
              <a:gd name="connsiteX21" fmla="*/ 85282 w 605308"/>
              <a:gd name="connsiteY21" fmla="*/ 67206 h 110081"/>
              <a:gd name="connsiteX22" fmla="*/ 85282 w 605308"/>
              <a:gd name="connsiteY22" fmla="*/ 77661 h 110081"/>
              <a:gd name="connsiteX23" fmla="*/ 62747 w 605308"/>
              <a:gd name="connsiteY23" fmla="*/ 77661 h 110081"/>
              <a:gd name="connsiteX24" fmla="*/ 56460 w 605308"/>
              <a:gd name="connsiteY24" fmla="*/ 108588 h 110081"/>
              <a:gd name="connsiteX25" fmla="*/ 44508 w 605308"/>
              <a:gd name="connsiteY25" fmla="*/ 108588 h 110081"/>
              <a:gd name="connsiteX26" fmla="*/ 50795 w 605308"/>
              <a:gd name="connsiteY26" fmla="*/ 77661 h 110081"/>
              <a:gd name="connsiteX27" fmla="*/ 28386 w 605308"/>
              <a:gd name="connsiteY27" fmla="*/ 77661 h 110081"/>
              <a:gd name="connsiteX28" fmla="*/ 22099 w 605308"/>
              <a:gd name="connsiteY28" fmla="*/ 108588 h 110081"/>
              <a:gd name="connsiteX29" fmla="*/ 30627 w 605308"/>
              <a:gd name="connsiteY29" fmla="*/ 67206 h 110081"/>
              <a:gd name="connsiteX30" fmla="*/ 53036 w 605308"/>
              <a:gd name="connsiteY30" fmla="*/ 67206 h 110081"/>
              <a:gd name="connsiteX31" fmla="*/ 58576 w 605308"/>
              <a:gd name="connsiteY31" fmla="*/ 40012 h 110081"/>
              <a:gd name="connsiteX32" fmla="*/ 36167 w 605308"/>
              <a:gd name="connsiteY32" fmla="*/ 40012 h 110081"/>
              <a:gd name="connsiteX33" fmla="*/ 30627 w 605308"/>
              <a:gd name="connsiteY33" fmla="*/ 67206 h 110081"/>
              <a:gd name="connsiteX34" fmla="*/ 158797 w 605308"/>
              <a:gd name="connsiteY34" fmla="*/ 108588 h 110081"/>
              <a:gd name="connsiteX35" fmla="*/ 145600 w 605308"/>
              <a:gd name="connsiteY35" fmla="*/ 108588 h 110081"/>
              <a:gd name="connsiteX36" fmla="*/ 145600 w 605308"/>
              <a:gd name="connsiteY36" fmla="*/ 83199 h 110081"/>
              <a:gd name="connsiteX37" fmla="*/ 99288 w 605308"/>
              <a:gd name="connsiteY37" fmla="*/ 83199 h 110081"/>
              <a:gd name="connsiteX38" fmla="*/ 99288 w 605308"/>
              <a:gd name="connsiteY38" fmla="*/ 73927 h 110081"/>
              <a:gd name="connsiteX39" fmla="*/ 141119 w 605308"/>
              <a:gd name="connsiteY39" fmla="*/ 1493 h 110081"/>
              <a:gd name="connsiteX40" fmla="*/ 158797 w 605308"/>
              <a:gd name="connsiteY40" fmla="*/ 1493 h 110081"/>
              <a:gd name="connsiteX41" fmla="*/ 158797 w 605308"/>
              <a:gd name="connsiteY41" fmla="*/ 71873 h 110081"/>
              <a:gd name="connsiteX42" fmla="*/ 173239 w 605308"/>
              <a:gd name="connsiteY42" fmla="*/ 71873 h 110081"/>
              <a:gd name="connsiteX43" fmla="*/ 173239 w 605308"/>
              <a:gd name="connsiteY43" fmla="*/ 83199 h 110081"/>
              <a:gd name="connsiteX44" fmla="*/ 158797 w 605308"/>
              <a:gd name="connsiteY44" fmla="*/ 83199 h 110081"/>
              <a:gd name="connsiteX45" fmla="*/ 158797 w 605308"/>
              <a:gd name="connsiteY45" fmla="*/ 108588 h 110081"/>
              <a:gd name="connsiteX46" fmla="*/ 112920 w 605308"/>
              <a:gd name="connsiteY46" fmla="*/ 71873 h 110081"/>
              <a:gd name="connsiteX47" fmla="*/ 145600 w 605308"/>
              <a:gd name="connsiteY47" fmla="*/ 71873 h 110081"/>
              <a:gd name="connsiteX48" fmla="*/ 145600 w 605308"/>
              <a:gd name="connsiteY48" fmla="*/ 16117 h 110081"/>
              <a:gd name="connsiteX49" fmla="*/ 112920 w 605308"/>
              <a:gd name="connsiteY49" fmla="*/ 71873 h 110081"/>
              <a:gd name="connsiteX50" fmla="*/ 255408 w 605308"/>
              <a:gd name="connsiteY50" fmla="*/ 73491 h 110081"/>
              <a:gd name="connsiteX51" fmla="*/ 250614 w 605308"/>
              <a:gd name="connsiteY51" fmla="*/ 92782 h 110081"/>
              <a:gd name="connsiteX52" fmla="*/ 237916 w 605308"/>
              <a:gd name="connsiteY52" fmla="*/ 105601 h 110081"/>
              <a:gd name="connsiteX53" fmla="*/ 219864 w 605308"/>
              <a:gd name="connsiteY53" fmla="*/ 110082 h 110081"/>
              <a:gd name="connsiteX54" fmla="*/ 198201 w 605308"/>
              <a:gd name="connsiteY54" fmla="*/ 104108 h 110081"/>
              <a:gd name="connsiteX55" fmla="*/ 186062 w 605308"/>
              <a:gd name="connsiteY55" fmla="*/ 87555 h 110081"/>
              <a:gd name="connsiteX56" fmla="*/ 182327 w 605308"/>
              <a:gd name="connsiteY56" fmla="*/ 63161 h 110081"/>
              <a:gd name="connsiteX57" fmla="*/ 186809 w 605308"/>
              <a:gd name="connsiteY57" fmla="*/ 30181 h 110081"/>
              <a:gd name="connsiteX58" fmla="*/ 200877 w 605308"/>
              <a:gd name="connsiteY58" fmla="*/ 8089 h 110081"/>
              <a:gd name="connsiteX59" fmla="*/ 225342 w 605308"/>
              <a:gd name="connsiteY59" fmla="*/ 0 h 110081"/>
              <a:gd name="connsiteX60" fmla="*/ 247938 w 605308"/>
              <a:gd name="connsiteY60" fmla="*/ 5538 h 110081"/>
              <a:gd name="connsiteX61" fmla="*/ 247938 w 605308"/>
              <a:gd name="connsiteY61" fmla="*/ 18855 h 110081"/>
              <a:gd name="connsiteX62" fmla="*/ 225342 w 605308"/>
              <a:gd name="connsiteY62" fmla="*/ 12259 h 110081"/>
              <a:gd name="connsiteX63" fmla="*/ 209842 w 605308"/>
              <a:gd name="connsiteY63" fmla="*/ 17361 h 110081"/>
              <a:gd name="connsiteX64" fmla="*/ 199944 w 605308"/>
              <a:gd name="connsiteY64" fmla="*/ 31238 h 110081"/>
              <a:gd name="connsiteX65" fmla="*/ 195773 w 605308"/>
              <a:gd name="connsiteY65" fmla="*/ 50778 h 110081"/>
              <a:gd name="connsiteX66" fmla="*/ 207165 w 605308"/>
              <a:gd name="connsiteY66" fmla="*/ 40759 h 110081"/>
              <a:gd name="connsiteX67" fmla="*/ 221171 w 605308"/>
              <a:gd name="connsiteY67" fmla="*/ 37523 h 110081"/>
              <a:gd name="connsiteX68" fmla="*/ 238538 w 605308"/>
              <a:gd name="connsiteY68" fmla="*/ 41693 h 110081"/>
              <a:gd name="connsiteX69" fmla="*/ 250739 w 605308"/>
              <a:gd name="connsiteY69" fmla="*/ 53952 h 110081"/>
              <a:gd name="connsiteX70" fmla="*/ 255408 w 605308"/>
              <a:gd name="connsiteY70" fmla="*/ 73491 h 110081"/>
              <a:gd name="connsiteX71" fmla="*/ 219365 w 605308"/>
              <a:gd name="connsiteY71" fmla="*/ 98134 h 110081"/>
              <a:gd name="connsiteX72" fmla="*/ 230135 w 605308"/>
              <a:gd name="connsiteY72" fmla="*/ 95458 h 110081"/>
              <a:gd name="connsiteX73" fmla="*/ 238040 w 605308"/>
              <a:gd name="connsiteY73" fmla="*/ 87244 h 110081"/>
              <a:gd name="connsiteX74" fmla="*/ 241215 w 605308"/>
              <a:gd name="connsiteY74" fmla="*/ 73803 h 110081"/>
              <a:gd name="connsiteX75" fmla="*/ 238227 w 605308"/>
              <a:gd name="connsiteY75" fmla="*/ 60174 h 110081"/>
              <a:gd name="connsiteX76" fmla="*/ 230570 w 605308"/>
              <a:gd name="connsiteY76" fmla="*/ 51961 h 110081"/>
              <a:gd name="connsiteX77" fmla="*/ 220859 w 605308"/>
              <a:gd name="connsiteY77" fmla="*/ 49160 h 110081"/>
              <a:gd name="connsiteX78" fmla="*/ 204301 w 605308"/>
              <a:gd name="connsiteY78" fmla="*/ 55570 h 110081"/>
              <a:gd name="connsiteX79" fmla="*/ 197703 w 605308"/>
              <a:gd name="connsiteY79" fmla="*/ 74114 h 110081"/>
              <a:gd name="connsiteX80" fmla="*/ 203555 w 605308"/>
              <a:gd name="connsiteY80" fmla="*/ 91538 h 110081"/>
              <a:gd name="connsiteX81" fmla="*/ 219365 w 605308"/>
              <a:gd name="connsiteY81" fmla="*/ 98134 h 110081"/>
              <a:gd name="connsiteX82" fmla="*/ 295994 w 605308"/>
              <a:gd name="connsiteY82" fmla="*/ 110082 h 110081"/>
              <a:gd name="connsiteX83" fmla="*/ 267484 w 605308"/>
              <a:gd name="connsiteY83" fmla="*/ 102490 h 110081"/>
              <a:gd name="connsiteX84" fmla="*/ 267484 w 605308"/>
              <a:gd name="connsiteY84" fmla="*/ 87804 h 110081"/>
              <a:gd name="connsiteX85" fmla="*/ 280619 w 605308"/>
              <a:gd name="connsiteY85" fmla="*/ 95458 h 110081"/>
              <a:gd name="connsiteX86" fmla="*/ 295994 w 605308"/>
              <a:gd name="connsiteY86" fmla="*/ 97823 h 110081"/>
              <a:gd name="connsiteX87" fmla="*/ 313050 w 605308"/>
              <a:gd name="connsiteY87" fmla="*/ 91102 h 110081"/>
              <a:gd name="connsiteX88" fmla="*/ 319150 w 605308"/>
              <a:gd name="connsiteY88" fmla="*/ 73491 h 110081"/>
              <a:gd name="connsiteX89" fmla="*/ 313175 w 605308"/>
              <a:gd name="connsiteY89" fmla="*/ 56441 h 110081"/>
              <a:gd name="connsiteX90" fmla="*/ 298110 w 605308"/>
              <a:gd name="connsiteY90" fmla="*/ 51089 h 110081"/>
              <a:gd name="connsiteX91" fmla="*/ 287466 w 605308"/>
              <a:gd name="connsiteY91" fmla="*/ 53329 h 110081"/>
              <a:gd name="connsiteX92" fmla="*/ 281366 w 605308"/>
              <a:gd name="connsiteY92" fmla="*/ 57810 h 110081"/>
              <a:gd name="connsiteX93" fmla="*/ 270472 w 605308"/>
              <a:gd name="connsiteY93" fmla="*/ 57810 h 110081"/>
              <a:gd name="connsiteX94" fmla="*/ 270472 w 605308"/>
              <a:gd name="connsiteY94" fmla="*/ 1493 h 110081"/>
              <a:gd name="connsiteX95" fmla="*/ 328426 w 605308"/>
              <a:gd name="connsiteY95" fmla="*/ 1493 h 110081"/>
              <a:gd name="connsiteX96" fmla="*/ 328426 w 605308"/>
              <a:gd name="connsiteY96" fmla="*/ 14374 h 110081"/>
              <a:gd name="connsiteX97" fmla="*/ 282735 w 605308"/>
              <a:gd name="connsiteY97" fmla="*/ 14374 h 110081"/>
              <a:gd name="connsiteX98" fmla="*/ 282735 w 605308"/>
              <a:gd name="connsiteY98" fmla="*/ 44991 h 110081"/>
              <a:gd name="connsiteX99" fmla="*/ 290018 w 605308"/>
              <a:gd name="connsiteY99" fmla="*/ 41071 h 110081"/>
              <a:gd name="connsiteX100" fmla="*/ 300351 w 605308"/>
              <a:gd name="connsiteY100" fmla="*/ 39266 h 110081"/>
              <a:gd name="connsiteX101" fmla="*/ 317097 w 605308"/>
              <a:gd name="connsiteY101" fmla="*/ 43186 h 110081"/>
              <a:gd name="connsiteX102" fmla="*/ 328862 w 605308"/>
              <a:gd name="connsiteY102" fmla="*/ 54512 h 110081"/>
              <a:gd name="connsiteX103" fmla="*/ 333343 w 605308"/>
              <a:gd name="connsiteY103" fmla="*/ 73181 h 110081"/>
              <a:gd name="connsiteX104" fmla="*/ 328737 w 605308"/>
              <a:gd name="connsiteY104" fmla="*/ 92596 h 110081"/>
              <a:gd name="connsiteX105" fmla="*/ 315851 w 605308"/>
              <a:gd name="connsiteY105" fmla="*/ 105601 h 110081"/>
              <a:gd name="connsiteX106" fmla="*/ 295994 w 605308"/>
              <a:gd name="connsiteY106" fmla="*/ 110082 h 110081"/>
              <a:gd name="connsiteX107" fmla="*/ 378162 w 605308"/>
              <a:gd name="connsiteY107" fmla="*/ 110082 h 110081"/>
              <a:gd name="connsiteX108" fmla="*/ 349590 w 605308"/>
              <a:gd name="connsiteY108" fmla="*/ 102490 h 110081"/>
              <a:gd name="connsiteX109" fmla="*/ 349590 w 605308"/>
              <a:gd name="connsiteY109" fmla="*/ 87804 h 110081"/>
              <a:gd name="connsiteX110" fmla="*/ 362787 w 605308"/>
              <a:gd name="connsiteY110" fmla="*/ 95458 h 110081"/>
              <a:gd name="connsiteX111" fmla="*/ 378162 w 605308"/>
              <a:gd name="connsiteY111" fmla="*/ 97823 h 110081"/>
              <a:gd name="connsiteX112" fmla="*/ 395156 w 605308"/>
              <a:gd name="connsiteY112" fmla="*/ 91102 h 110081"/>
              <a:gd name="connsiteX113" fmla="*/ 401320 w 605308"/>
              <a:gd name="connsiteY113" fmla="*/ 73491 h 110081"/>
              <a:gd name="connsiteX114" fmla="*/ 395343 w 605308"/>
              <a:gd name="connsiteY114" fmla="*/ 56441 h 110081"/>
              <a:gd name="connsiteX115" fmla="*/ 380217 w 605308"/>
              <a:gd name="connsiteY115" fmla="*/ 51089 h 110081"/>
              <a:gd name="connsiteX116" fmla="*/ 369634 w 605308"/>
              <a:gd name="connsiteY116" fmla="*/ 53329 h 110081"/>
              <a:gd name="connsiteX117" fmla="*/ 363534 w 605308"/>
              <a:gd name="connsiteY117" fmla="*/ 57810 h 110081"/>
              <a:gd name="connsiteX118" fmla="*/ 352578 w 605308"/>
              <a:gd name="connsiteY118" fmla="*/ 57810 h 110081"/>
              <a:gd name="connsiteX119" fmla="*/ 352578 w 605308"/>
              <a:gd name="connsiteY119" fmla="*/ 1493 h 110081"/>
              <a:gd name="connsiteX120" fmla="*/ 410595 w 605308"/>
              <a:gd name="connsiteY120" fmla="*/ 1493 h 110081"/>
              <a:gd name="connsiteX121" fmla="*/ 410595 w 605308"/>
              <a:gd name="connsiteY121" fmla="*/ 14374 h 110081"/>
              <a:gd name="connsiteX122" fmla="*/ 364841 w 605308"/>
              <a:gd name="connsiteY122" fmla="*/ 14374 h 110081"/>
              <a:gd name="connsiteX123" fmla="*/ 364841 w 605308"/>
              <a:gd name="connsiteY123" fmla="*/ 44991 h 110081"/>
              <a:gd name="connsiteX124" fmla="*/ 372187 w 605308"/>
              <a:gd name="connsiteY124" fmla="*/ 41071 h 110081"/>
              <a:gd name="connsiteX125" fmla="*/ 382458 w 605308"/>
              <a:gd name="connsiteY125" fmla="*/ 39266 h 110081"/>
              <a:gd name="connsiteX126" fmla="*/ 399203 w 605308"/>
              <a:gd name="connsiteY126" fmla="*/ 43186 h 110081"/>
              <a:gd name="connsiteX127" fmla="*/ 411030 w 605308"/>
              <a:gd name="connsiteY127" fmla="*/ 54512 h 110081"/>
              <a:gd name="connsiteX128" fmla="*/ 415512 w 605308"/>
              <a:gd name="connsiteY128" fmla="*/ 73181 h 110081"/>
              <a:gd name="connsiteX129" fmla="*/ 410843 w 605308"/>
              <a:gd name="connsiteY129" fmla="*/ 92596 h 110081"/>
              <a:gd name="connsiteX130" fmla="*/ 398020 w 605308"/>
              <a:gd name="connsiteY130" fmla="*/ 105601 h 110081"/>
              <a:gd name="connsiteX131" fmla="*/ 378162 w 605308"/>
              <a:gd name="connsiteY131" fmla="*/ 110082 h 110081"/>
              <a:gd name="connsiteX132" fmla="*/ 499423 w 605308"/>
              <a:gd name="connsiteY132" fmla="*/ 13628 h 110081"/>
              <a:gd name="connsiteX133" fmla="*/ 453982 w 605308"/>
              <a:gd name="connsiteY133" fmla="*/ 108588 h 110081"/>
              <a:gd name="connsiteX134" fmla="*/ 439354 w 605308"/>
              <a:gd name="connsiteY134" fmla="*/ 108588 h 110081"/>
              <a:gd name="connsiteX135" fmla="*/ 485106 w 605308"/>
              <a:gd name="connsiteY135" fmla="*/ 14374 h 110081"/>
              <a:gd name="connsiteX136" fmla="*/ 430576 w 605308"/>
              <a:gd name="connsiteY136" fmla="*/ 14374 h 110081"/>
              <a:gd name="connsiteX137" fmla="*/ 430576 w 605308"/>
              <a:gd name="connsiteY137" fmla="*/ 1493 h 110081"/>
              <a:gd name="connsiteX138" fmla="*/ 499423 w 605308"/>
              <a:gd name="connsiteY138" fmla="*/ 1493 h 110081"/>
              <a:gd name="connsiteX139" fmla="*/ 499423 w 605308"/>
              <a:gd name="connsiteY139" fmla="*/ 13628 h 110081"/>
              <a:gd name="connsiteX140" fmla="*/ 518534 w 605308"/>
              <a:gd name="connsiteY140" fmla="*/ 1493 h 110081"/>
              <a:gd name="connsiteX141" fmla="*/ 554514 w 605308"/>
              <a:gd name="connsiteY141" fmla="*/ 1493 h 110081"/>
              <a:gd name="connsiteX142" fmla="*/ 574558 w 605308"/>
              <a:gd name="connsiteY142" fmla="*/ 4044 h 110081"/>
              <a:gd name="connsiteX143" fmla="*/ 590680 w 605308"/>
              <a:gd name="connsiteY143" fmla="*/ 12383 h 110081"/>
              <a:gd name="connsiteX144" fmla="*/ 601449 w 605308"/>
              <a:gd name="connsiteY144" fmla="*/ 27629 h 110081"/>
              <a:gd name="connsiteX145" fmla="*/ 605309 w 605308"/>
              <a:gd name="connsiteY145" fmla="*/ 51401 h 110081"/>
              <a:gd name="connsiteX146" fmla="*/ 598462 w 605308"/>
              <a:gd name="connsiteY146" fmla="*/ 83075 h 110081"/>
              <a:gd name="connsiteX147" fmla="*/ 579911 w 605308"/>
              <a:gd name="connsiteY147" fmla="*/ 102179 h 110081"/>
              <a:gd name="connsiteX148" fmla="*/ 552896 w 605308"/>
              <a:gd name="connsiteY148" fmla="*/ 108588 h 110081"/>
              <a:gd name="connsiteX149" fmla="*/ 518534 w 605308"/>
              <a:gd name="connsiteY149" fmla="*/ 108588 h 110081"/>
              <a:gd name="connsiteX150" fmla="*/ 518534 w 605308"/>
              <a:gd name="connsiteY150" fmla="*/ 1493 h 110081"/>
              <a:gd name="connsiteX151" fmla="*/ 552896 w 605308"/>
              <a:gd name="connsiteY151" fmla="*/ 95893 h 110081"/>
              <a:gd name="connsiteX152" fmla="*/ 572317 w 605308"/>
              <a:gd name="connsiteY152" fmla="*/ 91413 h 110081"/>
              <a:gd name="connsiteX153" fmla="*/ 585327 w 605308"/>
              <a:gd name="connsiteY153" fmla="*/ 77225 h 110081"/>
              <a:gd name="connsiteX154" fmla="*/ 590058 w 605308"/>
              <a:gd name="connsiteY154" fmla="*/ 52458 h 110081"/>
              <a:gd name="connsiteX155" fmla="*/ 585452 w 605308"/>
              <a:gd name="connsiteY155" fmla="*/ 29122 h 110081"/>
              <a:gd name="connsiteX156" fmla="*/ 572753 w 605308"/>
              <a:gd name="connsiteY156" fmla="*/ 17610 h 110081"/>
              <a:gd name="connsiteX157" fmla="*/ 554514 w 605308"/>
              <a:gd name="connsiteY157" fmla="*/ 14374 h 110081"/>
              <a:gd name="connsiteX158" fmla="*/ 532540 w 605308"/>
              <a:gd name="connsiteY158" fmla="*/ 14374 h 110081"/>
              <a:gd name="connsiteX159" fmla="*/ 532540 w 605308"/>
              <a:gd name="connsiteY159" fmla="*/ 95893 h 110081"/>
              <a:gd name="connsiteX160" fmla="*/ 552896 w 605308"/>
              <a:gd name="connsiteY160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60530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8797" y="108588"/>
                </a:moveTo>
                <a:lnTo>
                  <a:pt x="145600" y="108588"/>
                </a:lnTo>
                <a:lnTo>
                  <a:pt x="145600" y="83199"/>
                </a:lnTo>
                <a:lnTo>
                  <a:pt x="99288" y="83199"/>
                </a:lnTo>
                <a:lnTo>
                  <a:pt x="99288" y="73927"/>
                </a:lnTo>
                <a:lnTo>
                  <a:pt x="141119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0" y="71873"/>
                </a:lnTo>
                <a:lnTo>
                  <a:pt x="145600" y="16117"/>
                </a:lnTo>
                <a:lnTo>
                  <a:pt x="112920" y="71873"/>
                </a:lnTo>
                <a:close/>
                <a:moveTo>
                  <a:pt x="255408" y="73491"/>
                </a:moveTo>
                <a:cubicBezTo>
                  <a:pt x="255408" y="80772"/>
                  <a:pt x="253789" y="87182"/>
                  <a:pt x="250614" y="92782"/>
                </a:cubicBezTo>
                <a:cubicBezTo>
                  <a:pt x="247502" y="98258"/>
                  <a:pt x="243269" y="102490"/>
                  <a:pt x="237916" y="105601"/>
                </a:cubicBezTo>
                <a:cubicBezTo>
                  <a:pt x="232562" y="108588"/>
                  <a:pt x="226524" y="110082"/>
                  <a:pt x="219864" y="110082"/>
                </a:cubicBezTo>
                <a:cubicBezTo>
                  <a:pt x="210899" y="110082"/>
                  <a:pt x="203679" y="108091"/>
                  <a:pt x="198201" y="104108"/>
                </a:cubicBezTo>
                <a:cubicBezTo>
                  <a:pt x="192723" y="100125"/>
                  <a:pt x="188677" y="94587"/>
                  <a:pt x="186062" y="87555"/>
                </a:cubicBezTo>
                <a:cubicBezTo>
                  <a:pt x="183572" y="80461"/>
                  <a:pt x="182327" y="72372"/>
                  <a:pt x="182327" y="63161"/>
                </a:cubicBezTo>
                <a:cubicBezTo>
                  <a:pt x="182327" y="50653"/>
                  <a:pt x="183821" y="39639"/>
                  <a:pt x="186809" y="30181"/>
                </a:cubicBezTo>
                <a:cubicBezTo>
                  <a:pt x="189922" y="20722"/>
                  <a:pt x="194590" y="13379"/>
                  <a:pt x="200877" y="8089"/>
                </a:cubicBezTo>
                <a:cubicBezTo>
                  <a:pt x="207227" y="2675"/>
                  <a:pt x="215382" y="0"/>
                  <a:pt x="225342" y="0"/>
                </a:cubicBezTo>
                <a:cubicBezTo>
                  <a:pt x="233932" y="0"/>
                  <a:pt x="241464" y="1866"/>
                  <a:pt x="247938" y="5538"/>
                </a:cubicBezTo>
                <a:lnTo>
                  <a:pt x="247938" y="18855"/>
                </a:lnTo>
                <a:cubicBezTo>
                  <a:pt x="241464" y="14437"/>
                  <a:pt x="233932" y="12259"/>
                  <a:pt x="225342" y="12259"/>
                </a:cubicBezTo>
                <a:cubicBezTo>
                  <a:pt x="219179" y="12259"/>
                  <a:pt x="214012" y="13939"/>
                  <a:pt x="209842" y="17361"/>
                </a:cubicBezTo>
                <a:cubicBezTo>
                  <a:pt x="205671" y="20722"/>
                  <a:pt x="202371" y="25327"/>
                  <a:pt x="199944" y="31238"/>
                </a:cubicBezTo>
                <a:cubicBezTo>
                  <a:pt x="197703" y="37026"/>
                  <a:pt x="196271" y="43498"/>
                  <a:pt x="195773" y="50778"/>
                </a:cubicBezTo>
                <a:cubicBezTo>
                  <a:pt x="199072" y="46298"/>
                  <a:pt x="202870" y="42999"/>
                  <a:pt x="207165" y="40759"/>
                </a:cubicBezTo>
                <a:cubicBezTo>
                  <a:pt x="211398" y="38581"/>
                  <a:pt x="216129" y="37523"/>
                  <a:pt x="221171" y="37523"/>
                </a:cubicBezTo>
                <a:cubicBezTo>
                  <a:pt x="227645" y="37523"/>
                  <a:pt x="233434" y="38893"/>
                  <a:pt x="238538" y="41693"/>
                </a:cubicBezTo>
                <a:cubicBezTo>
                  <a:pt x="243705" y="44493"/>
                  <a:pt x="247751" y="48538"/>
                  <a:pt x="250739" y="53952"/>
                </a:cubicBezTo>
                <a:cubicBezTo>
                  <a:pt x="253851" y="59179"/>
                  <a:pt x="255408" y="65713"/>
                  <a:pt x="255408" y="73491"/>
                </a:cubicBezTo>
                <a:close/>
                <a:moveTo>
                  <a:pt x="219365" y="98134"/>
                </a:moveTo>
                <a:cubicBezTo>
                  <a:pt x="223287" y="98134"/>
                  <a:pt x="226836" y="97263"/>
                  <a:pt x="230135" y="95458"/>
                </a:cubicBezTo>
                <a:cubicBezTo>
                  <a:pt x="233434" y="93529"/>
                  <a:pt x="236048" y="90791"/>
                  <a:pt x="238040" y="87244"/>
                </a:cubicBezTo>
                <a:cubicBezTo>
                  <a:pt x="240157" y="83635"/>
                  <a:pt x="241215" y="79154"/>
                  <a:pt x="241215" y="73803"/>
                </a:cubicBezTo>
                <a:cubicBezTo>
                  <a:pt x="241215" y="68389"/>
                  <a:pt x="240219" y="63908"/>
                  <a:pt x="238227" y="60174"/>
                </a:cubicBezTo>
                <a:cubicBezTo>
                  <a:pt x="236235" y="56503"/>
                  <a:pt x="233683" y="53765"/>
                  <a:pt x="230570" y="51961"/>
                </a:cubicBezTo>
                <a:cubicBezTo>
                  <a:pt x="227520" y="50093"/>
                  <a:pt x="224283" y="49160"/>
                  <a:pt x="220859" y="49160"/>
                </a:cubicBezTo>
                <a:cubicBezTo>
                  <a:pt x="214323" y="49160"/>
                  <a:pt x="208783" y="51276"/>
                  <a:pt x="204301" y="55570"/>
                </a:cubicBezTo>
                <a:cubicBezTo>
                  <a:pt x="199944" y="59739"/>
                  <a:pt x="197703" y="65900"/>
                  <a:pt x="197703" y="74114"/>
                </a:cubicBezTo>
                <a:cubicBezTo>
                  <a:pt x="197703" y="81270"/>
                  <a:pt x="199695" y="87058"/>
                  <a:pt x="203555" y="91538"/>
                </a:cubicBezTo>
                <a:cubicBezTo>
                  <a:pt x="207414" y="95956"/>
                  <a:pt x="212705" y="98134"/>
                  <a:pt x="219365" y="98134"/>
                </a:cubicBezTo>
                <a:close/>
                <a:moveTo>
                  <a:pt x="295994" y="110082"/>
                </a:moveTo>
                <a:cubicBezTo>
                  <a:pt x="284042" y="110082"/>
                  <a:pt x="274518" y="107530"/>
                  <a:pt x="267484" y="102490"/>
                </a:cubicBezTo>
                <a:lnTo>
                  <a:pt x="267484" y="87804"/>
                </a:lnTo>
                <a:cubicBezTo>
                  <a:pt x="271655" y="91226"/>
                  <a:pt x="276012" y="93778"/>
                  <a:pt x="280619" y="95458"/>
                </a:cubicBezTo>
                <a:cubicBezTo>
                  <a:pt x="285225" y="97014"/>
                  <a:pt x="290329" y="97823"/>
                  <a:pt x="295994" y="97823"/>
                </a:cubicBezTo>
                <a:cubicBezTo>
                  <a:pt x="303401" y="97823"/>
                  <a:pt x="309066" y="95583"/>
                  <a:pt x="313050" y="91102"/>
                </a:cubicBezTo>
                <a:cubicBezTo>
                  <a:pt x="317097" y="86621"/>
                  <a:pt x="319150" y="80772"/>
                  <a:pt x="319150" y="73491"/>
                </a:cubicBezTo>
                <a:cubicBezTo>
                  <a:pt x="319150" y="65713"/>
                  <a:pt x="317159" y="60050"/>
                  <a:pt x="313175" y="56441"/>
                </a:cubicBezTo>
                <a:cubicBezTo>
                  <a:pt x="309191" y="52894"/>
                  <a:pt x="304148" y="51089"/>
                  <a:pt x="298110" y="51089"/>
                </a:cubicBezTo>
                <a:cubicBezTo>
                  <a:pt x="293691" y="51089"/>
                  <a:pt x="290205" y="51836"/>
                  <a:pt x="287466" y="53329"/>
                </a:cubicBezTo>
                <a:cubicBezTo>
                  <a:pt x="284789" y="54698"/>
                  <a:pt x="282735" y="56192"/>
                  <a:pt x="281366" y="57810"/>
                </a:cubicBezTo>
                <a:lnTo>
                  <a:pt x="270472" y="57810"/>
                </a:lnTo>
                <a:lnTo>
                  <a:pt x="270472" y="1493"/>
                </a:lnTo>
                <a:lnTo>
                  <a:pt x="328426" y="1493"/>
                </a:lnTo>
                <a:lnTo>
                  <a:pt x="328426" y="14374"/>
                </a:lnTo>
                <a:lnTo>
                  <a:pt x="282735" y="14374"/>
                </a:lnTo>
                <a:lnTo>
                  <a:pt x="282735" y="44991"/>
                </a:lnTo>
                <a:cubicBezTo>
                  <a:pt x="284727" y="43498"/>
                  <a:pt x="287154" y="42190"/>
                  <a:pt x="290018" y="41071"/>
                </a:cubicBezTo>
                <a:cubicBezTo>
                  <a:pt x="292944" y="39888"/>
                  <a:pt x="296367" y="39266"/>
                  <a:pt x="300351" y="39266"/>
                </a:cubicBezTo>
                <a:cubicBezTo>
                  <a:pt x="306514" y="39266"/>
                  <a:pt x="312116" y="40572"/>
                  <a:pt x="317097" y="43186"/>
                </a:cubicBezTo>
                <a:cubicBezTo>
                  <a:pt x="322076" y="45675"/>
                  <a:pt x="325998" y="49471"/>
                  <a:pt x="328862" y="54512"/>
                </a:cubicBezTo>
                <a:cubicBezTo>
                  <a:pt x="331850" y="59490"/>
                  <a:pt x="333343" y="65713"/>
                  <a:pt x="333343" y="73181"/>
                </a:cubicBezTo>
                <a:cubicBezTo>
                  <a:pt x="333343" y="80586"/>
                  <a:pt x="331787" y="87058"/>
                  <a:pt x="328737" y="92596"/>
                </a:cubicBezTo>
                <a:cubicBezTo>
                  <a:pt x="325749" y="98196"/>
                  <a:pt x="321454" y="102490"/>
                  <a:pt x="315851" y="105601"/>
                </a:cubicBezTo>
                <a:cubicBezTo>
                  <a:pt x="310312" y="108588"/>
                  <a:pt x="303651" y="110082"/>
                  <a:pt x="295994" y="110082"/>
                </a:cubicBezTo>
                <a:close/>
                <a:moveTo>
                  <a:pt x="378162" y="110082"/>
                </a:moveTo>
                <a:cubicBezTo>
                  <a:pt x="366211" y="110082"/>
                  <a:pt x="356687" y="107530"/>
                  <a:pt x="349590" y="102490"/>
                </a:cubicBezTo>
                <a:lnTo>
                  <a:pt x="349590" y="87804"/>
                </a:lnTo>
                <a:cubicBezTo>
                  <a:pt x="353824" y="91226"/>
                  <a:pt x="358181" y="93778"/>
                  <a:pt x="362787" y="95458"/>
                </a:cubicBezTo>
                <a:cubicBezTo>
                  <a:pt x="367331" y="97014"/>
                  <a:pt x="372498" y="97823"/>
                  <a:pt x="378162" y="97823"/>
                </a:cubicBezTo>
                <a:cubicBezTo>
                  <a:pt x="385508" y="97823"/>
                  <a:pt x="391173" y="95583"/>
                  <a:pt x="395156" y="91102"/>
                </a:cubicBezTo>
                <a:cubicBezTo>
                  <a:pt x="399265" y="86621"/>
                  <a:pt x="401320" y="80772"/>
                  <a:pt x="401320" y="73491"/>
                </a:cubicBezTo>
                <a:cubicBezTo>
                  <a:pt x="401320" y="65713"/>
                  <a:pt x="399327" y="60050"/>
                  <a:pt x="395343" y="56441"/>
                </a:cubicBezTo>
                <a:cubicBezTo>
                  <a:pt x="391359" y="52894"/>
                  <a:pt x="386317" y="51089"/>
                  <a:pt x="380217" y="51089"/>
                </a:cubicBezTo>
                <a:cubicBezTo>
                  <a:pt x="375859" y="51089"/>
                  <a:pt x="372311" y="51836"/>
                  <a:pt x="369634" y="53329"/>
                </a:cubicBezTo>
                <a:cubicBezTo>
                  <a:pt x="366958" y="54698"/>
                  <a:pt x="364903" y="56192"/>
                  <a:pt x="363534" y="57810"/>
                </a:cubicBezTo>
                <a:lnTo>
                  <a:pt x="352578" y="57810"/>
                </a:lnTo>
                <a:lnTo>
                  <a:pt x="352578" y="1493"/>
                </a:lnTo>
                <a:lnTo>
                  <a:pt x="410595" y="1493"/>
                </a:lnTo>
                <a:lnTo>
                  <a:pt x="410595" y="14374"/>
                </a:lnTo>
                <a:lnTo>
                  <a:pt x="364841" y="14374"/>
                </a:lnTo>
                <a:lnTo>
                  <a:pt x="364841" y="44991"/>
                </a:lnTo>
                <a:cubicBezTo>
                  <a:pt x="366833" y="43498"/>
                  <a:pt x="369261" y="42190"/>
                  <a:pt x="372187" y="41071"/>
                </a:cubicBezTo>
                <a:cubicBezTo>
                  <a:pt x="375050" y="39888"/>
                  <a:pt x="378474" y="39266"/>
                  <a:pt x="382458" y="39266"/>
                </a:cubicBezTo>
                <a:cubicBezTo>
                  <a:pt x="388683" y="39266"/>
                  <a:pt x="394223" y="40572"/>
                  <a:pt x="399203" y="43186"/>
                </a:cubicBezTo>
                <a:cubicBezTo>
                  <a:pt x="404183" y="45675"/>
                  <a:pt x="408104" y="49471"/>
                  <a:pt x="411030" y="54512"/>
                </a:cubicBezTo>
                <a:cubicBezTo>
                  <a:pt x="414018" y="59490"/>
                  <a:pt x="415512" y="65713"/>
                  <a:pt x="415512" y="73181"/>
                </a:cubicBezTo>
                <a:cubicBezTo>
                  <a:pt x="415512" y="80586"/>
                  <a:pt x="413956" y="87058"/>
                  <a:pt x="410843" y="92596"/>
                </a:cubicBezTo>
                <a:cubicBezTo>
                  <a:pt x="407855" y="98196"/>
                  <a:pt x="403623" y="102490"/>
                  <a:pt x="398020" y="105601"/>
                </a:cubicBezTo>
                <a:cubicBezTo>
                  <a:pt x="392418" y="108588"/>
                  <a:pt x="385819" y="110082"/>
                  <a:pt x="378162" y="110082"/>
                </a:cubicBezTo>
                <a:close/>
                <a:moveTo>
                  <a:pt x="499423" y="13628"/>
                </a:moveTo>
                <a:lnTo>
                  <a:pt x="453982" y="108588"/>
                </a:lnTo>
                <a:lnTo>
                  <a:pt x="439354" y="108588"/>
                </a:lnTo>
                <a:lnTo>
                  <a:pt x="485106" y="14374"/>
                </a:lnTo>
                <a:lnTo>
                  <a:pt x="430576" y="14374"/>
                </a:lnTo>
                <a:lnTo>
                  <a:pt x="430576" y="1493"/>
                </a:lnTo>
                <a:lnTo>
                  <a:pt x="499423" y="1493"/>
                </a:lnTo>
                <a:lnTo>
                  <a:pt x="499423" y="13628"/>
                </a:lnTo>
                <a:close/>
                <a:moveTo>
                  <a:pt x="518534" y="1493"/>
                </a:moveTo>
                <a:lnTo>
                  <a:pt x="554514" y="1493"/>
                </a:lnTo>
                <a:cubicBezTo>
                  <a:pt x="561672" y="1493"/>
                  <a:pt x="568396" y="2365"/>
                  <a:pt x="574558" y="4044"/>
                </a:cubicBezTo>
                <a:cubicBezTo>
                  <a:pt x="580721" y="5725"/>
                  <a:pt x="586074" y="8525"/>
                  <a:pt x="590680" y="12383"/>
                </a:cubicBezTo>
                <a:cubicBezTo>
                  <a:pt x="595287" y="16179"/>
                  <a:pt x="598835" y="21282"/>
                  <a:pt x="601449" y="27629"/>
                </a:cubicBezTo>
                <a:cubicBezTo>
                  <a:pt x="604002" y="34039"/>
                  <a:pt x="605309" y="41942"/>
                  <a:pt x="605309" y="51401"/>
                </a:cubicBezTo>
                <a:cubicBezTo>
                  <a:pt x="605309" y="63908"/>
                  <a:pt x="603006" y="74487"/>
                  <a:pt x="598462" y="83075"/>
                </a:cubicBezTo>
                <a:cubicBezTo>
                  <a:pt x="593980" y="91538"/>
                  <a:pt x="587817" y="97885"/>
                  <a:pt x="579911" y="102179"/>
                </a:cubicBezTo>
                <a:cubicBezTo>
                  <a:pt x="572068" y="106473"/>
                  <a:pt x="563042" y="108588"/>
                  <a:pt x="552896" y="108588"/>
                </a:cubicBezTo>
                <a:lnTo>
                  <a:pt x="518534" y="108588"/>
                </a:lnTo>
                <a:lnTo>
                  <a:pt x="518534" y="1493"/>
                </a:lnTo>
                <a:close/>
                <a:moveTo>
                  <a:pt x="552896" y="95893"/>
                </a:moveTo>
                <a:cubicBezTo>
                  <a:pt x="560241" y="95893"/>
                  <a:pt x="566715" y="94400"/>
                  <a:pt x="572317" y="91413"/>
                </a:cubicBezTo>
                <a:cubicBezTo>
                  <a:pt x="577858" y="88302"/>
                  <a:pt x="582215" y="83572"/>
                  <a:pt x="585327" y="77225"/>
                </a:cubicBezTo>
                <a:cubicBezTo>
                  <a:pt x="588502" y="70754"/>
                  <a:pt x="590058" y="62477"/>
                  <a:pt x="590058" y="52458"/>
                </a:cubicBezTo>
                <a:cubicBezTo>
                  <a:pt x="590058" y="42377"/>
                  <a:pt x="588564" y="34599"/>
                  <a:pt x="585452" y="29122"/>
                </a:cubicBezTo>
                <a:cubicBezTo>
                  <a:pt x="582339" y="23646"/>
                  <a:pt x="578106" y="19851"/>
                  <a:pt x="572753" y="17610"/>
                </a:cubicBezTo>
                <a:cubicBezTo>
                  <a:pt x="567462" y="15433"/>
                  <a:pt x="561424" y="14374"/>
                  <a:pt x="554514" y="14374"/>
                </a:cubicBezTo>
                <a:lnTo>
                  <a:pt x="532540" y="14374"/>
                </a:lnTo>
                <a:lnTo>
                  <a:pt x="532540" y="95893"/>
                </a:lnTo>
                <a:lnTo>
                  <a:pt x="552896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8" name="Полилиния 1717">
            <a:extLst>
              <a:ext uri="{FF2B5EF4-FFF2-40B4-BE49-F238E27FC236}">
                <a16:creationId xmlns:a16="http://schemas.microsoft.com/office/drawing/2014/main" id="{2CE73D72-84CF-CC6F-6990-D9E68C114428}"/>
              </a:ext>
            </a:extLst>
          </p:cNvPr>
          <p:cNvSpPr/>
          <p:nvPr/>
        </p:nvSpPr>
        <p:spPr>
          <a:xfrm>
            <a:off x="1444111" y="8137848"/>
            <a:ext cx="2556000" cy="726227"/>
          </a:xfrm>
          <a:custGeom>
            <a:avLst/>
            <a:gdLst>
              <a:gd name="connsiteX0" fmla="*/ 1488 w 2191162"/>
              <a:gd name="connsiteY0" fmla="*/ 1422 h 622284"/>
              <a:gd name="connsiteX1" fmla="*/ 2192651 w 2191162"/>
              <a:gd name="connsiteY1" fmla="*/ 1422 h 622284"/>
              <a:gd name="connsiteX2" fmla="*/ 2192651 w 2191162"/>
              <a:gd name="connsiteY2" fmla="*/ 623706 h 622284"/>
              <a:gd name="connsiteX3" fmla="*/ 1488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422"/>
                </a:moveTo>
                <a:lnTo>
                  <a:pt x="2192651" y="1422"/>
                </a:lnTo>
                <a:lnTo>
                  <a:pt x="2192651" y="623706"/>
                </a:lnTo>
                <a:lnTo>
                  <a:pt x="1488" y="623706"/>
                </a:lnTo>
                <a:close/>
              </a:path>
            </a:pathLst>
          </a:custGeom>
          <a:solidFill>
            <a:srgbClr val="6E82A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9" name="Полилиния 1718">
            <a:extLst>
              <a:ext uri="{FF2B5EF4-FFF2-40B4-BE49-F238E27FC236}">
                <a16:creationId xmlns:a16="http://schemas.microsoft.com/office/drawing/2014/main" id="{C59C9607-9AA8-1B69-773F-5F54B4B8A30E}"/>
              </a:ext>
            </a:extLst>
          </p:cNvPr>
          <p:cNvSpPr/>
          <p:nvPr/>
        </p:nvSpPr>
        <p:spPr>
          <a:xfrm>
            <a:off x="1578549" y="8439337"/>
            <a:ext cx="743988" cy="129012"/>
          </a:xfrm>
          <a:custGeom>
            <a:avLst/>
            <a:gdLst>
              <a:gd name="connsiteX0" fmla="*/ 22099 w 634814"/>
              <a:gd name="connsiteY0" fmla="*/ 108588 h 110081"/>
              <a:gd name="connsiteX1" fmla="*/ 10147 w 634814"/>
              <a:gd name="connsiteY1" fmla="*/ 108588 h 110081"/>
              <a:gd name="connsiteX2" fmla="*/ 16434 w 634814"/>
              <a:gd name="connsiteY2" fmla="*/ 77661 h 110081"/>
              <a:gd name="connsiteX3" fmla="*/ 0 w 634814"/>
              <a:gd name="connsiteY3" fmla="*/ 77661 h 110081"/>
              <a:gd name="connsiteX4" fmla="*/ 0 w 634814"/>
              <a:gd name="connsiteY4" fmla="*/ 67206 h 110081"/>
              <a:gd name="connsiteX5" fmla="*/ 18675 w 634814"/>
              <a:gd name="connsiteY5" fmla="*/ 67206 h 110081"/>
              <a:gd name="connsiteX6" fmla="*/ 24215 w 634814"/>
              <a:gd name="connsiteY6" fmla="*/ 40012 h 110081"/>
              <a:gd name="connsiteX7" fmla="*/ 4046 w 634814"/>
              <a:gd name="connsiteY7" fmla="*/ 40012 h 110081"/>
              <a:gd name="connsiteX8" fmla="*/ 4046 w 634814"/>
              <a:gd name="connsiteY8" fmla="*/ 29559 h 110081"/>
              <a:gd name="connsiteX9" fmla="*/ 26270 w 634814"/>
              <a:gd name="connsiteY9" fmla="*/ 29559 h 110081"/>
              <a:gd name="connsiteX10" fmla="*/ 32121 w 634814"/>
              <a:gd name="connsiteY10" fmla="*/ 1493 h 110081"/>
              <a:gd name="connsiteX11" fmla="*/ 44073 w 634814"/>
              <a:gd name="connsiteY11" fmla="*/ 1493 h 110081"/>
              <a:gd name="connsiteX12" fmla="*/ 38221 w 634814"/>
              <a:gd name="connsiteY12" fmla="*/ 29559 h 110081"/>
              <a:gd name="connsiteX13" fmla="*/ 60630 w 634814"/>
              <a:gd name="connsiteY13" fmla="*/ 29559 h 110081"/>
              <a:gd name="connsiteX14" fmla="*/ 66482 w 634814"/>
              <a:gd name="connsiteY14" fmla="*/ 1493 h 110081"/>
              <a:gd name="connsiteX15" fmla="*/ 78434 w 634814"/>
              <a:gd name="connsiteY15" fmla="*/ 1493 h 110081"/>
              <a:gd name="connsiteX16" fmla="*/ 72582 w 634814"/>
              <a:gd name="connsiteY16" fmla="*/ 29559 h 110081"/>
              <a:gd name="connsiteX17" fmla="*/ 89328 w 634814"/>
              <a:gd name="connsiteY17" fmla="*/ 29559 h 110081"/>
              <a:gd name="connsiteX18" fmla="*/ 89328 w 634814"/>
              <a:gd name="connsiteY18" fmla="*/ 40012 h 110081"/>
              <a:gd name="connsiteX19" fmla="*/ 70529 w 634814"/>
              <a:gd name="connsiteY19" fmla="*/ 40012 h 110081"/>
              <a:gd name="connsiteX20" fmla="*/ 64988 w 634814"/>
              <a:gd name="connsiteY20" fmla="*/ 67206 h 110081"/>
              <a:gd name="connsiteX21" fmla="*/ 85282 w 634814"/>
              <a:gd name="connsiteY21" fmla="*/ 67206 h 110081"/>
              <a:gd name="connsiteX22" fmla="*/ 85282 w 634814"/>
              <a:gd name="connsiteY22" fmla="*/ 77661 h 110081"/>
              <a:gd name="connsiteX23" fmla="*/ 62747 w 634814"/>
              <a:gd name="connsiteY23" fmla="*/ 77661 h 110081"/>
              <a:gd name="connsiteX24" fmla="*/ 56460 w 634814"/>
              <a:gd name="connsiteY24" fmla="*/ 108588 h 110081"/>
              <a:gd name="connsiteX25" fmla="*/ 44508 w 634814"/>
              <a:gd name="connsiteY25" fmla="*/ 108588 h 110081"/>
              <a:gd name="connsiteX26" fmla="*/ 50795 w 634814"/>
              <a:gd name="connsiteY26" fmla="*/ 77661 h 110081"/>
              <a:gd name="connsiteX27" fmla="*/ 28386 w 634814"/>
              <a:gd name="connsiteY27" fmla="*/ 77661 h 110081"/>
              <a:gd name="connsiteX28" fmla="*/ 22099 w 634814"/>
              <a:gd name="connsiteY28" fmla="*/ 108588 h 110081"/>
              <a:gd name="connsiteX29" fmla="*/ 30627 w 634814"/>
              <a:gd name="connsiteY29" fmla="*/ 67206 h 110081"/>
              <a:gd name="connsiteX30" fmla="*/ 53036 w 634814"/>
              <a:gd name="connsiteY30" fmla="*/ 67206 h 110081"/>
              <a:gd name="connsiteX31" fmla="*/ 58576 w 634814"/>
              <a:gd name="connsiteY31" fmla="*/ 40012 h 110081"/>
              <a:gd name="connsiteX32" fmla="*/ 36167 w 634814"/>
              <a:gd name="connsiteY32" fmla="*/ 40012 h 110081"/>
              <a:gd name="connsiteX33" fmla="*/ 30627 w 634814"/>
              <a:gd name="connsiteY33" fmla="*/ 67206 h 110081"/>
              <a:gd name="connsiteX34" fmla="*/ 173239 w 634814"/>
              <a:gd name="connsiteY34" fmla="*/ 73491 h 110081"/>
              <a:gd name="connsiteX35" fmla="*/ 168508 w 634814"/>
              <a:gd name="connsiteY35" fmla="*/ 92782 h 110081"/>
              <a:gd name="connsiteX36" fmla="*/ 155809 w 634814"/>
              <a:gd name="connsiteY36" fmla="*/ 105601 h 110081"/>
              <a:gd name="connsiteX37" fmla="*/ 137695 w 634814"/>
              <a:gd name="connsiteY37" fmla="*/ 110082 h 110081"/>
              <a:gd name="connsiteX38" fmla="*/ 116032 w 634814"/>
              <a:gd name="connsiteY38" fmla="*/ 104108 h 110081"/>
              <a:gd name="connsiteX39" fmla="*/ 103956 w 634814"/>
              <a:gd name="connsiteY39" fmla="*/ 87555 h 110081"/>
              <a:gd name="connsiteX40" fmla="*/ 100221 w 634814"/>
              <a:gd name="connsiteY40" fmla="*/ 63161 h 110081"/>
              <a:gd name="connsiteX41" fmla="*/ 104703 w 634814"/>
              <a:gd name="connsiteY41" fmla="*/ 30181 h 110081"/>
              <a:gd name="connsiteX42" fmla="*/ 118709 w 634814"/>
              <a:gd name="connsiteY42" fmla="*/ 8089 h 110081"/>
              <a:gd name="connsiteX43" fmla="*/ 143235 w 634814"/>
              <a:gd name="connsiteY43" fmla="*/ 0 h 110081"/>
              <a:gd name="connsiteX44" fmla="*/ 165769 w 634814"/>
              <a:gd name="connsiteY44" fmla="*/ 5538 h 110081"/>
              <a:gd name="connsiteX45" fmla="*/ 165769 w 634814"/>
              <a:gd name="connsiteY45" fmla="*/ 18855 h 110081"/>
              <a:gd name="connsiteX46" fmla="*/ 143235 w 634814"/>
              <a:gd name="connsiteY46" fmla="*/ 12259 h 110081"/>
              <a:gd name="connsiteX47" fmla="*/ 127673 w 634814"/>
              <a:gd name="connsiteY47" fmla="*/ 17361 h 110081"/>
              <a:gd name="connsiteX48" fmla="*/ 117838 w 634814"/>
              <a:gd name="connsiteY48" fmla="*/ 31238 h 110081"/>
              <a:gd name="connsiteX49" fmla="*/ 113667 w 634814"/>
              <a:gd name="connsiteY49" fmla="*/ 50778 h 110081"/>
              <a:gd name="connsiteX50" fmla="*/ 124996 w 634814"/>
              <a:gd name="connsiteY50" fmla="*/ 40759 h 110081"/>
              <a:gd name="connsiteX51" fmla="*/ 139065 w 634814"/>
              <a:gd name="connsiteY51" fmla="*/ 37523 h 110081"/>
              <a:gd name="connsiteX52" fmla="*/ 156369 w 634814"/>
              <a:gd name="connsiteY52" fmla="*/ 41693 h 110081"/>
              <a:gd name="connsiteX53" fmla="*/ 168633 w 634814"/>
              <a:gd name="connsiteY53" fmla="*/ 53952 h 110081"/>
              <a:gd name="connsiteX54" fmla="*/ 173239 w 634814"/>
              <a:gd name="connsiteY54" fmla="*/ 73491 h 110081"/>
              <a:gd name="connsiteX55" fmla="*/ 137259 w 634814"/>
              <a:gd name="connsiteY55" fmla="*/ 98134 h 110081"/>
              <a:gd name="connsiteX56" fmla="*/ 148028 w 634814"/>
              <a:gd name="connsiteY56" fmla="*/ 95458 h 110081"/>
              <a:gd name="connsiteX57" fmla="*/ 155934 w 634814"/>
              <a:gd name="connsiteY57" fmla="*/ 87244 h 110081"/>
              <a:gd name="connsiteX58" fmla="*/ 159046 w 634814"/>
              <a:gd name="connsiteY58" fmla="*/ 73803 h 110081"/>
              <a:gd name="connsiteX59" fmla="*/ 156059 w 634814"/>
              <a:gd name="connsiteY59" fmla="*/ 60174 h 110081"/>
              <a:gd name="connsiteX60" fmla="*/ 148464 w 634814"/>
              <a:gd name="connsiteY60" fmla="*/ 51961 h 110081"/>
              <a:gd name="connsiteX61" fmla="*/ 138753 w 634814"/>
              <a:gd name="connsiteY61" fmla="*/ 49160 h 110081"/>
              <a:gd name="connsiteX62" fmla="*/ 122195 w 634814"/>
              <a:gd name="connsiteY62" fmla="*/ 55570 h 110081"/>
              <a:gd name="connsiteX63" fmla="*/ 115597 w 634814"/>
              <a:gd name="connsiteY63" fmla="*/ 74114 h 110081"/>
              <a:gd name="connsiteX64" fmla="*/ 121448 w 634814"/>
              <a:gd name="connsiteY64" fmla="*/ 91538 h 110081"/>
              <a:gd name="connsiteX65" fmla="*/ 137259 w 634814"/>
              <a:gd name="connsiteY65" fmla="*/ 98134 h 110081"/>
              <a:gd name="connsiteX66" fmla="*/ 189984 w 634814"/>
              <a:gd name="connsiteY66" fmla="*/ 1493 h 110081"/>
              <a:gd name="connsiteX67" fmla="*/ 256279 w 634814"/>
              <a:gd name="connsiteY67" fmla="*/ 1493 h 110081"/>
              <a:gd name="connsiteX68" fmla="*/ 256279 w 634814"/>
              <a:gd name="connsiteY68" fmla="*/ 14374 h 110081"/>
              <a:gd name="connsiteX69" fmla="*/ 203990 w 634814"/>
              <a:gd name="connsiteY69" fmla="*/ 14374 h 110081"/>
              <a:gd name="connsiteX70" fmla="*/ 203990 w 634814"/>
              <a:gd name="connsiteY70" fmla="*/ 46734 h 110081"/>
              <a:gd name="connsiteX71" fmla="*/ 248373 w 634814"/>
              <a:gd name="connsiteY71" fmla="*/ 46734 h 110081"/>
              <a:gd name="connsiteX72" fmla="*/ 248373 w 634814"/>
              <a:gd name="connsiteY72" fmla="*/ 59428 h 110081"/>
              <a:gd name="connsiteX73" fmla="*/ 203990 w 634814"/>
              <a:gd name="connsiteY73" fmla="*/ 59428 h 110081"/>
              <a:gd name="connsiteX74" fmla="*/ 203990 w 634814"/>
              <a:gd name="connsiteY74" fmla="*/ 95893 h 110081"/>
              <a:gd name="connsiteX75" fmla="*/ 257026 w 634814"/>
              <a:gd name="connsiteY75" fmla="*/ 95893 h 110081"/>
              <a:gd name="connsiteX76" fmla="*/ 257026 w 634814"/>
              <a:gd name="connsiteY76" fmla="*/ 108588 h 110081"/>
              <a:gd name="connsiteX77" fmla="*/ 189984 w 634814"/>
              <a:gd name="connsiteY77" fmla="*/ 108588 h 110081"/>
              <a:gd name="connsiteX78" fmla="*/ 189984 w 634814"/>
              <a:gd name="connsiteY78" fmla="*/ 1493 h 110081"/>
              <a:gd name="connsiteX79" fmla="*/ 308257 w 634814"/>
              <a:gd name="connsiteY79" fmla="*/ 110082 h 110081"/>
              <a:gd name="connsiteX80" fmla="*/ 289582 w 634814"/>
              <a:gd name="connsiteY80" fmla="*/ 106473 h 110081"/>
              <a:gd name="connsiteX81" fmla="*/ 276883 w 634814"/>
              <a:gd name="connsiteY81" fmla="*/ 96205 h 110081"/>
              <a:gd name="connsiteX82" fmla="*/ 272215 w 634814"/>
              <a:gd name="connsiteY82" fmla="*/ 79777 h 110081"/>
              <a:gd name="connsiteX83" fmla="*/ 277631 w 634814"/>
              <a:gd name="connsiteY83" fmla="*/ 62291 h 110081"/>
              <a:gd name="connsiteX84" fmla="*/ 292384 w 634814"/>
              <a:gd name="connsiteY84" fmla="*/ 51711 h 110081"/>
              <a:gd name="connsiteX85" fmla="*/ 280432 w 634814"/>
              <a:gd name="connsiteY85" fmla="*/ 42564 h 110081"/>
              <a:gd name="connsiteX86" fmla="*/ 276136 w 634814"/>
              <a:gd name="connsiteY86" fmla="*/ 27504 h 110081"/>
              <a:gd name="connsiteX87" fmla="*/ 280307 w 634814"/>
              <a:gd name="connsiteY87" fmla="*/ 12570 h 110081"/>
              <a:gd name="connsiteX88" fmla="*/ 291823 w 634814"/>
              <a:gd name="connsiteY88" fmla="*/ 3298 h 110081"/>
              <a:gd name="connsiteX89" fmla="*/ 308257 w 634814"/>
              <a:gd name="connsiteY89" fmla="*/ 186 h 110081"/>
              <a:gd name="connsiteX90" fmla="*/ 324379 w 634814"/>
              <a:gd name="connsiteY90" fmla="*/ 3298 h 110081"/>
              <a:gd name="connsiteX91" fmla="*/ 335709 w 634814"/>
              <a:gd name="connsiteY91" fmla="*/ 12259 h 110081"/>
              <a:gd name="connsiteX92" fmla="*/ 340066 w 634814"/>
              <a:gd name="connsiteY92" fmla="*/ 27194 h 110081"/>
              <a:gd name="connsiteX93" fmla="*/ 335584 w 634814"/>
              <a:gd name="connsiteY93" fmla="*/ 42439 h 110081"/>
              <a:gd name="connsiteX94" fmla="*/ 323757 w 634814"/>
              <a:gd name="connsiteY94" fmla="*/ 51711 h 110081"/>
              <a:gd name="connsiteX95" fmla="*/ 338137 w 634814"/>
              <a:gd name="connsiteY95" fmla="*/ 61855 h 110081"/>
              <a:gd name="connsiteX96" fmla="*/ 343615 w 634814"/>
              <a:gd name="connsiteY96" fmla="*/ 79341 h 110081"/>
              <a:gd name="connsiteX97" fmla="*/ 339008 w 634814"/>
              <a:gd name="connsiteY97" fmla="*/ 95893 h 110081"/>
              <a:gd name="connsiteX98" fmla="*/ 326309 w 634814"/>
              <a:gd name="connsiteY98" fmla="*/ 106473 h 110081"/>
              <a:gd name="connsiteX99" fmla="*/ 308257 w 634814"/>
              <a:gd name="connsiteY99" fmla="*/ 110082 h 110081"/>
              <a:gd name="connsiteX100" fmla="*/ 308257 w 634814"/>
              <a:gd name="connsiteY100" fmla="*/ 46298 h 110081"/>
              <a:gd name="connsiteX101" fmla="*/ 321205 w 634814"/>
              <a:gd name="connsiteY101" fmla="*/ 41817 h 110081"/>
              <a:gd name="connsiteX102" fmla="*/ 326434 w 634814"/>
              <a:gd name="connsiteY102" fmla="*/ 29122 h 110081"/>
              <a:gd name="connsiteX103" fmla="*/ 321205 w 634814"/>
              <a:gd name="connsiteY103" fmla="*/ 16615 h 110081"/>
              <a:gd name="connsiteX104" fmla="*/ 308257 w 634814"/>
              <a:gd name="connsiteY104" fmla="*/ 11947 h 110081"/>
              <a:gd name="connsiteX105" fmla="*/ 294936 w 634814"/>
              <a:gd name="connsiteY105" fmla="*/ 16615 h 110081"/>
              <a:gd name="connsiteX106" fmla="*/ 289707 w 634814"/>
              <a:gd name="connsiteY106" fmla="*/ 29122 h 110081"/>
              <a:gd name="connsiteX107" fmla="*/ 294936 w 634814"/>
              <a:gd name="connsiteY107" fmla="*/ 41817 h 110081"/>
              <a:gd name="connsiteX108" fmla="*/ 308257 w 634814"/>
              <a:gd name="connsiteY108" fmla="*/ 46298 h 110081"/>
              <a:gd name="connsiteX109" fmla="*/ 308257 w 634814"/>
              <a:gd name="connsiteY109" fmla="*/ 98258 h 110081"/>
              <a:gd name="connsiteX110" fmla="*/ 323632 w 634814"/>
              <a:gd name="connsiteY110" fmla="*/ 92907 h 110081"/>
              <a:gd name="connsiteX111" fmla="*/ 329919 w 634814"/>
              <a:gd name="connsiteY111" fmla="*/ 77536 h 110081"/>
              <a:gd name="connsiteX112" fmla="*/ 323632 w 634814"/>
              <a:gd name="connsiteY112" fmla="*/ 62291 h 110081"/>
              <a:gd name="connsiteX113" fmla="*/ 308257 w 634814"/>
              <a:gd name="connsiteY113" fmla="*/ 56752 h 110081"/>
              <a:gd name="connsiteX114" fmla="*/ 292259 w 634814"/>
              <a:gd name="connsiteY114" fmla="*/ 62291 h 110081"/>
              <a:gd name="connsiteX115" fmla="*/ 285972 w 634814"/>
              <a:gd name="connsiteY115" fmla="*/ 77536 h 110081"/>
              <a:gd name="connsiteX116" fmla="*/ 292259 w 634814"/>
              <a:gd name="connsiteY116" fmla="*/ 92907 h 110081"/>
              <a:gd name="connsiteX117" fmla="*/ 308257 w 634814"/>
              <a:gd name="connsiteY117" fmla="*/ 98258 h 110081"/>
              <a:gd name="connsiteX118" fmla="*/ 424414 w 634814"/>
              <a:gd name="connsiteY118" fmla="*/ 108588 h 110081"/>
              <a:gd name="connsiteX119" fmla="*/ 356189 w 634814"/>
              <a:gd name="connsiteY119" fmla="*/ 108588 h 110081"/>
              <a:gd name="connsiteX120" fmla="*/ 356189 w 634814"/>
              <a:gd name="connsiteY120" fmla="*/ 94400 h 110081"/>
              <a:gd name="connsiteX121" fmla="*/ 382333 w 634814"/>
              <a:gd name="connsiteY121" fmla="*/ 72433 h 110081"/>
              <a:gd name="connsiteX122" fmla="*/ 398269 w 634814"/>
              <a:gd name="connsiteY122" fmla="*/ 56628 h 110081"/>
              <a:gd name="connsiteX123" fmla="*/ 406361 w 634814"/>
              <a:gd name="connsiteY123" fmla="*/ 43933 h 110081"/>
              <a:gd name="connsiteX124" fmla="*/ 408727 w 634814"/>
              <a:gd name="connsiteY124" fmla="*/ 32109 h 110081"/>
              <a:gd name="connsiteX125" fmla="*/ 403249 w 634814"/>
              <a:gd name="connsiteY125" fmla="*/ 17610 h 110081"/>
              <a:gd name="connsiteX126" fmla="*/ 387998 w 634814"/>
              <a:gd name="connsiteY126" fmla="*/ 12383 h 110081"/>
              <a:gd name="connsiteX127" fmla="*/ 358990 w 634814"/>
              <a:gd name="connsiteY127" fmla="*/ 27194 h 110081"/>
              <a:gd name="connsiteX128" fmla="*/ 358990 w 634814"/>
              <a:gd name="connsiteY128" fmla="*/ 12134 h 110081"/>
              <a:gd name="connsiteX129" fmla="*/ 388434 w 634814"/>
              <a:gd name="connsiteY129" fmla="*/ 0 h 110081"/>
              <a:gd name="connsiteX130" fmla="*/ 413831 w 634814"/>
              <a:gd name="connsiteY130" fmla="*/ 8401 h 110081"/>
              <a:gd name="connsiteX131" fmla="*/ 423231 w 634814"/>
              <a:gd name="connsiteY131" fmla="*/ 30803 h 110081"/>
              <a:gd name="connsiteX132" fmla="*/ 420865 w 634814"/>
              <a:gd name="connsiteY132" fmla="*/ 44804 h 110081"/>
              <a:gd name="connsiteX133" fmla="*/ 412773 w 634814"/>
              <a:gd name="connsiteY133" fmla="*/ 58681 h 110081"/>
              <a:gd name="connsiteX134" fmla="*/ 397086 w 634814"/>
              <a:gd name="connsiteY134" fmla="*/ 74860 h 110081"/>
              <a:gd name="connsiteX135" fmla="*/ 371689 w 634814"/>
              <a:gd name="connsiteY135" fmla="*/ 95769 h 110081"/>
              <a:gd name="connsiteX136" fmla="*/ 424414 w 634814"/>
              <a:gd name="connsiteY136" fmla="*/ 95769 h 110081"/>
              <a:gd name="connsiteX137" fmla="*/ 424414 w 634814"/>
              <a:gd name="connsiteY137" fmla="*/ 108588 h 110081"/>
              <a:gd name="connsiteX138" fmla="*/ 531357 w 634814"/>
              <a:gd name="connsiteY138" fmla="*/ 108588 h 110081"/>
              <a:gd name="connsiteX139" fmla="*/ 516418 w 634814"/>
              <a:gd name="connsiteY139" fmla="*/ 108588 h 110081"/>
              <a:gd name="connsiteX140" fmla="*/ 505400 w 634814"/>
              <a:gd name="connsiteY140" fmla="*/ 77972 h 110081"/>
              <a:gd name="connsiteX141" fmla="*/ 458028 w 634814"/>
              <a:gd name="connsiteY141" fmla="*/ 77972 h 110081"/>
              <a:gd name="connsiteX142" fmla="*/ 447135 w 634814"/>
              <a:gd name="connsiteY142" fmla="*/ 108588 h 110081"/>
              <a:gd name="connsiteX143" fmla="*/ 434000 w 634814"/>
              <a:gd name="connsiteY143" fmla="*/ 108588 h 110081"/>
              <a:gd name="connsiteX144" fmla="*/ 472097 w 634814"/>
              <a:gd name="connsiteY144" fmla="*/ 1493 h 110081"/>
              <a:gd name="connsiteX145" fmla="*/ 493012 w 634814"/>
              <a:gd name="connsiteY145" fmla="*/ 1493 h 110081"/>
              <a:gd name="connsiteX146" fmla="*/ 531357 w 634814"/>
              <a:gd name="connsiteY146" fmla="*/ 108588 h 110081"/>
              <a:gd name="connsiteX147" fmla="*/ 462635 w 634814"/>
              <a:gd name="connsiteY147" fmla="*/ 65278 h 110081"/>
              <a:gd name="connsiteX148" fmla="*/ 500918 w 634814"/>
              <a:gd name="connsiteY148" fmla="*/ 65278 h 110081"/>
              <a:gd name="connsiteX149" fmla="*/ 481807 w 634814"/>
              <a:gd name="connsiteY149" fmla="*/ 11947 h 110081"/>
              <a:gd name="connsiteX150" fmla="*/ 462635 w 634814"/>
              <a:gd name="connsiteY150" fmla="*/ 65278 h 110081"/>
              <a:gd name="connsiteX151" fmla="*/ 634815 w 634814"/>
              <a:gd name="connsiteY151" fmla="*/ 108588 h 110081"/>
              <a:gd name="connsiteX152" fmla="*/ 619876 w 634814"/>
              <a:gd name="connsiteY152" fmla="*/ 108588 h 110081"/>
              <a:gd name="connsiteX153" fmla="*/ 608795 w 634814"/>
              <a:gd name="connsiteY153" fmla="*/ 77972 h 110081"/>
              <a:gd name="connsiteX154" fmla="*/ 561486 w 634814"/>
              <a:gd name="connsiteY154" fmla="*/ 77972 h 110081"/>
              <a:gd name="connsiteX155" fmla="*/ 550530 w 634814"/>
              <a:gd name="connsiteY155" fmla="*/ 108588 h 110081"/>
              <a:gd name="connsiteX156" fmla="*/ 537396 w 634814"/>
              <a:gd name="connsiteY156" fmla="*/ 108588 h 110081"/>
              <a:gd name="connsiteX157" fmla="*/ 575492 w 634814"/>
              <a:gd name="connsiteY157" fmla="*/ 1493 h 110081"/>
              <a:gd name="connsiteX158" fmla="*/ 596408 w 634814"/>
              <a:gd name="connsiteY158" fmla="*/ 1493 h 110081"/>
              <a:gd name="connsiteX159" fmla="*/ 634815 w 634814"/>
              <a:gd name="connsiteY159" fmla="*/ 108588 h 110081"/>
              <a:gd name="connsiteX160" fmla="*/ 566092 w 634814"/>
              <a:gd name="connsiteY160" fmla="*/ 65278 h 110081"/>
              <a:gd name="connsiteX161" fmla="*/ 604313 w 634814"/>
              <a:gd name="connsiteY161" fmla="*/ 65278 h 110081"/>
              <a:gd name="connsiteX162" fmla="*/ 585202 w 634814"/>
              <a:gd name="connsiteY162" fmla="*/ 11947 h 110081"/>
              <a:gd name="connsiteX163" fmla="*/ 566092 w 634814"/>
              <a:gd name="connsiteY163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634814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3239" y="73491"/>
                </a:moveTo>
                <a:cubicBezTo>
                  <a:pt x="173239" y="80772"/>
                  <a:pt x="171683" y="87182"/>
                  <a:pt x="168508" y="92782"/>
                </a:cubicBezTo>
                <a:cubicBezTo>
                  <a:pt x="165396" y="98258"/>
                  <a:pt x="161163" y="102490"/>
                  <a:pt x="155809" y="105601"/>
                </a:cubicBezTo>
                <a:cubicBezTo>
                  <a:pt x="150394" y="108588"/>
                  <a:pt x="144356" y="110082"/>
                  <a:pt x="137695" y="110082"/>
                </a:cubicBezTo>
                <a:cubicBezTo>
                  <a:pt x="128731" y="110082"/>
                  <a:pt x="121510" y="108091"/>
                  <a:pt x="116032" y="104108"/>
                </a:cubicBezTo>
                <a:cubicBezTo>
                  <a:pt x="110554" y="100125"/>
                  <a:pt x="106508" y="94587"/>
                  <a:pt x="103956" y="87555"/>
                </a:cubicBezTo>
                <a:cubicBezTo>
                  <a:pt x="101466" y="80461"/>
                  <a:pt x="100221" y="72372"/>
                  <a:pt x="100221" y="63161"/>
                </a:cubicBezTo>
                <a:cubicBezTo>
                  <a:pt x="100221" y="50653"/>
                  <a:pt x="101715" y="39639"/>
                  <a:pt x="104703" y="30181"/>
                </a:cubicBezTo>
                <a:cubicBezTo>
                  <a:pt x="107753" y="20722"/>
                  <a:pt x="112484" y="13379"/>
                  <a:pt x="118709" y="8089"/>
                </a:cubicBezTo>
                <a:cubicBezTo>
                  <a:pt x="125121" y="2675"/>
                  <a:pt x="133275" y="0"/>
                  <a:pt x="143235" y="0"/>
                </a:cubicBezTo>
                <a:cubicBezTo>
                  <a:pt x="151825" y="0"/>
                  <a:pt x="159296" y="1866"/>
                  <a:pt x="165769" y="5538"/>
                </a:cubicBezTo>
                <a:lnTo>
                  <a:pt x="165769" y="18855"/>
                </a:lnTo>
                <a:cubicBezTo>
                  <a:pt x="159296" y="14437"/>
                  <a:pt x="151825" y="12259"/>
                  <a:pt x="143235" y="12259"/>
                </a:cubicBezTo>
                <a:cubicBezTo>
                  <a:pt x="137072" y="12259"/>
                  <a:pt x="131906" y="13939"/>
                  <a:pt x="127673" y="17361"/>
                </a:cubicBezTo>
                <a:cubicBezTo>
                  <a:pt x="123502" y="20722"/>
                  <a:pt x="120203" y="25327"/>
                  <a:pt x="117838" y="31238"/>
                </a:cubicBezTo>
                <a:cubicBezTo>
                  <a:pt x="115534" y="37026"/>
                  <a:pt x="114165" y="43498"/>
                  <a:pt x="113667" y="50778"/>
                </a:cubicBezTo>
                <a:cubicBezTo>
                  <a:pt x="116966" y="46298"/>
                  <a:pt x="120701" y="42999"/>
                  <a:pt x="124996" y="40759"/>
                </a:cubicBezTo>
                <a:cubicBezTo>
                  <a:pt x="129291" y="38581"/>
                  <a:pt x="133960" y="37523"/>
                  <a:pt x="139065" y="37523"/>
                </a:cubicBezTo>
                <a:cubicBezTo>
                  <a:pt x="145538" y="37523"/>
                  <a:pt x="151328" y="38893"/>
                  <a:pt x="156369" y="41693"/>
                </a:cubicBezTo>
                <a:cubicBezTo>
                  <a:pt x="161536" y="44493"/>
                  <a:pt x="165644" y="48538"/>
                  <a:pt x="168633" y="53952"/>
                </a:cubicBezTo>
                <a:cubicBezTo>
                  <a:pt x="171745" y="59179"/>
                  <a:pt x="173239" y="65713"/>
                  <a:pt x="173239" y="73491"/>
                </a:cubicBezTo>
                <a:close/>
                <a:moveTo>
                  <a:pt x="137259" y="98134"/>
                </a:moveTo>
                <a:cubicBezTo>
                  <a:pt x="141119" y="98134"/>
                  <a:pt x="144729" y="97263"/>
                  <a:pt x="148028" y="95458"/>
                </a:cubicBezTo>
                <a:cubicBezTo>
                  <a:pt x="151328" y="93529"/>
                  <a:pt x="153942" y="90791"/>
                  <a:pt x="155934" y="87244"/>
                </a:cubicBezTo>
                <a:cubicBezTo>
                  <a:pt x="158050" y="83635"/>
                  <a:pt x="159046" y="79154"/>
                  <a:pt x="159046" y="73803"/>
                </a:cubicBezTo>
                <a:cubicBezTo>
                  <a:pt x="159046" y="68389"/>
                  <a:pt x="158050" y="63908"/>
                  <a:pt x="156059" y="60174"/>
                </a:cubicBezTo>
                <a:cubicBezTo>
                  <a:pt x="154066" y="56503"/>
                  <a:pt x="151577" y="53765"/>
                  <a:pt x="148464" y="51961"/>
                </a:cubicBezTo>
                <a:cubicBezTo>
                  <a:pt x="145352" y="50093"/>
                  <a:pt x="142115" y="49160"/>
                  <a:pt x="138753" y="49160"/>
                </a:cubicBezTo>
                <a:cubicBezTo>
                  <a:pt x="132154" y="49160"/>
                  <a:pt x="126677" y="51276"/>
                  <a:pt x="122195" y="55570"/>
                </a:cubicBezTo>
                <a:cubicBezTo>
                  <a:pt x="117775" y="59739"/>
                  <a:pt x="115597" y="65900"/>
                  <a:pt x="115597" y="74114"/>
                </a:cubicBezTo>
                <a:cubicBezTo>
                  <a:pt x="115597" y="81270"/>
                  <a:pt x="117526" y="87058"/>
                  <a:pt x="121448" y="91538"/>
                </a:cubicBezTo>
                <a:cubicBezTo>
                  <a:pt x="125307" y="95956"/>
                  <a:pt x="130598" y="98134"/>
                  <a:pt x="137259" y="98134"/>
                </a:cubicBezTo>
                <a:close/>
                <a:moveTo>
                  <a:pt x="189984" y="1493"/>
                </a:moveTo>
                <a:lnTo>
                  <a:pt x="256279" y="1493"/>
                </a:lnTo>
                <a:lnTo>
                  <a:pt x="256279" y="14374"/>
                </a:lnTo>
                <a:lnTo>
                  <a:pt x="203990" y="14374"/>
                </a:lnTo>
                <a:lnTo>
                  <a:pt x="203990" y="46734"/>
                </a:lnTo>
                <a:lnTo>
                  <a:pt x="248373" y="46734"/>
                </a:lnTo>
                <a:lnTo>
                  <a:pt x="248373" y="59428"/>
                </a:lnTo>
                <a:lnTo>
                  <a:pt x="203990" y="59428"/>
                </a:lnTo>
                <a:lnTo>
                  <a:pt x="203990" y="95893"/>
                </a:lnTo>
                <a:lnTo>
                  <a:pt x="257026" y="95893"/>
                </a:lnTo>
                <a:lnTo>
                  <a:pt x="257026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8257" y="110082"/>
                </a:moveTo>
                <a:cubicBezTo>
                  <a:pt x="301285" y="110082"/>
                  <a:pt x="295060" y="108900"/>
                  <a:pt x="289582" y="106473"/>
                </a:cubicBezTo>
                <a:cubicBezTo>
                  <a:pt x="284167" y="104108"/>
                  <a:pt x="279934" y="100685"/>
                  <a:pt x="276883" y="96205"/>
                </a:cubicBezTo>
                <a:cubicBezTo>
                  <a:pt x="273771" y="91600"/>
                  <a:pt x="272215" y="86124"/>
                  <a:pt x="272215" y="79777"/>
                </a:cubicBezTo>
                <a:cubicBezTo>
                  <a:pt x="272215" y="72869"/>
                  <a:pt x="274020" y="67082"/>
                  <a:pt x="277631" y="62291"/>
                </a:cubicBezTo>
                <a:cubicBezTo>
                  <a:pt x="281303" y="57437"/>
                  <a:pt x="286221" y="53889"/>
                  <a:pt x="292384" y="51711"/>
                </a:cubicBezTo>
                <a:cubicBezTo>
                  <a:pt x="287404" y="49720"/>
                  <a:pt x="283420" y="46671"/>
                  <a:pt x="280432" y="42564"/>
                </a:cubicBezTo>
                <a:cubicBezTo>
                  <a:pt x="277569" y="38519"/>
                  <a:pt x="276136" y="33479"/>
                  <a:pt x="276136" y="27504"/>
                </a:cubicBezTo>
                <a:cubicBezTo>
                  <a:pt x="276136" y="21593"/>
                  <a:pt x="277506" y="16615"/>
                  <a:pt x="280307" y="12570"/>
                </a:cubicBezTo>
                <a:cubicBezTo>
                  <a:pt x="283108" y="8463"/>
                  <a:pt x="286906" y="5414"/>
                  <a:pt x="291823" y="3298"/>
                </a:cubicBezTo>
                <a:cubicBezTo>
                  <a:pt x="296679" y="1182"/>
                  <a:pt x="302157" y="186"/>
                  <a:pt x="308257" y="186"/>
                </a:cubicBezTo>
                <a:cubicBezTo>
                  <a:pt x="314233" y="186"/>
                  <a:pt x="319587" y="1182"/>
                  <a:pt x="324379" y="3298"/>
                </a:cubicBezTo>
                <a:cubicBezTo>
                  <a:pt x="329172" y="5289"/>
                  <a:pt x="332907" y="8276"/>
                  <a:pt x="335709" y="12259"/>
                </a:cubicBezTo>
                <a:cubicBezTo>
                  <a:pt x="338634" y="16242"/>
                  <a:pt x="340066" y="21219"/>
                  <a:pt x="340066" y="27194"/>
                </a:cubicBezTo>
                <a:cubicBezTo>
                  <a:pt x="340066" y="33292"/>
                  <a:pt x="338572" y="38332"/>
                  <a:pt x="335584" y="42439"/>
                </a:cubicBezTo>
                <a:cubicBezTo>
                  <a:pt x="332596" y="46484"/>
                  <a:pt x="328675" y="49596"/>
                  <a:pt x="323757" y="51711"/>
                </a:cubicBezTo>
                <a:cubicBezTo>
                  <a:pt x="329733" y="53765"/>
                  <a:pt x="334526" y="57188"/>
                  <a:pt x="338137" y="61855"/>
                </a:cubicBezTo>
                <a:cubicBezTo>
                  <a:pt x="341809" y="66522"/>
                  <a:pt x="343615" y="72372"/>
                  <a:pt x="343615" y="79341"/>
                </a:cubicBezTo>
                <a:cubicBezTo>
                  <a:pt x="343615" y="85688"/>
                  <a:pt x="342121" y="91226"/>
                  <a:pt x="339008" y="95893"/>
                </a:cubicBezTo>
                <a:cubicBezTo>
                  <a:pt x="335896" y="100498"/>
                  <a:pt x="331663" y="103983"/>
                  <a:pt x="326309" y="106473"/>
                </a:cubicBezTo>
                <a:cubicBezTo>
                  <a:pt x="321018" y="108900"/>
                  <a:pt x="314980" y="110082"/>
                  <a:pt x="308257" y="110082"/>
                </a:cubicBezTo>
                <a:close/>
                <a:moveTo>
                  <a:pt x="308257" y="46298"/>
                </a:moveTo>
                <a:cubicBezTo>
                  <a:pt x="313486" y="46298"/>
                  <a:pt x="317844" y="44804"/>
                  <a:pt x="321205" y="41817"/>
                </a:cubicBezTo>
                <a:cubicBezTo>
                  <a:pt x="324691" y="38768"/>
                  <a:pt x="326434" y="34536"/>
                  <a:pt x="326434" y="29122"/>
                </a:cubicBezTo>
                <a:cubicBezTo>
                  <a:pt x="326434" y="23771"/>
                  <a:pt x="324691" y="19601"/>
                  <a:pt x="321205" y="16615"/>
                </a:cubicBezTo>
                <a:cubicBezTo>
                  <a:pt x="317844" y="13503"/>
                  <a:pt x="313486" y="11947"/>
                  <a:pt x="308257" y="11947"/>
                </a:cubicBezTo>
                <a:cubicBezTo>
                  <a:pt x="302966" y="11947"/>
                  <a:pt x="298546" y="13503"/>
                  <a:pt x="294936" y="16615"/>
                </a:cubicBezTo>
                <a:cubicBezTo>
                  <a:pt x="291450" y="19601"/>
                  <a:pt x="289707" y="23771"/>
                  <a:pt x="289707" y="29122"/>
                </a:cubicBezTo>
                <a:cubicBezTo>
                  <a:pt x="289707" y="34536"/>
                  <a:pt x="291450" y="38768"/>
                  <a:pt x="294936" y="41817"/>
                </a:cubicBezTo>
                <a:cubicBezTo>
                  <a:pt x="298546" y="44804"/>
                  <a:pt x="302966" y="46298"/>
                  <a:pt x="308257" y="46298"/>
                </a:cubicBezTo>
                <a:close/>
                <a:moveTo>
                  <a:pt x="308257" y="98258"/>
                </a:moveTo>
                <a:cubicBezTo>
                  <a:pt x="314420" y="98258"/>
                  <a:pt x="319524" y="96516"/>
                  <a:pt x="323632" y="92907"/>
                </a:cubicBezTo>
                <a:cubicBezTo>
                  <a:pt x="327803" y="89235"/>
                  <a:pt x="329919" y="84071"/>
                  <a:pt x="329919" y="77536"/>
                </a:cubicBezTo>
                <a:cubicBezTo>
                  <a:pt x="329919" y="70940"/>
                  <a:pt x="327803" y="65900"/>
                  <a:pt x="323632" y="62291"/>
                </a:cubicBezTo>
                <a:cubicBezTo>
                  <a:pt x="319524" y="58619"/>
                  <a:pt x="314420" y="56752"/>
                  <a:pt x="308257" y="56752"/>
                </a:cubicBezTo>
                <a:cubicBezTo>
                  <a:pt x="301845" y="56752"/>
                  <a:pt x="296554" y="58619"/>
                  <a:pt x="292259" y="62291"/>
                </a:cubicBezTo>
                <a:cubicBezTo>
                  <a:pt x="288088" y="65900"/>
                  <a:pt x="285972" y="70940"/>
                  <a:pt x="285972" y="77536"/>
                </a:cubicBezTo>
                <a:cubicBezTo>
                  <a:pt x="285972" y="84071"/>
                  <a:pt x="288088" y="89235"/>
                  <a:pt x="292259" y="92907"/>
                </a:cubicBezTo>
                <a:cubicBezTo>
                  <a:pt x="296554" y="96516"/>
                  <a:pt x="301845" y="98258"/>
                  <a:pt x="308257" y="98258"/>
                </a:cubicBezTo>
                <a:close/>
                <a:moveTo>
                  <a:pt x="424414" y="108588"/>
                </a:moveTo>
                <a:lnTo>
                  <a:pt x="356189" y="108588"/>
                </a:lnTo>
                <a:lnTo>
                  <a:pt x="356189" y="94400"/>
                </a:lnTo>
                <a:cubicBezTo>
                  <a:pt x="366833" y="85812"/>
                  <a:pt x="375548" y="78532"/>
                  <a:pt x="382333" y="72433"/>
                </a:cubicBezTo>
                <a:cubicBezTo>
                  <a:pt x="389181" y="66397"/>
                  <a:pt x="394534" y="61108"/>
                  <a:pt x="398269" y="56628"/>
                </a:cubicBezTo>
                <a:cubicBezTo>
                  <a:pt x="402190" y="52023"/>
                  <a:pt x="404867" y="47791"/>
                  <a:pt x="406361" y="43933"/>
                </a:cubicBezTo>
                <a:cubicBezTo>
                  <a:pt x="407980" y="40012"/>
                  <a:pt x="408727" y="36092"/>
                  <a:pt x="408727" y="32109"/>
                </a:cubicBezTo>
                <a:cubicBezTo>
                  <a:pt x="408727" y="25949"/>
                  <a:pt x="406921" y="21095"/>
                  <a:pt x="403249" y="17610"/>
                </a:cubicBezTo>
                <a:cubicBezTo>
                  <a:pt x="399514" y="14125"/>
                  <a:pt x="394472" y="12383"/>
                  <a:pt x="387998" y="12383"/>
                </a:cubicBezTo>
                <a:cubicBezTo>
                  <a:pt x="377602" y="12383"/>
                  <a:pt x="367953" y="17361"/>
                  <a:pt x="358990" y="27194"/>
                </a:cubicBezTo>
                <a:lnTo>
                  <a:pt x="358990" y="12134"/>
                </a:lnTo>
                <a:cubicBezTo>
                  <a:pt x="367269" y="4044"/>
                  <a:pt x="377105" y="0"/>
                  <a:pt x="388434" y="0"/>
                </a:cubicBezTo>
                <a:cubicBezTo>
                  <a:pt x="399203" y="0"/>
                  <a:pt x="407668" y="2800"/>
                  <a:pt x="413831" y="8401"/>
                </a:cubicBezTo>
                <a:cubicBezTo>
                  <a:pt x="420118" y="13877"/>
                  <a:pt x="423231" y="21344"/>
                  <a:pt x="423231" y="30803"/>
                </a:cubicBezTo>
                <a:cubicBezTo>
                  <a:pt x="423231" y="35657"/>
                  <a:pt x="422421" y="40324"/>
                  <a:pt x="420865" y="44804"/>
                </a:cubicBezTo>
                <a:cubicBezTo>
                  <a:pt x="419371" y="49222"/>
                  <a:pt x="416695" y="53827"/>
                  <a:pt x="412773" y="58681"/>
                </a:cubicBezTo>
                <a:cubicBezTo>
                  <a:pt x="408976" y="63473"/>
                  <a:pt x="403747" y="68887"/>
                  <a:pt x="397086" y="74860"/>
                </a:cubicBezTo>
                <a:cubicBezTo>
                  <a:pt x="390426" y="80835"/>
                  <a:pt x="381959" y="87804"/>
                  <a:pt x="371689" y="95769"/>
                </a:cubicBezTo>
                <a:lnTo>
                  <a:pt x="424414" y="95769"/>
                </a:lnTo>
                <a:lnTo>
                  <a:pt x="424414" y="108588"/>
                </a:lnTo>
                <a:close/>
                <a:moveTo>
                  <a:pt x="531357" y="108588"/>
                </a:moveTo>
                <a:lnTo>
                  <a:pt x="516418" y="108588"/>
                </a:lnTo>
                <a:lnTo>
                  <a:pt x="505400" y="77972"/>
                </a:lnTo>
                <a:lnTo>
                  <a:pt x="458028" y="77972"/>
                </a:lnTo>
                <a:lnTo>
                  <a:pt x="447135" y="108588"/>
                </a:lnTo>
                <a:lnTo>
                  <a:pt x="434000" y="108588"/>
                </a:lnTo>
                <a:lnTo>
                  <a:pt x="472097" y="1493"/>
                </a:lnTo>
                <a:lnTo>
                  <a:pt x="493012" y="1493"/>
                </a:lnTo>
                <a:lnTo>
                  <a:pt x="531357" y="108588"/>
                </a:lnTo>
                <a:close/>
                <a:moveTo>
                  <a:pt x="462635" y="65278"/>
                </a:moveTo>
                <a:lnTo>
                  <a:pt x="500918" y="65278"/>
                </a:lnTo>
                <a:lnTo>
                  <a:pt x="481807" y="11947"/>
                </a:lnTo>
                <a:lnTo>
                  <a:pt x="462635" y="65278"/>
                </a:lnTo>
                <a:close/>
                <a:moveTo>
                  <a:pt x="634815" y="108588"/>
                </a:moveTo>
                <a:lnTo>
                  <a:pt x="619876" y="108588"/>
                </a:lnTo>
                <a:lnTo>
                  <a:pt x="608795" y="77972"/>
                </a:lnTo>
                <a:lnTo>
                  <a:pt x="561486" y="77972"/>
                </a:lnTo>
                <a:lnTo>
                  <a:pt x="550530" y="108588"/>
                </a:lnTo>
                <a:lnTo>
                  <a:pt x="537396" y="108588"/>
                </a:lnTo>
                <a:lnTo>
                  <a:pt x="575492" y="1493"/>
                </a:lnTo>
                <a:lnTo>
                  <a:pt x="596408" y="1493"/>
                </a:lnTo>
                <a:lnTo>
                  <a:pt x="634815" y="108588"/>
                </a:lnTo>
                <a:close/>
                <a:moveTo>
                  <a:pt x="566092" y="65278"/>
                </a:moveTo>
                <a:lnTo>
                  <a:pt x="604313" y="65278"/>
                </a:lnTo>
                <a:lnTo>
                  <a:pt x="585202" y="11947"/>
                </a:lnTo>
                <a:lnTo>
                  <a:pt x="566092" y="6527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2" name="Полилиния 1721">
            <a:extLst>
              <a:ext uri="{FF2B5EF4-FFF2-40B4-BE49-F238E27FC236}">
                <a16:creationId xmlns:a16="http://schemas.microsoft.com/office/drawing/2014/main" id="{372D483F-C2EB-9E90-7B5C-8D5DC45296B2}"/>
              </a:ext>
            </a:extLst>
          </p:cNvPr>
          <p:cNvSpPr/>
          <p:nvPr/>
        </p:nvSpPr>
        <p:spPr>
          <a:xfrm>
            <a:off x="1444111" y="9584143"/>
            <a:ext cx="2556000" cy="726227"/>
          </a:xfrm>
          <a:custGeom>
            <a:avLst/>
            <a:gdLst>
              <a:gd name="connsiteX0" fmla="*/ 1488 w 2191162"/>
              <a:gd name="connsiteY0" fmla="*/ 1622 h 622284"/>
              <a:gd name="connsiteX1" fmla="*/ 2192651 w 2191162"/>
              <a:gd name="connsiteY1" fmla="*/ 1622 h 622284"/>
              <a:gd name="connsiteX2" fmla="*/ 2192651 w 2191162"/>
              <a:gd name="connsiteY2" fmla="*/ 623906 h 622284"/>
              <a:gd name="connsiteX3" fmla="*/ 1488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622"/>
                </a:moveTo>
                <a:lnTo>
                  <a:pt x="2192651" y="1622"/>
                </a:lnTo>
                <a:lnTo>
                  <a:pt x="2192651" y="623906"/>
                </a:lnTo>
                <a:lnTo>
                  <a:pt x="1488" y="623906"/>
                </a:lnTo>
                <a:close/>
              </a:path>
            </a:pathLst>
          </a:custGeom>
          <a:solidFill>
            <a:srgbClr val="A0AF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3" name="Полилиния 1722">
            <a:extLst>
              <a:ext uri="{FF2B5EF4-FFF2-40B4-BE49-F238E27FC236}">
                <a16:creationId xmlns:a16="http://schemas.microsoft.com/office/drawing/2014/main" id="{5C705053-573B-0875-DFDD-9187E82C7E22}"/>
              </a:ext>
            </a:extLst>
          </p:cNvPr>
          <p:cNvSpPr/>
          <p:nvPr/>
        </p:nvSpPr>
        <p:spPr>
          <a:xfrm>
            <a:off x="1578549" y="9885848"/>
            <a:ext cx="748000" cy="128794"/>
          </a:xfrm>
          <a:custGeom>
            <a:avLst/>
            <a:gdLst>
              <a:gd name="connsiteX0" fmla="*/ 22099 w 638238"/>
              <a:gd name="connsiteY0" fmla="*/ 108402 h 109895"/>
              <a:gd name="connsiteX1" fmla="*/ 10147 w 638238"/>
              <a:gd name="connsiteY1" fmla="*/ 108402 h 109895"/>
              <a:gd name="connsiteX2" fmla="*/ 16434 w 638238"/>
              <a:gd name="connsiteY2" fmla="*/ 77475 h 109895"/>
              <a:gd name="connsiteX3" fmla="*/ 0 w 638238"/>
              <a:gd name="connsiteY3" fmla="*/ 77475 h 109895"/>
              <a:gd name="connsiteX4" fmla="*/ 0 w 638238"/>
              <a:gd name="connsiteY4" fmla="*/ 67020 h 109895"/>
              <a:gd name="connsiteX5" fmla="*/ 18675 w 638238"/>
              <a:gd name="connsiteY5" fmla="*/ 67020 h 109895"/>
              <a:gd name="connsiteX6" fmla="*/ 24215 w 638238"/>
              <a:gd name="connsiteY6" fmla="*/ 39826 h 109895"/>
              <a:gd name="connsiteX7" fmla="*/ 4046 w 638238"/>
              <a:gd name="connsiteY7" fmla="*/ 39826 h 109895"/>
              <a:gd name="connsiteX8" fmla="*/ 4046 w 638238"/>
              <a:gd name="connsiteY8" fmla="*/ 29372 h 109895"/>
              <a:gd name="connsiteX9" fmla="*/ 26270 w 638238"/>
              <a:gd name="connsiteY9" fmla="*/ 29372 h 109895"/>
              <a:gd name="connsiteX10" fmla="*/ 32121 w 638238"/>
              <a:gd name="connsiteY10" fmla="*/ 1307 h 109895"/>
              <a:gd name="connsiteX11" fmla="*/ 44073 w 638238"/>
              <a:gd name="connsiteY11" fmla="*/ 1307 h 109895"/>
              <a:gd name="connsiteX12" fmla="*/ 38221 w 638238"/>
              <a:gd name="connsiteY12" fmla="*/ 29372 h 109895"/>
              <a:gd name="connsiteX13" fmla="*/ 60630 w 638238"/>
              <a:gd name="connsiteY13" fmla="*/ 29372 h 109895"/>
              <a:gd name="connsiteX14" fmla="*/ 66482 w 638238"/>
              <a:gd name="connsiteY14" fmla="*/ 1307 h 109895"/>
              <a:gd name="connsiteX15" fmla="*/ 78434 w 638238"/>
              <a:gd name="connsiteY15" fmla="*/ 1307 h 109895"/>
              <a:gd name="connsiteX16" fmla="*/ 72582 w 638238"/>
              <a:gd name="connsiteY16" fmla="*/ 29372 h 109895"/>
              <a:gd name="connsiteX17" fmla="*/ 89328 w 638238"/>
              <a:gd name="connsiteY17" fmla="*/ 29372 h 109895"/>
              <a:gd name="connsiteX18" fmla="*/ 89328 w 638238"/>
              <a:gd name="connsiteY18" fmla="*/ 39826 h 109895"/>
              <a:gd name="connsiteX19" fmla="*/ 70529 w 638238"/>
              <a:gd name="connsiteY19" fmla="*/ 39826 h 109895"/>
              <a:gd name="connsiteX20" fmla="*/ 64988 w 638238"/>
              <a:gd name="connsiteY20" fmla="*/ 67020 h 109895"/>
              <a:gd name="connsiteX21" fmla="*/ 85282 w 638238"/>
              <a:gd name="connsiteY21" fmla="*/ 67020 h 109895"/>
              <a:gd name="connsiteX22" fmla="*/ 85282 w 638238"/>
              <a:gd name="connsiteY22" fmla="*/ 77475 h 109895"/>
              <a:gd name="connsiteX23" fmla="*/ 62747 w 638238"/>
              <a:gd name="connsiteY23" fmla="*/ 77475 h 109895"/>
              <a:gd name="connsiteX24" fmla="*/ 56460 w 638238"/>
              <a:gd name="connsiteY24" fmla="*/ 108402 h 109895"/>
              <a:gd name="connsiteX25" fmla="*/ 44508 w 638238"/>
              <a:gd name="connsiteY25" fmla="*/ 108402 h 109895"/>
              <a:gd name="connsiteX26" fmla="*/ 50795 w 638238"/>
              <a:gd name="connsiteY26" fmla="*/ 77475 h 109895"/>
              <a:gd name="connsiteX27" fmla="*/ 28386 w 638238"/>
              <a:gd name="connsiteY27" fmla="*/ 77475 h 109895"/>
              <a:gd name="connsiteX28" fmla="*/ 22099 w 638238"/>
              <a:gd name="connsiteY28" fmla="*/ 108402 h 109895"/>
              <a:gd name="connsiteX29" fmla="*/ 30627 w 638238"/>
              <a:gd name="connsiteY29" fmla="*/ 67020 h 109895"/>
              <a:gd name="connsiteX30" fmla="*/ 53036 w 638238"/>
              <a:gd name="connsiteY30" fmla="*/ 67020 h 109895"/>
              <a:gd name="connsiteX31" fmla="*/ 58576 w 638238"/>
              <a:gd name="connsiteY31" fmla="*/ 39826 h 109895"/>
              <a:gd name="connsiteX32" fmla="*/ 36167 w 638238"/>
              <a:gd name="connsiteY32" fmla="*/ 39826 h 109895"/>
              <a:gd name="connsiteX33" fmla="*/ 30627 w 638238"/>
              <a:gd name="connsiteY33" fmla="*/ 67020 h 109895"/>
              <a:gd name="connsiteX34" fmla="*/ 189673 w 638238"/>
              <a:gd name="connsiteY34" fmla="*/ 108402 h 109895"/>
              <a:gd name="connsiteX35" fmla="*/ 174733 w 638238"/>
              <a:gd name="connsiteY35" fmla="*/ 108402 h 109895"/>
              <a:gd name="connsiteX36" fmla="*/ 163715 w 638238"/>
              <a:gd name="connsiteY36" fmla="*/ 77786 h 109895"/>
              <a:gd name="connsiteX37" fmla="*/ 116344 w 638238"/>
              <a:gd name="connsiteY37" fmla="*/ 77786 h 109895"/>
              <a:gd name="connsiteX38" fmla="*/ 105450 w 638238"/>
              <a:gd name="connsiteY38" fmla="*/ 108402 h 109895"/>
              <a:gd name="connsiteX39" fmla="*/ 92253 w 638238"/>
              <a:gd name="connsiteY39" fmla="*/ 108402 h 109895"/>
              <a:gd name="connsiteX40" fmla="*/ 130350 w 638238"/>
              <a:gd name="connsiteY40" fmla="*/ 1307 h 109895"/>
              <a:gd name="connsiteX41" fmla="*/ 151265 w 638238"/>
              <a:gd name="connsiteY41" fmla="*/ 1307 h 109895"/>
              <a:gd name="connsiteX42" fmla="*/ 189673 w 638238"/>
              <a:gd name="connsiteY42" fmla="*/ 108402 h 109895"/>
              <a:gd name="connsiteX43" fmla="*/ 120950 w 638238"/>
              <a:gd name="connsiteY43" fmla="*/ 65091 h 109895"/>
              <a:gd name="connsiteX44" fmla="*/ 159233 w 638238"/>
              <a:gd name="connsiteY44" fmla="*/ 65091 h 109895"/>
              <a:gd name="connsiteX45" fmla="*/ 140060 w 638238"/>
              <a:gd name="connsiteY45" fmla="*/ 11761 h 109895"/>
              <a:gd name="connsiteX46" fmla="*/ 120950 w 638238"/>
              <a:gd name="connsiteY46" fmla="*/ 65091 h 109895"/>
              <a:gd name="connsiteX47" fmla="*/ 234118 w 638238"/>
              <a:gd name="connsiteY47" fmla="*/ 109896 h 109895"/>
              <a:gd name="connsiteX48" fmla="*/ 215880 w 638238"/>
              <a:gd name="connsiteY48" fmla="*/ 104047 h 109895"/>
              <a:gd name="connsiteX49" fmla="*/ 203181 w 638238"/>
              <a:gd name="connsiteY49" fmla="*/ 86125 h 109895"/>
              <a:gd name="connsiteX50" fmla="*/ 198699 w 638238"/>
              <a:gd name="connsiteY50" fmla="*/ 54761 h 109895"/>
              <a:gd name="connsiteX51" fmla="*/ 203181 w 638238"/>
              <a:gd name="connsiteY51" fmla="*/ 23398 h 109895"/>
              <a:gd name="connsiteX52" fmla="*/ 215880 w 638238"/>
              <a:gd name="connsiteY52" fmla="*/ 5663 h 109895"/>
              <a:gd name="connsiteX53" fmla="*/ 234118 w 638238"/>
              <a:gd name="connsiteY53" fmla="*/ 0 h 109895"/>
              <a:gd name="connsiteX54" fmla="*/ 252171 w 638238"/>
              <a:gd name="connsiteY54" fmla="*/ 5663 h 109895"/>
              <a:gd name="connsiteX55" fmla="*/ 264620 w 638238"/>
              <a:gd name="connsiteY55" fmla="*/ 23398 h 109895"/>
              <a:gd name="connsiteX56" fmla="*/ 269102 w 638238"/>
              <a:gd name="connsiteY56" fmla="*/ 54512 h 109895"/>
              <a:gd name="connsiteX57" fmla="*/ 264620 w 638238"/>
              <a:gd name="connsiteY57" fmla="*/ 85876 h 109895"/>
              <a:gd name="connsiteX58" fmla="*/ 252171 w 638238"/>
              <a:gd name="connsiteY58" fmla="*/ 104047 h 109895"/>
              <a:gd name="connsiteX59" fmla="*/ 234118 w 638238"/>
              <a:gd name="connsiteY59" fmla="*/ 109896 h 109895"/>
              <a:gd name="connsiteX60" fmla="*/ 233994 w 638238"/>
              <a:gd name="connsiteY60" fmla="*/ 98072 h 109895"/>
              <a:gd name="connsiteX61" fmla="*/ 245323 w 638238"/>
              <a:gd name="connsiteY61" fmla="*/ 94089 h 109895"/>
              <a:gd name="connsiteX62" fmla="*/ 252482 w 638238"/>
              <a:gd name="connsiteY62" fmla="*/ 80462 h 109895"/>
              <a:gd name="connsiteX63" fmla="*/ 255035 w 638238"/>
              <a:gd name="connsiteY63" fmla="*/ 54948 h 109895"/>
              <a:gd name="connsiteX64" fmla="*/ 252669 w 638238"/>
              <a:gd name="connsiteY64" fmla="*/ 29559 h 109895"/>
              <a:gd name="connsiteX65" fmla="*/ 245448 w 638238"/>
              <a:gd name="connsiteY65" fmla="*/ 15931 h 109895"/>
              <a:gd name="connsiteX66" fmla="*/ 234118 w 638238"/>
              <a:gd name="connsiteY66" fmla="*/ 11761 h 109895"/>
              <a:gd name="connsiteX67" fmla="*/ 222602 w 638238"/>
              <a:gd name="connsiteY67" fmla="*/ 15931 h 109895"/>
              <a:gd name="connsiteX68" fmla="*/ 215320 w 638238"/>
              <a:gd name="connsiteY68" fmla="*/ 29559 h 109895"/>
              <a:gd name="connsiteX69" fmla="*/ 212767 w 638238"/>
              <a:gd name="connsiteY69" fmla="*/ 54948 h 109895"/>
              <a:gd name="connsiteX70" fmla="*/ 215133 w 638238"/>
              <a:gd name="connsiteY70" fmla="*/ 80462 h 109895"/>
              <a:gd name="connsiteX71" fmla="*/ 222478 w 638238"/>
              <a:gd name="connsiteY71" fmla="*/ 94089 h 109895"/>
              <a:gd name="connsiteX72" fmla="*/ 233994 w 638238"/>
              <a:gd name="connsiteY72" fmla="*/ 98072 h 109895"/>
              <a:gd name="connsiteX73" fmla="*/ 375299 w 638238"/>
              <a:gd name="connsiteY73" fmla="*/ 108402 h 109895"/>
              <a:gd name="connsiteX74" fmla="*/ 360359 w 638238"/>
              <a:gd name="connsiteY74" fmla="*/ 108402 h 109895"/>
              <a:gd name="connsiteX75" fmla="*/ 349279 w 638238"/>
              <a:gd name="connsiteY75" fmla="*/ 77786 h 109895"/>
              <a:gd name="connsiteX76" fmla="*/ 301907 w 638238"/>
              <a:gd name="connsiteY76" fmla="*/ 77786 h 109895"/>
              <a:gd name="connsiteX77" fmla="*/ 291014 w 638238"/>
              <a:gd name="connsiteY77" fmla="*/ 108402 h 109895"/>
              <a:gd name="connsiteX78" fmla="*/ 277879 w 638238"/>
              <a:gd name="connsiteY78" fmla="*/ 108402 h 109895"/>
              <a:gd name="connsiteX79" fmla="*/ 315976 w 638238"/>
              <a:gd name="connsiteY79" fmla="*/ 1307 h 109895"/>
              <a:gd name="connsiteX80" fmla="*/ 336891 w 638238"/>
              <a:gd name="connsiteY80" fmla="*/ 1307 h 109895"/>
              <a:gd name="connsiteX81" fmla="*/ 375299 w 638238"/>
              <a:gd name="connsiteY81" fmla="*/ 108402 h 109895"/>
              <a:gd name="connsiteX82" fmla="*/ 306576 w 638238"/>
              <a:gd name="connsiteY82" fmla="*/ 65091 h 109895"/>
              <a:gd name="connsiteX83" fmla="*/ 344797 w 638238"/>
              <a:gd name="connsiteY83" fmla="*/ 65091 h 109895"/>
              <a:gd name="connsiteX84" fmla="*/ 325687 w 638238"/>
              <a:gd name="connsiteY84" fmla="*/ 11761 h 109895"/>
              <a:gd name="connsiteX85" fmla="*/ 306576 w 638238"/>
              <a:gd name="connsiteY85" fmla="*/ 65091 h 109895"/>
              <a:gd name="connsiteX86" fmla="*/ 390861 w 638238"/>
              <a:gd name="connsiteY86" fmla="*/ 1307 h 109895"/>
              <a:gd name="connsiteX87" fmla="*/ 456285 w 638238"/>
              <a:gd name="connsiteY87" fmla="*/ 1307 h 109895"/>
              <a:gd name="connsiteX88" fmla="*/ 456285 w 638238"/>
              <a:gd name="connsiteY88" fmla="*/ 14188 h 109895"/>
              <a:gd name="connsiteX89" fmla="*/ 404930 w 638238"/>
              <a:gd name="connsiteY89" fmla="*/ 14188 h 109895"/>
              <a:gd name="connsiteX90" fmla="*/ 404930 w 638238"/>
              <a:gd name="connsiteY90" fmla="*/ 49720 h 109895"/>
              <a:gd name="connsiteX91" fmla="*/ 448504 w 638238"/>
              <a:gd name="connsiteY91" fmla="*/ 49720 h 109895"/>
              <a:gd name="connsiteX92" fmla="*/ 448504 w 638238"/>
              <a:gd name="connsiteY92" fmla="*/ 62415 h 109895"/>
              <a:gd name="connsiteX93" fmla="*/ 404930 w 638238"/>
              <a:gd name="connsiteY93" fmla="*/ 62415 h 109895"/>
              <a:gd name="connsiteX94" fmla="*/ 404930 w 638238"/>
              <a:gd name="connsiteY94" fmla="*/ 108402 h 109895"/>
              <a:gd name="connsiteX95" fmla="*/ 390861 w 638238"/>
              <a:gd name="connsiteY95" fmla="*/ 108402 h 109895"/>
              <a:gd name="connsiteX96" fmla="*/ 390861 w 638238"/>
              <a:gd name="connsiteY96" fmla="*/ 1307 h 109895"/>
              <a:gd name="connsiteX97" fmla="*/ 520028 w 638238"/>
              <a:gd name="connsiteY97" fmla="*/ 109896 h 109895"/>
              <a:gd name="connsiteX98" fmla="*/ 492265 w 638238"/>
              <a:gd name="connsiteY98" fmla="*/ 103300 h 109895"/>
              <a:gd name="connsiteX99" fmla="*/ 473901 w 638238"/>
              <a:gd name="connsiteY99" fmla="*/ 84507 h 109895"/>
              <a:gd name="connsiteX100" fmla="*/ 467303 w 638238"/>
              <a:gd name="connsiteY100" fmla="*/ 54948 h 109895"/>
              <a:gd name="connsiteX101" fmla="*/ 480935 w 638238"/>
              <a:gd name="connsiteY101" fmla="*/ 14624 h 109895"/>
              <a:gd name="connsiteX102" fmla="*/ 519779 w 638238"/>
              <a:gd name="connsiteY102" fmla="*/ 0 h 109895"/>
              <a:gd name="connsiteX103" fmla="*/ 537706 w 638238"/>
              <a:gd name="connsiteY103" fmla="*/ 2054 h 109895"/>
              <a:gd name="connsiteX104" fmla="*/ 552335 w 638238"/>
              <a:gd name="connsiteY104" fmla="*/ 7716 h 109895"/>
              <a:gd name="connsiteX105" fmla="*/ 552335 w 638238"/>
              <a:gd name="connsiteY105" fmla="*/ 21158 h 109895"/>
              <a:gd name="connsiteX106" fmla="*/ 537209 w 638238"/>
              <a:gd name="connsiteY106" fmla="*/ 14935 h 109895"/>
              <a:gd name="connsiteX107" fmla="*/ 519593 w 638238"/>
              <a:gd name="connsiteY107" fmla="*/ 12695 h 109895"/>
              <a:gd name="connsiteX108" fmla="*/ 491642 w 638238"/>
              <a:gd name="connsiteY108" fmla="*/ 23273 h 109895"/>
              <a:gd name="connsiteX109" fmla="*/ 482554 w 638238"/>
              <a:gd name="connsiteY109" fmla="*/ 54948 h 109895"/>
              <a:gd name="connsiteX110" fmla="*/ 492390 w 638238"/>
              <a:gd name="connsiteY110" fmla="*/ 86747 h 109895"/>
              <a:gd name="connsiteX111" fmla="*/ 521273 w 638238"/>
              <a:gd name="connsiteY111" fmla="*/ 97201 h 109895"/>
              <a:gd name="connsiteX112" fmla="*/ 552335 w 638238"/>
              <a:gd name="connsiteY112" fmla="*/ 87369 h 109895"/>
              <a:gd name="connsiteX113" fmla="*/ 552335 w 638238"/>
              <a:gd name="connsiteY113" fmla="*/ 100811 h 109895"/>
              <a:gd name="connsiteX114" fmla="*/ 538453 w 638238"/>
              <a:gd name="connsiteY114" fmla="*/ 107531 h 109895"/>
              <a:gd name="connsiteX115" fmla="*/ 520028 w 638238"/>
              <a:gd name="connsiteY115" fmla="*/ 109896 h 109895"/>
              <a:gd name="connsiteX116" fmla="*/ 602819 w 638238"/>
              <a:gd name="connsiteY116" fmla="*/ 109896 h 109895"/>
              <a:gd name="connsiteX117" fmla="*/ 584145 w 638238"/>
              <a:gd name="connsiteY117" fmla="*/ 106287 h 109895"/>
              <a:gd name="connsiteX118" fmla="*/ 571446 w 638238"/>
              <a:gd name="connsiteY118" fmla="*/ 96019 h 109895"/>
              <a:gd name="connsiteX119" fmla="*/ 566777 w 638238"/>
              <a:gd name="connsiteY119" fmla="*/ 79590 h 109895"/>
              <a:gd name="connsiteX120" fmla="*/ 572193 w 638238"/>
              <a:gd name="connsiteY120" fmla="*/ 62105 h 109895"/>
              <a:gd name="connsiteX121" fmla="*/ 586946 w 638238"/>
              <a:gd name="connsiteY121" fmla="*/ 51525 h 109895"/>
              <a:gd name="connsiteX122" fmla="*/ 574994 w 638238"/>
              <a:gd name="connsiteY122" fmla="*/ 42378 h 109895"/>
              <a:gd name="connsiteX123" fmla="*/ 570699 w 638238"/>
              <a:gd name="connsiteY123" fmla="*/ 27318 h 109895"/>
              <a:gd name="connsiteX124" fmla="*/ 574870 w 638238"/>
              <a:gd name="connsiteY124" fmla="*/ 12383 h 109895"/>
              <a:gd name="connsiteX125" fmla="*/ 586386 w 638238"/>
              <a:gd name="connsiteY125" fmla="*/ 3111 h 109895"/>
              <a:gd name="connsiteX126" fmla="*/ 602819 w 638238"/>
              <a:gd name="connsiteY126" fmla="*/ 0 h 109895"/>
              <a:gd name="connsiteX127" fmla="*/ 618942 w 638238"/>
              <a:gd name="connsiteY127" fmla="*/ 3111 h 109895"/>
              <a:gd name="connsiteX128" fmla="*/ 630271 w 638238"/>
              <a:gd name="connsiteY128" fmla="*/ 12073 h 109895"/>
              <a:gd name="connsiteX129" fmla="*/ 634629 w 638238"/>
              <a:gd name="connsiteY129" fmla="*/ 27008 h 109895"/>
              <a:gd name="connsiteX130" fmla="*/ 630146 w 638238"/>
              <a:gd name="connsiteY130" fmla="*/ 42253 h 109895"/>
              <a:gd name="connsiteX131" fmla="*/ 618319 w 638238"/>
              <a:gd name="connsiteY131" fmla="*/ 51525 h 109895"/>
              <a:gd name="connsiteX132" fmla="*/ 632698 w 638238"/>
              <a:gd name="connsiteY132" fmla="*/ 61669 h 109895"/>
              <a:gd name="connsiteX133" fmla="*/ 638239 w 638238"/>
              <a:gd name="connsiteY133" fmla="*/ 79155 h 109895"/>
              <a:gd name="connsiteX134" fmla="*/ 633570 w 638238"/>
              <a:gd name="connsiteY134" fmla="*/ 95707 h 109895"/>
              <a:gd name="connsiteX135" fmla="*/ 620871 w 638238"/>
              <a:gd name="connsiteY135" fmla="*/ 106287 h 109895"/>
              <a:gd name="connsiteX136" fmla="*/ 602819 w 638238"/>
              <a:gd name="connsiteY136" fmla="*/ 109896 h 109895"/>
              <a:gd name="connsiteX137" fmla="*/ 602819 w 638238"/>
              <a:gd name="connsiteY137" fmla="*/ 46111 h 109895"/>
              <a:gd name="connsiteX138" fmla="*/ 615829 w 638238"/>
              <a:gd name="connsiteY138" fmla="*/ 41631 h 109895"/>
              <a:gd name="connsiteX139" fmla="*/ 621058 w 638238"/>
              <a:gd name="connsiteY139" fmla="*/ 28936 h 109895"/>
              <a:gd name="connsiteX140" fmla="*/ 615829 w 638238"/>
              <a:gd name="connsiteY140" fmla="*/ 16428 h 109895"/>
              <a:gd name="connsiteX141" fmla="*/ 602819 w 638238"/>
              <a:gd name="connsiteY141" fmla="*/ 11761 h 109895"/>
              <a:gd name="connsiteX142" fmla="*/ 589498 w 638238"/>
              <a:gd name="connsiteY142" fmla="*/ 16428 h 109895"/>
              <a:gd name="connsiteX143" fmla="*/ 584269 w 638238"/>
              <a:gd name="connsiteY143" fmla="*/ 28936 h 109895"/>
              <a:gd name="connsiteX144" fmla="*/ 589498 w 638238"/>
              <a:gd name="connsiteY144" fmla="*/ 41631 h 109895"/>
              <a:gd name="connsiteX145" fmla="*/ 602819 w 638238"/>
              <a:gd name="connsiteY145" fmla="*/ 46111 h 109895"/>
              <a:gd name="connsiteX146" fmla="*/ 602819 w 638238"/>
              <a:gd name="connsiteY146" fmla="*/ 98072 h 109895"/>
              <a:gd name="connsiteX147" fmla="*/ 618195 w 638238"/>
              <a:gd name="connsiteY147" fmla="*/ 92721 h 109895"/>
              <a:gd name="connsiteX148" fmla="*/ 624482 w 638238"/>
              <a:gd name="connsiteY148" fmla="*/ 77350 h 109895"/>
              <a:gd name="connsiteX149" fmla="*/ 618195 w 638238"/>
              <a:gd name="connsiteY149" fmla="*/ 62105 h 109895"/>
              <a:gd name="connsiteX150" fmla="*/ 602819 w 638238"/>
              <a:gd name="connsiteY150" fmla="*/ 56566 h 109895"/>
              <a:gd name="connsiteX151" fmla="*/ 586821 w 638238"/>
              <a:gd name="connsiteY151" fmla="*/ 62105 h 109895"/>
              <a:gd name="connsiteX152" fmla="*/ 580534 w 638238"/>
              <a:gd name="connsiteY152" fmla="*/ 77350 h 109895"/>
              <a:gd name="connsiteX153" fmla="*/ 586821 w 638238"/>
              <a:gd name="connsiteY153" fmla="*/ 92721 h 109895"/>
              <a:gd name="connsiteX154" fmla="*/ 602819 w 638238"/>
              <a:gd name="connsiteY15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63823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89673" y="108402"/>
                </a:moveTo>
                <a:lnTo>
                  <a:pt x="174733" y="108402"/>
                </a:lnTo>
                <a:lnTo>
                  <a:pt x="163715" y="77786"/>
                </a:lnTo>
                <a:lnTo>
                  <a:pt x="116344" y="77786"/>
                </a:lnTo>
                <a:lnTo>
                  <a:pt x="105450" y="108402"/>
                </a:lnTo>
                <a:lnTo>
                  <a:pt x="92253" y="108402"/>
                </a:lnTo>
                <a:lnTo>
                  <a:pt x="130350" y="1307"/>
                </a:lnTo>
                <a:lnTo>
                  <a:pt x="151265" y="1307"/>
                </a:lnTo>
                <a:lnTo>
                  <a:pt x="189673" y="108402"/>
                </a:lnTo>
                <a:close/>
                <a:moveTo>
                  <a:pt x="120950" y="65091"/>
                </a:moveTo>
                <a:lnTo>
                  <a:pt x="159233" y="65091"/>
                </a:lnTo>
                <a:lnTo>
                  <a:pt x="140060" y="11761"/>
                </a:lnTo>
                <a:lnTo>
                  <a:pt x="120950" y="65091"/>
                </a:lnTo>
                <a:close/>
                <a:moveTo>
                  <a:pt x="234118" y="109896"/>
                </a:moveTo>
                <a:cubicBezTo>
                  <a:pt x="227333" y="109896"/>
                  <a:pt x="221295" y="107967"/>
                  <a:pt x="215880" y="104047"/>
                </a:cubicBezTo>
                <a:cubicBezTo>
                  <a:pt x="210526" y="100188"/>
                  <a:pt x="206293" y="94214"/>
                  <a:pt x="203181" y="86125"/>
                </a:cubicBezTo>
                <a:cubicBezTo>
                  <a:pt x="200193" y="77972"/>
                  <a:pt x="198699" y="67518"/>
                  <a:pt x="198699" y="54761"/>
                </a:cubicBezTo>
                <a:cubicBezTo>
                  <a:pt x="198699" y="41942"/>
                  <a:pt x="200193" y="31488"/>
                  <a:pt x="203181" y="23398"/>
                </a:cubicBezTo>
                <a:cubicBezTo>
                  <a:pt x="206293" y="15371"/>
                  <a:pt x="210526" y="9459"/>
                  <a:pt x="215880" y="5663"/>
                </a:cubicBezTo>
                <a:cubicBezTo>
                  <a:pt x="221295" y="1867"/>
                  <a:pt x="227333" y="0"/>
                  <a:pt x="234118" y="0"/>
                </a:cubicBezTo>
                <a:cubicBezTo>
                  <a:pt x="240904" y="0"/>
                  <a:pt x="246942" y="1867"/>
                  <a:pt x="252171" y="5663"/>
                </a:cubicBezTo>
                <a:cubicBezTo>
                  <a:pt x="257462" y="9459"/>
                  <a:pt x="261633" y="15371"/>
                  <a:pt x="264620" y="23398"/>
                </a:cubicBezTo>
                <a:cubicBezTo>
                  <a:pt x="267608" y="31363"/>
                  <a:pt x="269102" y="41756"/>
                  <a:pt x="269102" y="54512"/>
                </a:cubicBezTo>
                <a:cubicBezTo>
                  <a:pt x="269102" y="67145"/>
                  <a:pt x="267608" y="77599"/>
                  <a:pt x="264620" y="85876"/>
                </a:cubicBezTo>
                <a:cubicBezTo>
                  <a:pt x="261633" y="94027"/>
                  <a:pt x="257462" y="100064"/>
                  <a:pt x="252171" y="104047"/>
                </a:cubicBezTo>
                <a:cubicBezTo>
                  <a:pt x="246942" y="107967"/>
                  <a:pt x="240904" y="109896"/>
                  <a:pt x="234118" y="109896"/>
                </a:cubicBezTo>
                <a:close/>
                <a:moveTo>
                  <a:pt x="233994" y="98072"/>
                </a:moveTo>
                <a:cubicBezTo>
                  <a:pt x="238476" y="98072"/>
                  <a:pt x="242211" y="96766"/>
                  <a:pt x="245323" y="94089"/>
                </a:cubicBezTo>
                <a:cubicBezTo>
                  <a:pt x="248498" y="91289"/>
                  <a:pt x="250926" y="86747"/>
                  <a:pt x="252482" y="80462"/>
                </a:cubicBezTo>
                <a:cubicBezTo>
                  <a:pt x="254163" y="74114"/>
                  <a:pt x="255035" y="65589"/>
                  <a:pt x="255035" y="54948"/>
                </a:cubicBezTo>
                <a:cubicBezTo>
                  <a:pt x="255035" y="44307"/>
                  <a:pt x="254225" y="35844"/>
                  <a:pt x="252669" y="29559"/>
                </a:cubicBezTo>
                <a:cubicBezTo>
                  <a:pt x="251051" y="23150"/>
                  <a:pt x="248685" y="18669"/>
                  <a:pt x="245448" y="15931"/>
                </a:cubicBezTo>
                <a:cubicBezTo>
                  <a:pt x="242398" y="13192"/>
                  <a:pt x="238601" y="11761"/>
                  <a:pt x="234118" y="11761"/>
                </a:cubicBezTo>
                <a:cubicBezTo>
                  <a:pt x="229636" y="11761"/>
                  <a:pt x="225777" y="13192"/>
                  <a:pt x="222602" y="15931"/>
                </a:cubicBezTo>
                <a:cubicBezTo>
                  <a:pt x="219428" y="18669"/>
                  <a:pt x="217000" y="23150"/>
                  <a:pt x="215320" y="29559"/>
                </a:cubicBezTo>
                <a:cubicBezTo>
                  <a:pt x="213577" y="35844"/>
                  <a:pt x="212767" y="44307"/>
                  <a:pt x="212767" y="54948"/>
                </a:cubicBezTo>
                <a:cubicBezTo>
                  <a:pt x="212767" y="65589"/>
                  <a:pt x="213577" y="74114"/>
                  <a:pt x="215133" y="80462"/>
                </a:cubicBezTo>
                <a:cubicBezTo>
                  <a:pt x="216814" y="86747"/>
                  <a:pt x="219303" y="91289"/>
                  <a:pt x="222478" y="94089"/>
                </a:cubicBezTo>
                <a:cubicBezTo>
                  <a:pt x="225652" y="96766"/>
                  <a:pt x="229512" y="98072"/>
                  <a:pt x="233994" y="98072"/>
                </a:cubicBezTo>
                <a:close/>
                <a:moveTo>
                  <a:pt x="375299" y="108402"/>
                </a:moveTo>
                <a:lnTo>
                  <a:pt x="360359" y="108402"/>
                </a:lnTo>
                <a:lnTo>
                  <a:pt x="349279" y="77786"/>
                </a:lnTo>
                <a:lnTo>
                  <a:pt x="301907" y="77786"/>
                </a:lnTo>
                <a:lnTo>
                  <a:pt x="291014" y="108402"/>
                </a:lnTo>
                <a:lnTo>
                  <a:pt x="277879" y="108402"/>
                </a:lnTo>
                <a:lnTo>
                  <a:pt x="315976" y="1307"/>
                </a:lnTo>
                <a:lnTo>
                  <a:pt x="336891" y="1307"/>
                </a:lnTo>
                <a:lnTo>
                  <a:pt x="375299" y="108402"/>
                </a:lnTo>
                <a:close/>
                <a:moveTo>
                  <a:pt x="306576" y="65091"/>
                </a:moveTo>
                <a:lnTo>
                  <a:pt x="344797" y="65091"/>
                </a:lnTo>
                <a:lnTo>
                  <a:pt x="325687" y="11761"/>
                </a:lnTo>
                <a:lnTo>
                  <a:pt x="306576" y="65091"/>
                </a:lnTo>
                <a:close/>
                <a:moveTo>
                  <a:pt x="390861" y="1307"/>
                </a:moveTo>
                <a:lnTo>
                  <a:pt x="456285" y="1307"/>
                </a:lnTo>
                <a:lnTo>
                  <a:pt x="456285" y="14188"/>
                </a:lnTo>
                <a:lnTo>
                  <a:pt x="404930" y="14188"/>
                </a:lnTo>
                <a:lnTo>
                  <a:pt x="404930" y="49720"/>
                </a:lnTo>
                <a:lnTo>
                  <a:pt x="448504" y="49720"/>
                </a:lnTo>
                <a:lnTo>
                  <a:pt x="448504" y="62415"/>
                </a:lnTo>
                <a:lnTo>
                  <a:pt x="404930" y="62415"/>
                </a:lnTo>
                <a:lnTo>
                  <a:pt x="404930" y="108402"/>
                </a:lnTo>
                <a:lnTo>
                  <a:pt x="390861" y="108402"/>
                </a:lnTo>
                <a:lnTo>
                  <a:pt x="390861" y="1307"/>
                </a:lnTo>
                <a:close/>
                <a:moveTo>
                  <a:pt x="520028" y="109896"/>
                </a:moveTo>
                <a:cubicBezTo>
                  <a:pt x="509508" y="109896"/>
                  <a:pt x="500232" y="107718"/>
                  <a:pt x="492265" y="103300"/>
                </a:cubicBezTo>
                <a:cubicBezTo>
                  <a:pt x="484422" y="98943"/>
                  <a:pt x="478259" y="92658"/>
                  <a:pt x="473901" y="84507"/>
                </a:cubicBezTo>
                <a:cubicBezTo>
                  <a:pt x="469482" y="76230"/>
                  <a:pt x="467303" y="66398"/>
                  <a:pt x="467303" y="54948"/>
                </a:cubicBezTo>
                <a:cubicBezTo>
                  <a:pt x="467303" y="37711"/>
                  <a:pt x="471847" y="24269"/>
                  <a:pt x="480935" y="14624"/>
                </a:cubicBezTo>
                <a:cubicBezTo>
                  <a:pt x="489962" y="4854"/>
                  <a:pt x="502910" y="0"/>
                  <a:pt x="519779" y="0"/>
                </a:cubicBezTo>
                <a:cubicBezTo>
                  <a:pt x="526004" y="0"/>
                  <a:pt x="531980" y="684"/>
                  <a:pt x="537706" y="2054"/>
                </a:cubicBezTo>
                <a:cubicBezTo>
                  <a:pt x="543434" y="3361"/>
                  <a:pt x="548352" y="5228"/>
                  <a:pt x="552335" y="7716"/>
                </a:cubicBezTo>
                <a:lnTo>
                  <a:pt x="552335" y="21158"/>
                </a:lnTo>
                <a:cubicBezTo>
                  <a:pt x="548040" y="18482"/>
                  <a:pt x="542997" y="16428"/>
                  <a:pt x="537209" y="14935"/>
                </a:cubicBezTo>
                <a:cubicBezTo>
                  <a:pt x="531544" y="13442"/>
                  <a:pt x="525693" y="12695"/>
                  <a:pt x="519593" y="12695"/>
                </a:cubicBezTo>
                <a:cubicBezTo>
                  <a:pt x="507080" y="12695"/>
                  <a:pt x="497743" y="16180"/>
                  <a:pt x="491642" y="23273"/>
                </a:cubicBezTo>
                <a:cubicBezTo>
                  <a:pt x="485604" y="30368"/>
                  <a:pt x="482554" y="40885"/>
                  <a:pt x="482554" y="54948"/>
                </a:cubicBezTo>
                <a:cubicBezTo>
                  <a:pt x="482554" y="69074"/>
                  <a:pt x="485853" y="79653"/>
                  <a:pt x="492390" y="86747"/>
                </a:cubicBezTo>
                <a:cubicBezTo>
                  <a:pt x="498988" y="93716"/>
                  <a:pt x="508574" y="97201"/>
                  <a:pt x="521273" y="97201"/>
                </a:cubicBezTo>
                <a:cubicBezTo>
                  <a:pt x="533225" y="97201"/>
                  <a:pt x="543558" y="93903"/>
                  <a:pt x="552335" y="87369"/>
                </a:cubicBezTo>
                <a:lnTo>
                  <a:pt x="552335" y="100811"/>
                </a:lnTo>
                <a:cubicBezTo>
                  <a:pt x="548849" y="103548"/>
                  <a:pt x="544181" y="105788"/>
                  <a:pt x="538453" y="107531"/>
                </a:cubicBezTo>
                <a:cubicBezTo>
                  <a:pt x="532665" y="109087"/>
                  <a:pt x="526502" y="109896"/>
                  <a:pt x="520028" y="109896"/>
                </a:cubicBezTo>
                <a:close/>
                <a:moveTo>
                  <a:pt x="602819" y="109896"/>
                </a:moveTo>
                <a:cubicBezTo>
                  <a:pt x="595848" y="109896"/>
                  <a:pt x="589623" y="108714"/>
                  <a:pt x="584145" y="106287"/>
                </a:cubicBezTo>
                <a:cubicBezTo>
                  <a:pt x="578729" y="103922"/>
                  <a:pt x="574496" y="100499"/>
                  <a:pt x="571446" y="96019"/>
                </a:cubicBezTo>
                <a:cubicBezTo>
                  <a:pt x="568333" y="91414"/>
                  <a:pt x="566777" y="85938"/>
                  <a:pt x="566777" y="79590"/>
                </a:cubicBezTo>
                <a:cubicBezTo>
                  <a:pt x="566777" y="72683"/>
                  <a:pt x="568582" y="66896"/>
                  <a:pt x="572193" y="62105"/>
                </a:cubicBezTo>
                <a:cubicBezTo>
                  <a:pt x="575865" y="57251"/>
                  <a:pt x="580783" y="53703"/>
                  <a:pt x="586946" y="51525"/>
                </a:cubicBezTo>
                <a:cubicBezTo>
                  <a:pt x="581965" y="49534"/>
                  <a:pt x="577982" y="46485"/>
                  <a:pt x="574994" y="42378"/>
                </a:cubicBezTo>
                <a:cubicBezTo>
                  <a:pt x="572130" y="38333"/>
                  <a:pt x="570699" y="33293"/>
                  <a:pt x="570699" y="27318"/>
                </a:cubicBezTo>
                <a:cubicBezTo>
                  <a:pt x="570699" y="21407"/>
                  <a:pt x="572068" y="16428"/>
                  <a:pt x="574870" y="12383"/>
                </a:cubicBezTo>
                <a:cubicBezTo>
                  <a:pt x="577671" y="8277"/>
                  <a:pt x="581468" y="5228"/>
                  <a:pt x="586386" y="3111"/>
                </a:cubicBezTo>
                <a:cubicBezTo>
                  <a:pt x="591240" y="996"/>
                  <a:pt x="596718" y="0"/>
                  <a:pt x="602819" y="0"/>
                </a:cubicBezTo>
                <a:cubicBezTo>
                  <a:pt x="608795" y="0"/>
                  <a:pt x="614148" y="996"/>
                  <a:pt x="618942" y="3111"/>
                </a:cubicBezTo>
                <a:cubicBezTo>
                  <a:pt x="623735" y="5103"/>
                  <a:pt x="627532" y="8090"/>
                  <a:pt x="630271" y="12073"/>
                </a:cubicBezTo>
                <a:cubicBezTo>
                  <a:pt x="633197" y="16055"/>
                  <a:pt x="634629" y="21033"/>
                  <a:pt x="634629" y="27008"/>
                </a:cubicBezTo>
                <a:cubicBezTo>
                  <a:pt x="634629" y="33106"/>
                  <a:pt x="633135" y="38146"/>
                  <a:pt x="630146" y="42253"/>
                </a:cubicBezTo>
                <a:cubicBezTo>
                  <a:pt x="627158" y="46298"/>
                  <a:pt x="623236" y="49410"/>
                  <a:pt x="618319" y="51525"/>
                </a:cubicBezTo>
                <a:cubicBezTo>
                  <a:pt x="624295" y="53579"/>
                  <a:pt x="629088" y="57001"/>
                  <a:pt x="632698" y="61669"/>
                </a:cubicBezTo>
                <a:cubicBezTo>
                  <a:pt x="636371" y="66336"/>
                  <a:pt x="638239" y="72186"/>
                  <a:pt x="638239" y="79155"/>
                </a:cubicBezTo>
                <a:cubicBezTo>
                  <a:pt x="638239" y="85502"/>
                  <a:pt x="636682" y="91040"/>
                  <a:pt x="633570" y="95707"/>
                </a:cubicBezTo>
                <a:cubicBezTo>
                  <a:pt x="630520" y="100312"/>
                  <a:pt x="626287" y="103797"/>
                  <a:pt x="620871" y="106287"/>
                </a:cubicBezTo>
                <a:cubicBezTo>
                  <a:pt x="615580" y="108714"/>
                  <a:pt x="609604" y="109896"/>
                  <a:pt x="602819" y="109896"/>
                </a:cubicBezTo>
                <a:close/>
                <a:moveTo>
                  <a:pt x="602819" y="46111"/>
                </a:moveTo>
                <a:cubicBezTo>
                  <a:pt x="608110" y="46111"/>
                  <a:pt x="612405" y="44618"/>
                  <a:pt x="615829" y="41631"/>
                </a:cubicBezTo>
                <a:cubicBezTo>
                  <a:pt x="619315" y="38582"/>
                  <a:pt x="621058" y="34350"/>
                  <a:pt x="621058" y="28936"/>
                </a:cubicBezTo>
                <a:cubicBezTo>
                  <a:pt x="621058" y="23585"/>
                  <a:pt x="619315" y="19415"/>
                  <a:pt x="615829" y="16428"/>
                </a:cubicBezTo>
                <a:cubicBezTo>
                  <a:pt x="612405" y="13317"/>
                  <a:pt x="608110" y="11761"/>
                  <a:pt x="602819" y="11761"/>
                </a:cubicBezTo>
                <a:cubicBezTo>
                  <a:pt x="597528" y="11761"/>
                  <a:pt x="593108" y="13317"/>
                  <a:pt x="589498" y="16428"/>
                </a:cubicBezTo>
                <a:cubicBezTo>
                  <a:pt x="586012" y="19415"/>
                  <a:pt x="584269" y="23585"/>
                  <a:pt x="584269" y="28936"/>
                </a:cubicBezTo>
                <a:cubicBezTo>
                  <a:pt x="584269" y="34350"/>
                  <a:pt x="586012" y="38582"/>
                  <a:pt x="589498" y="41631"/>
                </a:cubicBezTo>
                <a:cubicBezTo>
                  <a:pt x="593108" y="44618"/>
                  <a:pt x="597528" y="46111"/>
                  <a:pt x="602819" y="46111"/>
                </a:cubicBezTo>
                <a:close/>
                <a:moveTo>
                  <a:pt x="602819" y="98072"/>
                </a:moveTo>
                <a:cubicBezTo>
                  <a:pt x="608982" y="98072"/>
                  <a:pt x="614086" y="96330"/>
                  <a:pt x="618195" y="92721"/>
                </a:cubicBezTo>
                <a:cubicBezTo>
                  <a:pt x="622365" y="89049"/>
                  <a:pt x="624482" y="83885"/>
                  <a:pt x="624482" y="77350"/>
                </a:cubicBezTo>
                <a:cubicBezTo>
                  <a:pt x="624482" y="70754"/>
                  <a:pt x="622365" y="65714"/>
                  <a:pt x="618195" y="62105"/>
                </a:cubicBezTo>
                <a:cubicBezTo>
                  <a:pt x="614086" y="58433"/>
                  <a:pt x="608982" y="56566"/>
                  <a:pt x="602819" y="56566"/>
                </a:cubicBezTo>
                <a:cubicBezTo>
                  <a:pt x="596408" y="56566"/>
                  <a:pt x="591117" y="58433"/>
                  <a:pt x="586821" y="62105"/>
                </a:cubicBezTo>
                <a:cubicBezTo>
                  <a:pt x="582651" y="65714"/>
                  <a:pt x="580534" y="70754"/>
                  <a:pt x="580534" y="77350"/>
                </a:cubicBezTo>
                <a:cubicBezTo>
                  <a:pt x="580534" y="83885"/>
                  <a:pt x="582651" y="89049"/>
                  <a:pt x="586821" y="92721"/>
                </a:cubicBezTo>
                <a:cubicBezTo>
                  <a:pt x="591117" y="96330"/>
                  <a:pt x="596408" y="98072"/>
                  <a:pt x="602819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6" name="Полилиния 1725">
            <a:extLst>
              <a:ext uri="{FF2B5EF4-FFF2-40B4-BE49-F238E27FC236}">
                <a16:creationId xmlns:a16="http://schemas.microsoft.com/office/drawing/2014/main" id="{448D1A2E-C7CC-8D24-37D4-7FC21A6EEE1C}"/>
              </a:ext>
            </a:extLst>
          </p:cNvPr>
          <p:cNvSpPr/>
          <p:nvPr/>
        </p:nvSpPr>
        <p:spPr>
          <a:xfrm>
            <a:off x="1444111" y="11036595"/>
            <a:ext cx="2556000" cy="726227"/>
          </a:xfrm>
          <a:custGeom>
            <a:avLst/>
            <a:gdLst>
              <a:gd name="connsiteX0" fmla="*/ 1488 w 2191162"/>
              <a:gd name="connsiteY0" fmla="*/ 1822 h 622284"/>
              <a:gd name="connsiteX1" fmla="*/ 2192651 w 2191162"/>
              <a:gd name="connsiteY1" fmla="*/ 1822 h 622284"/>
              <a:gd name="connsiteX2" fmla="*/ 2192651 w 2191162"/>
              <a:gd name="connsiteY2" fmla="*/ 624106 h 622284"/>
              <a:gd name="connsiteX3" fmla="*/ 1488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822"/>
                </a:moveTo>
                <a:lnTo>
                  <a:pt x="2192651" y="1822"/>
                </a:lnTo>
                <a:lnTo>
                  <a:pt x="2192651" y="624106"/>
                </a:lnTo>
                <a:lnTo>
                  <a:pt x="1488" y="624106"/>
                </a:lnTo>
                <a:close/>
              </a:path>
            </a:pathLst>
          </a:custGeom>
          <a:solidFill>
            <a:srgbClr val="D8DEE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7" name="Полилиния 1726">
            <a:extLst>
              <a:ext uri="{FF2B5EF4-FFF2-40B4-BE49-F238E27FC236}">
                <a16:creationId xmlns:a16="http://schemas.microsoft.com/office/drawing/2014/main" id="{342CCD67-1676-30E6-1F73-F5693392AF28}"/>
              </a:ext>
            </a:extLst>
          </p:cNvPr>
          <p:cNvSpPr/>
          <p:nvPr/>
        </p:nvSpPr>
        <p:spPr>
          <a:xfrm>
            <a:off x="1578549" y="11338301"/>
            <a:ext cx="782144" cy="128794"/>
          </a:xfrm>
          <a:custGeom>
            <a:avLst/>
            <a:gdLst>
              <a:gd name="connsiteX0" fmla="*/ 22099 w 667371"/>
              <a:gd name="connsiteY0" fmla="*/ 108402 h 109895"/>
              <a:gd name="connsiteX1" fmla="*/ 10147 w 667371"/>
              <a:gd name="connsiteY1" fmla="*/ 108402 h 109895"/>
              <a:gd name="connsiteX2" fmla="*/ 16434 w 667371"/>
              <a:gd name="connsiteY2" fmla="*/ 77475 h 109895"/>
              <a:gd name="connsiteX3" fmla="*/ 0 w 667371"/>
              <a:gd name="connsiteY3" fmla="*/ 77475 h 109895"/>
              <a:gd name="connsiteX4" fmla="*/ 0 w 667371"/>
              <a:gd name="connsiteY4" fmla="*/ 67020 h 109895"/>
              <a:gd name="connsiteX5" fmla="*/ 18675 w 667371"/>
              <a:gd name="connsiteY5" fmla="*/ 67020 h 109895"/>
              <a:gd name="connsiteX6" fmla="*/ 24215 w 667371"/>
              <a:gd name="connsiteY6" fmla="*/ 39826 h 109895"/>
              <a:gd name="connsiteX7" fmla="*/ 4046 w 667371"/>
              <a:gd name="connsiteY7" fmla="*/ 39826 h 109895"/>
              <a:gd name="connsiteX8" fmla="*/ 4046 w 667371"/>
              <a:gd name="connsiteY8" fmla="*/ 29372 h 109895"/>
              <a:gd name="connsiteX9" fmla="*/ 26270 w 667371"/>
              <a:gd name="connsiteY9" fmla="*/ 29372 h 109895"/>
              <a:gd name="connsiteX10" fmla="*/ 32121 w 667371"/>
              <a:gd name="connsiteY10" fmla="*/ 1307 h 109895"/>
              <a:gd name="connsiteX11" fmla="*/ 44073 w 667371"/>
              <a:gd name="connsiteY11" fmla="*/ 1307 h 109895"/>
              <a:gd name="connsiteX12" fmla="*/ 38221 w 667371"/>
              <a:gd name="connsiteY12" fmla="*/ 29372 h 109895"/>
              <a:gd name="connsiteX13" fmla="*/ 60630 w 667371"/>
              <a:gd name="connsiteY13" fmla="*/ 29372 h 109895"/>
              <a:gd name="connsiteX14" fmla="*/ 66482 w 667371"/>
              <a:gd name="connsiteY14" fmla="*/ 1307 h 109895"/>
              <a:gd name="connsiteX15" fmla="*/ 78434 w 667371"/>
              <a:gd name="connsiteY15" fmla="*/ 1307 h 109895"/>
              <a:gd name="connsiteX16" fmla="*/ 72582 w 667371"/>
              <a:gd name="connsiteY16" fmla="*/ 29372 h 109895"/>
              <a:gd name="connsiteX17" fmla="*/ 89328 w 667371"/>
              <a:gd name="connsiteY17" fmla="*/ 29372 h 109895"/>
              <a:gd name="connsiteX18" fmla="*/ 89328 w 667371"/>
              <a:gd name="connsiteY18" fmla="*/ 39826 h 109895"/>
              <a:gd name="connsiteX19" fmla="*/ 70529 w 667371"/>
              <a:gd name="connsiteY19" fmla="*/ 39826 h 109895"/>
              <a:gd name="connsiteX20" fmla="*/ 64988 w 667371"/>
              <a:gd name="connsiteY20" fmla="*/ 67020 h 109895"/>
              <a:gd name="connsiteX21" fmla="*/ 85282 w 667371"/>
              <a:gd name="connsiteY21" fmla="*/ 67020 h 109895"/>
              <a:gd name="connsiteX22" fmla="*/ 85282 w 667371"/>
              <a:gd name="connsiteY22" fmla="*/ 77475 h 109895"/>
              <a:gd name="connsiteX23" fmla="*/ 62747 w 667371"/>
              <a:gd name="connsiteY23" fmla="*/ 77475 h 109895"/>
              <a:gd name="connsiteX24" fmla="*/ 56460 w 667371"/>
              <a:gd name="connsiteY24" fmla="*/ 108402 h 109895"/>
              <a:gd name="connsiteX25" fmla="*/ 44508 w 667371"/>
              <a:gd name="connsiteY25" fmla="*/ 108402 h 109895"/>
              <a:gd name="connsiteX26" fmla="*/ 50795 w 667371"/>
              <a:gd name="connsiteY26" fmla="*/ 77475 h 109895"/>
              <a:gd name="connsiteX27" fmla="*/ 28386 w 667371"/>
              <a:gd name="connsiteY27" fmla="*/ 77475 h 109895"/>
              <a:gd name="connsiteX28" fmla="*/ 22099 w 667371"/>
              <a:gd name="connsiteY28" fmla="*/ 108402 h 109895"/>
              <a:gd name="connsiteX29" fmla="*/ 30627 w 667371"/>
              <a:gd name="connsiteY29" fmla="*/ 67020 h 109895"/>
              <a:gd name="connsiteX30" fmla="*/ 53036 w 667371"/>
              <a:gd name="connsiteY30" fmla="*/ 67020 h 109895"/>
              <a:gd name="connsiteX31" fmla="*/ 58576 w 667371"/>
              <a:gd name="connsiteY31" fmla="*/ 39826 h 109895"/>
              <a:gd name="connsiteX32" fmla="*/ 36167 w 667371"/>
              <a:gd name="connsiteY32" fmla="*/ 39826 h 109895"/>
              <a:gd name="connsiteX33" fmla="*/ 30627 w 667371"/>
              <a:gd name="connsiteY33" fmla="*/ 67020 h 109895"/>
              <a:gd name="connsiteX34" fmla="*/ 107816 w 667371"/>
              <a:gd name="connsiteY34" fmla="*/ 1307 h 109895"/>
              <a:gd name="connsiteX35" fmla="*/ 143857 w 667371"/>
              <a:gd name="connsiteY35" fmla="*/ 1307 h 109895"/>
              <a:gd name="connsiteX36" fmla="*/ 163840 w 667371"/>
              <a:gd name="connsiteY36" fmla="*/ 3858 h 109895"/>
              <a:gd name="connsiteX37" fmla="*/ 179962 w 667371"/>
              <a:gd name="connsiteY37" fmla="*/ 12197 h 109895"/>
              <a:gd name="connsiteX38" fmla="*/ 190731 w 667371"/>
              <a:gd name="connsiteY38" fmla="*/ 27443 h 109895"/>
              <a:gd name="connsiteX39" fmla="*/ 194653 w 667371"/>
              <a:gd name="connsiteY39" fmla="*/ 51215 h 109895"/>
              <a:gd name="connsiteX40" fmla="*/ 187743 w 667371"/>
              <a:gd name="connsiteY40" fmla="*/ 82889 h 109895"/>
              <a:gd name="connsiteX41" fmla="*/ 169255 w 667371"/>
              <a:gd name="connsiteY41" fmla="*/ 101992 h 109895"/>
              <a:gd name="connsiteX42" fmla="*/ 142177 w 667371"/>
              <a:gd name="connsiteY42" fmla="*/ 108402 h 109895"/>
              <a:gd name="connsiteX43" fmla="*/ 107816 w 667371"/>
              <a:gd name="connsiteY43" fmla="*/ 108402 h 109895"/>
              <a:gd name="connsiteX44" fmla="*/ 107816 w 667371"/>
              <a:gd name="connsiteY44" fmla="*/ 1307 h 109895"/>
              <a:gd name="connsiteX45" fmla="*/ 142177 w 667371"/>
              <a:gd name="connsiteY45" fmla="*/ 95707 h 109895"/>
              <a:gd name="connsiteX46" fmla="*/ 161599 w 667371"/>
              <a:gd name="connsiteY46" fmla="*/ 91227 h 109895"/>
              <a:gd name="connsiteX47" fmla="*/ 174609 w 667371"/>
              <a:gd name="connsiteY47" fmla="*/ 77039 h 109895"/>
              <a:gd name="connsiteX48" fmla="*/ 179402 w 667371"/>
              <a:gd name="connsiteY48" fmla="*/ 52272 h 109895"/>
              <a:gd name="connsiteX49" fmla="*/ 174733 w 667371"/>
              <a:gd name="connsiteY49" fmla="*/ 28936 h 109895"/>
              <a:gd name="connsiteX50" fmla="*/ 162034 w 667371"/>
              <a:gd name="connsiteY50" fmla="*/ 17424 h 109895"/>
              <a:gd name="connsiteX51" fmla="*/ 143857 w 667371"/>
              <a:gd name="connsiteY51" fmla="*/ 14188 h 109895"/>
              <a:gd name="connsiteX52" fmla="*/ 121884 w 667371"/>
              <a:gd name="connsiteY52" fmla="*/ 14188 h 109895"/>
              <a:gd name="connsiteX53" fmla="*/ 121884 w 667371"/>
              <a:gd name="connsiteY53" fmla="*/ 95707 h 109895"/>
              <a:gd name="connsiteX54" fmla="*/ 142177 w 667371"/>
              <a:gd name="connsiteY54" fmla="*/ 95707 h 109895"/>
              <a:gd name="connsiteX55" fmla="*/ 242273 w 667371"/>
              <a:gd name="connsiteY55" fmla="*/ 109896 h 109895"/>
              <a:gd name="connsiteX56" fmla="*/ 223599 w 667371"/>
              <a:gd name="connsiteY56" fmla="*/ 106287 h 109895"/>
              <a:gd name="connsiteX57" fmla="*/ 210899 w 667371"/>
              <a:gd name="connsiteY57" fmla="*/ 96019 h 109895"/>
              <a:gd name="connsiteX58" fmla="*/ 206293 w 667371"/>
              <a:gd name="connsiteY58" fmla="*/ 79590 h 109895"/>
              <a:gd name="connsiteX59" fmla="*/ 211646 w 667371"/>
              <a:gd name="connsiteY59" fmla="*/ 62105 h 109895"/>
              <a:gd name="connsiteX60" fmla="*/ 226462 w 667371"/>
              <a:gd name="connsiteY60" fmla="*/ 51525 h 109895"/>
              <a:gd name="connsiteX61" fmla="*/ 214510 w 667371"/>
              <a:gd name="connsiteY61" fmla="*/ 42378 h 109895"/>
              <a:gd name="connsiteX62" fmla="*/ 210153 w 667371"/>
              <a:gd name="connsiteY62" fmla="*/ 27318 h 109895"/>
              <a:gd name="connsiteX63" fmla="*/ 214323 w 667371"/>
              <a:gd name="connsiteY63" fmla="*/ 12383 h 109895"/>
              <a:gd name="connsiteX64" fmla="*/ 225839 w 667371"/>
              <a:gd name="connsiteY64" fmla="*/ 3111 h 109895"/>
              <a:gd name="connsiteX65" fmla="*/ 242273 w 667371"/>
              <a:gd name="connsiteY65" fmla="*/ 0 h 109895"/>
              <a:gd name="connsiteX66" fmla="*/ 258395 w 667371"/>
              <a:gd name="connsiteY66" fmla="*/ 3111 h 109895"/>
              <a:gd name="connsiteX67" fmla="*/ 269788 w 667371"/>
              <a:gd name="connsiteY67" fmla="*/ 12073 h 109895"/>
              <a:gd name="connsiteX68" fmla="*/ 274082 w 667371"/>
              <a:gd name="connsiteY68" fmla="*/ 27008 h 109895"/>
              <a:gd name="connsiteX69" fmla="*/ 269601 w 667371"/>
              <a:gd name="connsiteY69" fmla="*/ 42253 h 109895"/>
              <a:gd name="connsiteX70" fmla="*/ 257835 w 667371"/>
              <a:gd name="connsiteY70" fmla="*/ 51525 h 109895"/>
              <a:gd name="connsiteX71" fmla="*/ 272153 w 667371"/>
              <a:gd name="connsiteY71" fmla="*/ 61669 h 109895"/>
              <a:gd name="connsiteX72" fmla="*/ 277692 w 667371"/>
              <a:gd name="connsiteY72" fmla="*/ 79155 h 109895"/>
              <a:gd name="connsiteX73" fmla="*/ 273086 w 667371"/>
              <a:gd name="connsiteY73" fmla="*/ 95707 h 109895"/>
              <a:gd name="connsiteX74" fmla="*/ 260388 w 667371"/>
              <a:gd name="connsiteY74" fmla="*/ 106287 h 109895"/>
              <a:gd name="connsiteX75" fmla="*/ 242273 w 667371"/>
              <a:gd name="connsiteY75" fmla="*/ 109896 h 109895"/>
              <a:gd name="connsiteX76" fmla="*/ 242273 w 667371"/>
              <a:gd name="connsiteY76" fmla="*/ 46111 h 109895"/>
              <a:gd name="connsiteX77" fmla="*/ 255283 w 667371"/>
              <a:gd name="connsiteY77" fmla="*/ 41631 h 109895"/>
              <a:gd name="connsiteX78" fmla="*/ 260512 w 667371"/>
              <a:gd name="connsiteY78" fmla="*/ 28936 h 109895"/>
              <a:gd name="connsiteX79" fmla="*/ 255283 w 667371"/>
              <a:gd name="connsiteY79" fmla="*/ 16428 h 109895"/>
              <a:gd name="connsiteX80" fmla="*/ 242273 w 667371"/>
              <a:gd name="connsiteY80" fmla="*/ 11761 h 109895"/>
              <a:gd name="connsiteX81" fmla="*/ 229014 w 667371"/>
              <a:gd name="connsiteY81" fmla="*/ 16428 h 109895"/>
              <a:gd name="connsiteX82" fmla="*/ 223785 w 667371"/>
              <a:gd name="connsiteY82" fmla="*/ 28936 h 109895"/>
              <a:gd name="connsiteX83" fmla="*/ 229014 w 667371"/>
              <a:gd name="connsiteY83" fmla="*/ 41631 h 109895"/>
              <a:gd name="connsiteX84" fmla="*/ 242273 w 667371"/>
              <a:gd name="connsiteY84" fmla="*/ 46111 h 109895"/>
              <a:gd name="connsiteX85" fmla="*/ 242273 w 667371"/>
              <a:gd name="connsiteY85" fmla="*/ 98072 h 109895"/>
              <a:gd name="connsiteX86" fmla="*/ 257648 w 667371"/>
              <a:gd name="connsiteY86" fmla="*/ 92721 h 109895"/>
              <a:gd name="connsiteX87" fmla="*/ 263936 w 667371"/>
              <a:gd name="connsiteY87" fmla="*/ 77350 h 109895"/>
              <a:gd name="connsiteX88" fmla="*/ 257648 w 667371"/>
              <a:gd name="connsiteY88" fmla="*/ 62105 h 109895"/>
              <a:gd name="connsiteX89" fmla="*/ 242273 w 667371"/>
              <a:gd name="connsiteY89" fmla="*/ 56566 h 109895"/>
              <a:gd name="connsiteX90" fmla="*/ 226276 w 667371"/>
              <a:gd name="connsiteY90" fmla="*/ 62105 h 109895"/>
              <a:gd name="connsiteX91" fmla="*/ 220051 w 667371"/>
              <a:gd name="connsiteY91" fmla="*/ 77350 h 109895"/>
              <a:gd name="connsiteX92" fmla="*/ 226276 w 667371"/>
              <a:gd name="connsiteY92" fmla="*/ 92721 h 109895"/>
              <a:gd name="connsiteX93" fmla="*/ 242273 w 667371"/>
              <a:gd name="connsiteY93" fmla="*/ 98072 h 109895"/>
              <a:gd name="connsiteX94" fmla="*/ 295434 w 667371"/>
              <a:gd name="connsiteY94" fmla="*/ 1307 h 109895"/>
              <a:gd name="connsiteX95" fmla="*/ 331476 w 667371"/>
              <a:gd name="connsiteY95" fmla="*/ 1307 h 109895"/>
              <a:gd name="connsiteX96" fmla="*/ 351458 w 667371"/>
              <a:gd name="connsiteY96" fmla="*/ 3858 h 109895"/>
              <a:gd name="connsiteX97" fmla="*/ 367580 w 667371"/>
              <a:gd name="connsiteY97" fmla="*/ 12197 h 109895"/>
              <a:gd name="connsiteX98" fmla="*/ 378349 w 667371"/>
              <a:gd name="connsiteY98" fmla="*/ 27443 h 109895"/>
              <a:gd name="connsiteX99" fmla="*/ 382271 w 667371"/>
              <a:gd name="connsiteY99" fmla="*/ 51215 h 109895"/>
              <a:gd name="connsiteX100" fmla="*/ 375361 w 667371"/>
              <a:gd name="connsiteY100" fmla="*/ 82889 h 109895"/>
              <a:gd name="connsiteX101" fmla="*/ 356874 w 667371"/>
              <a:gd name="connsiteY101" fmla="*/ 101992 h 109895"/>
              <a:gd name="connsiteX102" fmla="*/ 329795 w 667371"/>
              <a:gd name="connsiteY102" fmla="*/ 108402 h 109895"/>
              <a:gd name="connsiteX103" fmla="*/ 295434 w 667371"/>
              <a:gd name="connsiteY103" fmla="*/ 108402 h 109895"/>
              <a:gd name="connsiteX104" fmla="*/ 295434 w 667371"/>
              <a:gd name="connsiteY104" fmla="*/ 1307 h 109895"/>
              <a:gd name="connsiteX105" fmla="*/ 329795 w 667371"/>
              <a:gd name="connsiteY105" fmla="*/ 95707 h 109895"/>
              <a:gd name="connsiteX106" fmla="*/ 349217 w 667371"/>
              <a:gd name="connsiteY106" fmla="*/ 91227 h 109895"/>
              <a:gd name="connsiteX107" fmla="*/ 362227 w 667371"/>
              <a:gd name="connsiteY107" fmla="*/ 77039 h 109895"/>
              <a:gd name="connsiteX108" fmla="*/ 367020 w 667371"/>
              <a:gd name="connsiteY108" fmla="*/ 52272 h 109895"/>
              <a:gd name="connsiteX109" fmla="*/ 362352 w 667371"/>
              <a:gd name="connsiteY109" fmla="*/ 28936 h 109895"/>
              <a:gd name="connsiteX110" fmla="*/ 349653 w 667371"/>
              <a:gd name="connsiteY110" fmla="*/ 17424 h 109895"/>
              <a:gd name="connsiteX111" fmla="*/ 331476 w 667371"/>
              <a:gd name="connsiteY111" fmla="*/ 14188 h 109895"/>
              <a:gd name="connsiteX112" fmla="*/ 309502 w 667371"/>
              <a:gd name="connsiteY112" fmla="*/ 14188 h 109895"/>
              <a:gd name="connsiteX113" fmla="*/ 309502 w 667371"/>
              <a:gd name="connsiteY113" fmla="*/ 95707 h 109895"/>
              <a:gd name="connsiteX114" fmla="*/ 329795 w 667371"/>
              <a:gd name="connsiteY114" fmla="*/ 95707 h 109895"/>
              <a:gd name="connsiteX115" fmla="*/ 400946 w 667371"/>
              <a:gd name="connsiteY115" fmla="*/ 1307 h 109895"/>
              <a:gd name="connsiteX116" fmla="*/ 467241 w 667371"/>
              <a:gd name="connsiteY116" fmla="*/ 1307 h 109895"/>
              <a:gd name="connsiteX117" fmla="*/ 467241 w 667371"/>
              <a:gd name="connsiteY117" fmla="*/ 14188 h 109895"/>
              <a:gd name="connsiteX118" fmla="*/ 414952 w 667371"/>
              <a:gd name="connsiteY118" fmla="*/ 14188 h 109895"/>
              <a:gd name="connsiteX119" fmla="*/ 414952 w 667371"/>
              <a:gd name="connsiteY119" fmla="*/ 46547 h 109895"/>
              <a:gd name="connsiteX120" fmla="*/ 459335 w 667371"/>
              <a:gd name="connsiteY120" fmla="*/ 46547 h 109895"/>
              <a:gd name="connsiteX121" fmla="*/ 459335 w 667371"/>
              <a:gd name="connsiteY121" fmla="*/ 59242 h 109895"/>
              <a:gd name="connsiteX122" fmla="*/ 414952 w 667371"/>
              <a:gd name="connsiteY122" fmla="*/ 59242 h 109895"/>
              <a:gd name="connsiteX123" fmla="*/ 414952 w 667371"/>
              <a:gd name="connsiteY123" fmla="*/ 95707 h 109895"/>
              <a:gd name="connsiteX124" fmla="*/ 467988 w 667371"/>
              <a:gd name="connsiteY124" fmla="*/ 95707 h 109895"/>
              <a:gd name="connsiteX125" fmla="*/ 467988 w 667371"/>
              <a:gd name="connsiteY125" fmla="*/ 108402 h 109895"/>
              <a:gd name="connsiteX126" fmla="*/ 400946 w 667371"/>
              <a:gd name="connsiteY126" fmla="*/ 108402 h 109895"/>
              <a:gd name="connsiteX127" fmla="*/ 400946 w 667371"/>
              <a:gd name="connsiteY127" fmla="*/ 1307 h 109895"/>
              <a:gd name="connsiteX128" fmla="*/ 490210 w 667371"/>
              <a:gd name="connsiteY128" fmla="*/ 1307 h 109895"/>
              <a:gd name="connsiteX129" fmla="*/ 556568 w 667371"/>
              <a:gd name="connsiteY129" fmla="*/ 1307 h 109895"/>
              <a:gd name="connsiteX130" fmla="*/ 556568 w 667371"/>
              <a:gd name="connsiteY130" fmla="*/ 14188 h 109895"/>
              <a:gd name="connsiteX131" fmla="*/ 504279 w 667371"/>
              <a:gd name="connsiteY131" fmla="*/ 14188 h 109895"/>
              <a:gd name="connsiteX132" fmla="*/ 504279 w 667371"/>
              <a:gd name="connsiteY132" fmla="*/ 46547 h 109895"/>
              <a:gd name="connsiteX133" fmla="*/ 548662 w 667371"/>
              <a:gd name="connsiteY133" fmla="*/ 46547 h 109895"/>
              <a:gd name="connsiteX134" fmla="*/ 548662 w 667371"/>
              <a:gd name="connsiteY134" fmla="*/ 59242 h 109895"/>
              <a:gd name="connsiteX135" fmla="*/ 504279 w 667371"/>
              <a:gd name="connsiteY135" fmla="*/ 59242 h 109895"/>
              <a:gd name="connsiteX136" fmla="*/ 504279 w 667371"/>
              <a:gd name="connsiteY136" fmla="*/ 95707 h 109895"/>
              <a:gd name="connsiteX137" fmla="*/ 557315 w 667371"/>
              <a:gd name="connsiteY137" fmla="*/ 95707 h 109895"/>
              <a:gd name="connsiteX138" fmla="*/ 557315 w 667371"/>
              <a:gd name="connsiteY138" fmla="*/ 108402 h 109895"/>
              <a:gd name="connsiteX139" fmla="*/ 490210 w 667371"/>
              <a:gd name="connsiteY139" fmla="*/ 108402 h 109895"/>
              <a:gd name="connsiteX140" fmla="*/ 490210 w 667371"/>
              <a:gd name="connsiteY140" fmla="*/ 1307 h 109895"/>
              <a:gd name="connsiteX141" fmla="*/ 667372 w 667371"/>
              <a:gd name="connsiteY141" fmla="*/ 108402 h 109895"/>
              <a:gd name="connsiteX142" fmla="*/ 652432 w 667371"/>
              <a:gd name="connsiteY142" fmla="*/ 108402 h 109895"/>
              <a:gd name="connsiteX143" fmla="*/ 641351 w 667371"/>
              <a:gd name="connsiteY143" fmla="*/ 77786 h 109895"/>
              <a:gd name="connsiteX144" fmla="*/ 593980 w 667371"/>
              <a:gd name="connsiteY144" fmla="*/ 77786 h 109895"/>
              <a:gd name="connsiteX145" fmla="*/ 583086 w 667371"/>
              <a:gd name="connsiteY145" fmla="*/ 108402 h 109895"/>
              <a:gd name="connsiteX146" fmla="*/ 569952 w 667371"/>
              <a:gd name="connsiteY146" fmla="*/ 108402 h 109895"/>
              <a:gd name="connsiteX147" fmla="*/ 608048 w 667371"/>
              <a:gd name="connsiteY147" fmla="*/ 1307 h 109895"/>
              <a:gd name="connsiteX148" fmla="*/ 628964 w 667371"/>
              <a:gd name="connsiteY148" fmla="*/ 1307 h 109895"/>
              <a:gd name="connsiteX149" fmla="*/ 667372 w 667371"/>
              <a:gd name="connsiteY149" fmla="*/ 108402 h 109895"/>
              <a:gd name="connsiteX150" fmla="*/ 598648 w 667371"/>
              <a:gd name="connsiteY150" fmla="*/ 65091 h 109895"/>
              <a:gd name="connsiteX151" fmla="*/ 636869 w 667371"/>
              <a:gd name="connsiteY151" fmla="*/ 65091 h 109895"/>
              <a:gd name="connsiteX152" fmla="*/ 617759 w 667371"/>
              <a:gd name="connsiteY152" fmla="*/ 11761 h 109895"/>
              <a:gd name="connsiteX153" fmla="*/ 598648 w 667371"/>
              <a:gd name="connsiteY153" fmla="*/ 65091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67371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43857" y="1307"/>
                </a:lnTo>
                <a:cubicBezTo>
                  <a:pt x="151016" y="1307"/>
                  <a:pt x="157677" y="2179"/>
                  <a:pt x="163840" y="3858"/>
                </a:cubicBezTo>
                <a:cubicBezTo>
                  <a:pt x="170002" y="5538"/>
                  <a:pt x="175418" y="8339"/>
                  <a:pt x="179962" y="12197"/>
                </a:cubicBezTo>
                <a:cubicBezTo>
                  <a:pt x="184568" y="15993"/>
                  <a:pt x="188178" y="21096"/>
                  <a:pt x="190731" y="27443"/>
                </a:cubicBezTo>
                <a:cubicBezTo>
                  <a:pt x="193346" y="33853"/>
                  <a:pt x="194653" y="41756"/>
                  <a:pt x="194653" y="51215"/>
                </a:cubicBezTo>
                <a:cubicBezTo>
                  <a:pt x="194653" y="63722"/>
                  <a:pt x="192349" y="74301"/>
                  <a:pt x="187743" y="82889"/>
                </a:cubicBezTo>
                <a:cubicBezTo>
                  <a:pt x="183261" y="91352"/>
                  <a:pt x="177099" y="97699"/>
                  <a:pt x="169255" y="101992"/>
                </a:cubicBezTo>
                <a:cubicBezTo>
                  <a:pt x="161350" y="106287"/>
                  <a:pt x="152324" y="108402"/>
                  <a:pt x="142177" y="108402"/>
                </a:cubicBez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42177" y="95707"/>
                </a:moveTo>
                <a:cubicBezTo>
                  <a:pt x="149584" y="95707"/>
                  <a:pt x="156059" y="94214"/>
                  <a:pt x="161599" y="91227"/>
                </a:cubicBezTo>
                <a:cubicBezTo>
                  <a:pt x="167201" y="88116"/>
                  <a:pt x="171496" y="83386"/>
                  <a:pt x="174609" y="77039"/>
                </a:cubicBezTo>
                <a:cubicBezTo>
                  <a:pt x="177783" y="70568"/>
                  <a:pt x="179402" y="62291"/>
                  <a:pt x="179402" y="52272"/>
                </a:cubicBezTo>
                <a:cubicBezTo>
                  <a:pt x="179402" y="42191"/>
                  <a:pt x="177846" y="34413"/>
                  <a:pt x="174733" y="28936"/>
                </a:cubicBezTo>
                <a:cubicBezTo>
                  <a:pt x="171683" y="23460"/>
                  <a:pt x="167450" y="19664"/>
                  <a:pt x="162034" y="17424"/>
                </a:cubicBezTo>
                <a:cubicBezTo>
                  <a:pt x="156806" y="15246"/>
                  <a:pt x="150705" y="14188"/>
                  <a:pt x="143857" y="14188"/>
                </a:cubicBezTo>
                <a:lnTo>
                  <a:pt x="121884" y="14188"/>
                </a:lnTo>
                <a:lnTo>
                  <a:pt x="121884" y="95707"/>
                </a:lnTo>
                <a:lnTo>
                  <a:pt x="142177" y="95707"/>
                </a:lnTo>
                <a:close/>
                <a:moveTo>
                  <a:pt x="242273" y="109896"/>
                </a:moveTo>
                <a:cubicBezTo>
                  <a:pt x="235301" y="109896"/>
                  <a:pt x="229076" y="108714"/>
                  <a:pt x="223599" y="106287"/>
                </a:cubicBezTo>
                <a:cubicBezTo>
                  <a:pt x="218245" y="103922"/>
                  <a:pt x="214012" y="100499"/>
                  <a:pt x="210899" y="96019"/>
                </a:cubicBezTo>
                <a:cubicBezTo>
                  <a:pt x="207849" y="91414"/>
                  <a:pt x="206293" y="85938"/>
                  <a:pt x="206293" y="79590"/>
                </a:cubicBezTo>
                <a:cubicBezTo>
                  <a:pt x="206293" y="72683"/>
                  <a:pt x="208099" y="66896"/>
                  <a:pt x="211646" y="62105"/>
                </a:cubicBezTo>
                <a:cubicBezTo>
                  <a:pt x="215320" y="57251"/>
                  <a:pt x="220299" y="53703"/>
                  <a:pt x="226462" y="51525"/>
                </a:cubicBezTo>
                <a:cubicBezTo>
                  <a:pt x="221482" y="49534"/>
                  <a:pt x="217498" y="46485"/>
                  <a:pt x="214510" y="42378"/>
                </a:cubicBezTo>
                <a:cubicBezTo>
                  <a:pt x="211584" y="38333"/>
                  <a:pt x="210153" y="33293"/>
                  <a:pt x="210153" y="27318"/>
                </a:cubicBezTo>
                <a:cubicBezTo>
                  <a:pt x="210153" y="21407"/>
                  <a:pt x="211584" y="16428"/>
                  <a:pt x="214323" y="12383"/>
                </a:cubicBezTo>
                <a:cubicBezTo>
                  <a:pt x="217124" y="8277"/>
                  <a:pt x="220984" y="5228"/>
                  <a:pt x="225839" y="3111"/>
                </a:cubicBezTo>
                <a:cubicBezTo>
                  <a:pt x="230757" y="996"/>
                  <a:pt x="236235" y="0"/>
                  <a:pt x="242273" y="0"/>
                </a:cubicBezTo>
                <a:cubicBezTo>
                  <a:pt x="248249" y="0"/>
                  <a:pt x="253664" y="996"/>
                  <a:pt x="258395" y="3111"/>
                </a:cubicBezTo>
                <a:cubicBezTo>
                  <a:pt x="263189" y="5103"/>
                  <a:pt x="266986" y="8090"/>
                  <a:pt x="269788" y="12073"/>
                </a:cubicBezTo>
                <a:cubicBezTo>
                  <a:pt x="272651" y="16055"/>
                  <a:pt x="274082" y="21033"/>
                  <a:pt x="274082" y="27008"/>
                </a:cubicBezTo>
                <a:cubicBezTo>
                  <a:pt x="274082" y="33106"/>
                  <a:pt x="272588" y="38146"/>
                  <a:pt x="269601" y="42253"/>
                </a:cubicBezTo>
                <a:cubicBezTo>
                  <a:pt x="266613" y="46298"/>
                  <a:pt x="262691" y="49410"/>
                  <a:pt x="257835" y="51525"/>
                </a:cubicBezTo>
                <a:cubicBezTo>
                  <a:pt x="263811" y="53579"/>
                  <a:pt x="268604" y="57001"/>
                  <a:pt x="272153" y="61669"/>
                </a:cubicBezTo>
                <a:cubicBezTo>
                  <a:pt x="275825" y="66336"/>
                  <a:pt x="277692" y="72186"/>
                  <a:pt x="277692" y="79155"/>
                </a:cubicBezTo>
                <a:cubicBezTo>
                  <a:pt x="277692" y="85502"/>
                  <a:pt x="276136" y="91040"/>
                  <a:pt x="273086" y="95707"/>
                </a:cubicBezTo>
                <a:cubicBezTo>
                  <a:pt x="269974" y="100312"/>
                  <a:pt x="265741" y="103797"/>
                  <a:pt x="260388" y="106287"/>
                </a:cubicBezTo>
                <a:cubicBezTo>
                  <a:pt x="255096" y="108714"/>
                  <a:pt x="249058" y="109896"/>
                  <a:pt x="242273" y="109896"/>
                </a:cubicBezTo>
                <a:close/>
                <a:moveTo>
                  <a:pt x="242273" y="46111"/>
                </a:moveTo>
                <a:cubicBezTo>
                  <a:pt x="247564" y="46111"/>
                  <a:pt x="251922" y="44618"/>
                  <a:pt x="255283" y="41631"/>
                </a:cubicBezTo>
                <a:cubicBezTo>
                  <a:pt x="258769" y="38582"/>
                  <a:pt x="260512" y="34350"/>
                  <a:pt x="260512" y="28936"/>
                </a:cubicBezTo>
                <a:cubicBezTo>
                  <a:pt x="260512" y="23585"/>
                  <a:pt x="258769" y="19415"/>
                  <a:pt x="255283" y="16428"/>
                </a:cubicBezTo>
                <a:cubicBezTo>
                  <a:pt x="251922" y="13317"/>
                  <a:pt x="247564" y="11761"/>
                  <a:pt x="242273" y="11761"/>
                </a:cubicBezTo>
                <a:cubicBezTo>
                  <a:pt x="236982" y="11761"/>
                  <a:pt x="232562" y="13317"/>
                  <a:pt x="229014" y="16428"/>
                </a:cubicBezTo>
                <a:cubicBezTo>
                  <a:pt x="225528" y="19415"/>
                  <a:pt x="223785" y="23585"/>
                  <a:pt x="223785" y="28936"/>
                </a:cubicBezTo>
                <a:cubicBezTo>
                  <a:pt x="223785" y="34350"/>
                  <a:pt x="225528" y="38582"/>
                  <a:pt x="229014" y="41631"/>
                </a:cubicBezTo>
                <a:cubicBezTo>
                  <a:pt x="232562" y="44618"/>
                  <a:pt x="236982" y="46111"/>
                  <a:pt x="242273" y="46111"/>
                </a:cubicBezTo>
                <a:close/>
                <a:moveTo>
                  <a:pt x="242273" y="98072"/>
                </a:moveTo>
                <a:cubicBezTo>
                  <a:pt x="248436" y="98072"/>
                  <a:pt x="253602" y="96330"/>
                  <a:pt x="257648" y="92721"/>
                </a:cubicBezTo>
                <a:cubicBezTo>
                  <a:pt x="261882" y="89049"/>
                  <a:pt x="263936" y="83885"/>
                  <a:pt x="263936" y="77350"/>
                </a:cubicBezTo>
                <a:cubicBezTo>
                  <a:pt x="263936" y="70754"/>
                  <a:pt x="261882" y="65714"/>
                  <a:pt x="257648" y="62105"/>
                </a:cubicBezTo>
                <a:cubicBezTo>
                  <a:pt x="253602" y="58433"/>
                  <a:pt x="248436" y="56566"/>
                  <a:pt x="242273" y="56566"/>
                </a:cubicBezTo>
                <a:cubicBezTo>
                  <a:pt x="235924" y="56566"/>
                  <a:pt x="230570" y="58433"/>
                  <a:pt x="226276" y="62105"/>
                </a:cubicBezTo>
                <a:cubicBezTo>
                  <a:pt x="222105" y="65714"/>
                  <a:pt x="220051" y="70754"/>
                  <a:pt x="220051" y="77350"/>
                </a:cubicBezTo>
                <a:cubicBezTo>
                  <a:pt x="220051" y="83885"/>
                  <a:pt x="222105" y="89049"/>
                  <a:pt x="226276" y="92721"/>
                </a:cubicBezTo>
                <a:cubicBezTo>
                  <a:pt x="230570" y="96330"/>
                  <a:pt x="235924" y="98072"/>
                  <a:pt x="242273" y="98072"/>
                </a:cubicBezTo>
                <a:close/>
                <a:moveTo>
                  <a:pt x="295434" y="1307"/>
                </a:moveTo>
                <a:lnTo>
                  <a:pt x="331476" y="1307"/>
                </a:lnTo>
                <a:cubicBezTo>
                  <a:pt x="338634" y="1307"/>
                  <a:pt x="345296" y="2179"/>
                  <a:pt x="351458" y="3858"/>
                </a:cubicBezTo>
                <a:cubicBezTo>
                  <a:pt x="357621" y="5538"/>
                  <a:pt x="363036" y="8339"/>
                  <a:pt x="367580" y="12197"/>
                </a:cubicBezTo>
                <a:cubicBezTo>
                  <a:pt x="372187" y="15993"/>
                  <a:pt x="375797" y="21096"/>
                  <a:pt x="378349" y="27443"/>
                </a:cubicBezTo>
                <a:cubicBezTo>
                  <a:pt x="380964" y="33853"/>
                  <a:pt x="382271" y="41756"/>
                  <a:pt x="382271" y="51215"/>
                </a:cubicBezTo>
                <a:cubicBezTo>
                  <a:pt x="382271" y="63722"/>
                  <a:pt x="379968" y="74301"/>
                  <a:pt x="375361" y="82889"/>
                </a:cubicBezTo>
                <a:cubicBezTo>
                  <a:pt x="370880" y="91352"/>
                  <a:pt x="364717" y="97699"/>
                  <a:pt x="356874" y="101992"/>
                </a:cubicBezTo>
                <a:cubicBezTo>
                  <a:pt x="348968" y="106287"/>
                  <a:pt x="339941" y="108402"/>
                  <a:pt x="329795" y="108402"/>
                </a:cubicBezTo>
                <a:lnTo>
                  <a:pt x="295434" y="108402"/>
                </a:lnTo>
                <a:lnTo>
                  <a:pt x="295434" y="1307"/>
                </a:lnTo>
                <a:close/>
                <a:moveTo>
                  <a:pt x="329795" y="95707"/>
                </a:moveTo>
                <a:cubicBezTo>
                  <a:pt x="337203" y="95707"/>
                  <a:pt x="343677" y="94214"/>
                  <a:pt x="349217" y="91227"/>
                </a:cubicBezTo>
                <a:cubicBezTo>
                  <a:pt x="354819" y="88116"/>
                  <a:pt x="359115" y="83386"/>
                  <a:pt x="362227" y="77039"/>
                </a:cubicBezTo>
                <a:cubicBezTo>
                  <a:pt x="365402" y="70568"/>
                  <a:pt x="367020" y="62291"/>
                  <a:pt x="367020" y="52272"/>
                </a:cubicBezTo>
                <a:cubicBezTo>
                  <a:pt x="367020" y="42191"/>
                  <a:pt x="365464" y="34413"/>
                  <a:pt x="362352" y="28936"/>
                </a:cubicBezTo>
                <a:cubicBezTo>
                  <a:pt x="359302" y="23460"/>
                  <a:pt x="355068" y="19664"/>
                  <a:pt x="349653" y="17424"/>
                </a:cubicBezTo>
                <a:cubicBezTo>
                  <a:pt x="344424" y="15246"/>
                  <a:pt x="338324" y="14188"/>
                  <a:pt x="331476" y="14188"/>
                </a:cubicBezTo>
                <a:lnTo>
                  <a:pt x="309502" y="14188"/>
                </a:lnTo>
                <a:lnTo>
                  <a:pt x="309502" y="95707"/>
                </a:lnTo>
                <a:lnTo>
                  <a:pt x="329795" y="95707"/>
                </a:lnTo>
                <a:close/>
                <a:moveTo>
                  <a:pt x="400946" y="1307"/>
                </a:moveTo>
                <a:lnTo>
                  <a:pt x="467241" y="1307"/>
                </a:lnTo>
                <a:lnTo>
                  <a:pt x="467241" y="14188"/>
                </a:lnTo>
                <a:lnTo>
                  <a:pt x="414952" y="14188"/>
                </a:lnTo>
                <a:lnTo>
                  <a:pt x="414952" y="46547"/>
                </a:lnTo>
                <a:lnTo>
                  <a:pt x="459335" y="46547"/>
                </a:lnTo>
                <a:lnTo>
                  <a:pt x="459335" y="59242"/>
                </a:lnTo>
                <a:lnTo>
                  <a:pt x="414952" y="59242"/>
                </a:lnTo>
                <a:lnTo>
                  <a:pt x="414952" y="95707"/>
                </a:lnTo>
                <a:lnTo>
                  <a:pt x="467988" y="95707"/>
                </a:lnTo>
                <a:lnTo>
                  <a:pt x="467988" y="108402"/>
                </a:lnTo>
                <a:lnTo>
                  <a:pt x="400946" y="108402"/>
                </a:lnTo>
                <a:lnTo>
                  <a:pt x="400946" y="1307"/>
                </a:lnTo>
                <a:close/>
                <a:moveTo>
                  <a:pt x="490210" y="1307"/>
                </a:moveTo>
                <a:lnTo>
                  <a:pt x="556568" y="1307"/>
                </a:lnTo>
                <a:lnTo>
                  <a:pt x="556568" y="14188"/>
                </a:lnTo>
                <a:lnTo>
                  <a:pt x="504279" y="14188"/>
                </a:lnTo>
                <a:lnTo>
                  <a:pt x="504279" y="46547"/>
                </a:lnTo>
                <a:lnTo>
                  <a:pt x="548662" y="46547"/>
                </a:lnTo>
                <a:lnTo>
                  <a:pt x="548662" y="59242"/>
                </a:lnTo>
                <a:lnTo>
                  <a:pt x="504279" y="59242"/>
                </a:lnTo>
                <a:lnTo>
                  <a:pt x="504279" y="95707"/>
                </a:lnTo>
                <a:lnTo>
                  <a:pt x="557315" y="95707"/>
                </a:lnTo>
                <a:lnTo>
                  <a:pt x="557315" y="108402"/>
                </a:lnTo>
                <a:lnTo>
                  <a:pt x="490210" y="108402"/>
                </a:lnTo>
                <a:lnTo>
                  <a:pt x="490210" y="1307"/>
                </a:lnTo>
                <a:close/>
                <a:moveTo>
                  <a:pt x="667372" y="108402"/>
                </a:moveTo>
                <a:lnTo>
                  <a:pt x="652432" y="108402"/>
                </a:lnTo>
                <a:lnTo>
                  <a:pt x="641351" y="77786"/>
                </a:lnTo>
                <a:lnTo>
                  <a:pt x="593980" y="77786"/>
                </a:lnTo>
                <a:lnTo>
                  <a:pt x="583086" y="108402"/>
                </a:lnTo>
                <a:lnTo>
                  <a:pt x="569952" y="108402"/>
                </a:lnTo>
                <a:lnTo>
                  <a:pt x="608048" y="1307"/>
                </a:lnTo>
                <a:lnTo>
                  <a:pt x="628964" y="1307"/>
                </a:lnTo>
                <a:lnTo>
                  <a:pt x="667372" y="108402"/>
                </a:lnTo>
                <a:close/>
                <a:moveTo>
                  <a:pt x="598648" y="65091"/>
                </a:moveTo>
                <a:lnTo>
                  <a:pt x="636869" y="65091"/>
                </a:lnTo>
                <a:lnTo>
                  <a:pt x="617759" y="11761"/>
                </a:lnTo>
                <a:lnTo>
                  <a:pt x="598648" y="65091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2234" name="Прямоугольник с двумя скругленными соседними углами 2233">
            <a:extLst>
              <a:ext uri="{FF2B5EF4-FFF2-40B4-BE49-F238E27FC236}">
                <a16:creationId xmlns:a16="http://schemas.microsoft.com/office/drawing/2014/main" id="{4C55813D-5D10-4879-EC22-5176CF8C3049}"/>
              </a:ext>
            </a:extLst>
          </p:cNvPr>
          <p:cNvSpPr/>
          <p:nvPr userDrawn="1"/>
        </p:nvSpPr>
        <p:spPr>
          <a:xfrm rot="10800000">
            <a:off x="1444111" y="11765898"/>
            <a:ext cx="2556000" cy="726227"/>
          </a:xfrm>
          <a:prstGeom prst="round2SameRect">
            <a:avLst/>
          </a:prstGeom>
          <a:solidFill>
            <a:srgbClr val="EBEF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sz="11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729" name="Полилиния 1728">
            <a:extLst>
              <a:ext uri="{FF2B5EF4-FFF2-40B4-BE49-F238E27FC236}">
                <a16:creationId xmlns:a16="http://schemas.microsoft.com/office/drawing/2014/main" id="{5C53F8FC-D8C5-77F7-9F3D-71BDAF7F23D8}"/>
              </a:ext>
            </a:extLst>
          </p:cNvPr>
          <p:cNvSpPr/>
          <p:nvPr/>
        </p:nvSpPr>
        <p:spPr>
          <a:xfrm>
            <a:off x="1578549" y="12069136"/>
            <a:ext cx="719331" cy="127263"/>
          </a:xfrm>
          <a:custGeom>
            <a:avLst/>
            <a:gdLst>
              <a:gd name="connsiteX0" fmla="*/ 22099 w 613775"/>
              <a:gd name="connsiteY0" fmla="*/ 107095 h 108588"/>
              <a:gd name="connsiteX1" fmla="*/ 10147 w 613775"/>
              <a:gd name="connsiteY1" fmla="*/ 107095 h 108588"/>
              <a:gd name="connsiteX2" fmla="*/ 16434 w 613775"/>
              <a:gd name="connsiteY2" fmla="*/ 76168 h 108588"/>
              <a:gd name="connsiteX3" fmla="*/ 0 w 613775"/>
              <a:gd name="connsiteY3" fmla="*/ 76168 h 108588"/>
              <a:gd name="connsiteX4" fmla="*/ 0 w 613775"/>
              <a:gd name="connsiteY4" fmla="*/ 65713 h 108588"/>
              <a:gd name="connsiteX5" fmla="*/ 18675 w 613775"/>
              <a:gd name="connsiteY5" fmla="*/ 65713 h 108588"/>
              <a:gd name="connsiteX6" fmla="*/ 24215 w 613775"/>
              <a:gd name="connsiteY6" fmla="*/ 38519 h 108588"/>
              <a:gd name="connsiteX7" fmla="*/ 4046 w 613775"/>
              <a:gd name="connsiteY7" fmla="*/ 38519 h 108588"/>
              <a:gd name="connsiteX8" fmla="*/ 4046 w 613775"/>
              <a:gd name="connsiteY8" fmla="*/ 28065 h 108588"/>
              <a:gd name="connsiteX9" fmla="*/ 26270 w 613775"/>
              <a:gd name="connsiteY9" fmla="*/ 28065 h 108588"/>
              <a:gd name="connsiteX10" fmla="*/ 32121 w 613775"/>
              <a:gd name="connsiteY10" fmla="*/ 0 h 108588"/>
              <a:gd name="connsiteX11" fmla="*/ 44073 w 613775"/>
              <a:gd name="connsiteY11" fmla="*/ 0 h 108588"/>
              <a:gd name="connsiteX12" fmla="*/ 38221 w 613775"/>
              <a:gd name="connsiteY12" fmla="*/ 28065 h 108588"/>
              <a:gd name="connsiteX13" fmla="*/ 60630 w 613775"/>
              <a:gd name="connsiteY13" fmla="*/ 28065 h 108588"/>
              <a:gd name="connsiteX14" fmla="*/ 66482 w 613775"/>
              <a:gd name="connsiteY14" fmla="*/ 0 h 108588"/>
              <a:gd name="connsiteX15" fmla="*/ 78434 w 613775"/>
              <a:gd name="connsiteY15" fmla="*/ 0 h 108588"/>
              <a:gd name="connsiteX16" fmla="*/ 72582 w 613775"/>
              <a:gd name="connsiteY16" fmla="*/ 28065 h 108588"/>
              <a:gd name="connsiteX17" fmla="*/ 89328 w 613775"/>
              <a:gd name="connsiteY17" fmla="*/ 28065 h 108588"/>
              <a:gd name="connsiteX18" fmla="*/ 89328 w 613775"/>
              <a:gd name="connsiteY18" fmla="*/ 38519 h 108588"/>
              <a:gd name="connsiteX19" fmla="*/ 70529 w 613775"/>
              <a:gd name="connsiteY19" fmla="*/ 38519 h 108588"/>
              <a:gd name="connsiteX20" fmla="*/ 64988 w 613775"/>
              <a:gd name="connsiteY20" fmla="*/ 65713 h 108588"/>
              <a:gd name="connsiteX21" fmla="*/ 85282 w 613775"/>
              <a:gd name="connsiteY21" fmla="*/ 65713 h 108588"/>
              <a:gd name="connsiteX22" fmla="*/ 85282 w 613775"/>
              <a:gd name="connsiteY22" fmla="*/ 76168 h 108588"/>
              <a:gd name="connsiteX23" fmla="*/ 62747 w 613775"/>
              <a:gd name="connsiteY23" fmla="*/ 76168 h 108588"/>
              <a:gd name="connsiteX24" fmla="*/ 56460 w 613775"/>
              <a:gd name="connsiteY24" fmla="*/ 107095 h 108588"/>
              <a:gd name="connsiteX25" fmla="*/ 44508 w 613775"/>
              <a:gd name="connsiteY25" fmla="*/ 107095 h 108588"/>
              <a:gd name="connsiteX26" fmla="*/ 50795 w 613775"/>
              <a:gd name="connsiteY26" fmla="*/ 76168 h 108588"/>
              <a:gd name="connsiteX27" fmla="*/ 28386 w 613775"/>
              <a:gd name="connsiteY27" fmla="*/ 76168 h 108588"/>
              <a:gd name="connsiteX28" fmla="*/ 22099 w 613775"/>
              <a:gd name="connsiteY28" fmla="*/ 107095 h 108588"/>
              <a:gd name="connsiteX29" fmla="*/ 30627 w 613775"/>
              <a:gd name="connsiteY29" fmla="*/ 65713 h 108588"/>
              <a:gd name="connsiteX30" fmla="*/ 53036 w 613775"/>
              <a:gd name="connsiteY30" fmla="*/ 65713 h 108588"/>
              <a:gd name="connsiteX31" fmla="*/ 58576 w 613775"/>
              <a:gd name="connsiteY31" fmla="*/ 38519 h 108588"/>
              <a:gd name="connsiteX32" fmla="*/ 36167 w 613775"/>
              <a:gd name="connsiteY32" fmla="*/ 38519 h 108588"/>
              <a:gd name="connsiteX33" fmla="*/ 30627 w 613775"/>
              <a:gd name="connsiteY33" fmla="*/ 65713 h 108588"/>
              <a:gd name="connsiteX34" fmla="*/ 107816 w 613775"/>
              <a:gd name="connsiteY34" fmla="*/ 0 h 108588"/>
              <a:gd name="connsiteX35" fmla="*/ 174172 w 613775"/>
              <a:gd name="connsiteY35" fmla="*/ 0 h 108588"/>
              <a:gd name="connsiteX36" fmla="*/ 174172 w 613775"/>
              <a:gd name="connsiteY36" fmla="*/ 12881 h 108588"/>
              <a:gd name="connsiteX37" fmla="*/ 121884 w 613775"/>
              <a:gd name="connsiteY37" fmla="*/ 12881 h 108588"/>
              <a:gd name="connsiteX38" fmla="*/ 121884 w 613775"/>
              <a:gd name="connsiteY38" fmla="*/ 45240 h 108588"/>
              <a:gd name="connsiteX39" fmla="*/ 166267 w 613775"/>
              <a:gd name="connsiteY39" fmla="*/ 45240 h 108588"/>
              <a:gd name="connsiteX40" fmla="*/ 166267 w 613775"/>
              <a:gd name="connsiteY40" fmla="*/ 57934 h 108588"/>
              <a:gd name="connsiteX41" fmla="*/ 121884 w 613775"/>
              <a:gd name="connsiteY41" fmla="*/ 57934 h 108588"/>
              <a:gd name="connsiteX42" fmla="*/ 121884 w 613775"/>
              <a:gd name="connsiteY42" fmla="*/ 94400 h 108588"/>
              <a:gd name="connsiteX43" fmla="*/ 174920 w 613775"/>
              <a:gd name="connsiteY43" fmla="*/ 94400 h 108588"/>
              <a:gd name="connsiteX44" fmla="*/ 174920 w 613775"/>
              <a:gd name="connsiteY44" fmla="*/ 107095 h 108588"/>
              <a:gd name="connsiteX45" fmla="*/ 107816 w 613775"/>
              <a:gd name="connsiteY45" fmla="*/ 107095 h 108588"/>
              <a:gd name="connsiteX46" fmla="*/ 107816 w 613775"/>
              <a:gd name="connsiteY46" fmla="*/ 0 h 108588"/>
              <a:gd name="connsiteX47" fmla="*/ 197143 w 613775"/>
              <a:gd name="connsiteY47" fmla="*/ 0 h 108588"/>
              <a:gd name="connsiteX48" fmla="*/ 233434 w 613775"/>
              <a:gd name="connsiteY48" fmla="*/ 0 h 108588"/>
              <a:gd name="connsiteX49" fmla="*/ 260139 w 613775"/>
              <a:gd name="connsiteY49" fmla="*/ 5974 h 108588"/>
              <a:gd name="connsiteX50" fmla="*/ 269414 w 613775"/>
              <a:gd name="connsiteY50" fmla="*/ 26136 h 108588"/>
              <a:gd name="connsiteX51" fmla="*/ 263625 w 613775"/>
              <a:gd name="connsiteY51" fmla="*/ 43622 h 108588"/>
              <a:gd name="connsiteX52" fmla="*/ 248063 w 613775"/>
              <a:gd name="connsiteY52" fmla="*/ 51525 h 108588"/>
              <a:gd name="connsiteX53" fmla="*/ 266861 w 613775"/>
              <a:gd name="connsiteY53" fmla="*/ 58868 h 108588"/>
              <a:gd name="connsiteX54" fmla="*/ 273335 w 613775"/>
              <a:gd name="connsiteY54" fmla="*/ 76168 h 108588"/>
              <a:gd name="connsiteX55" fmla="*/ 268107 w 613775"/>
              <a:gd name="connsiteY55" fmla="*/ 94089 h 108588"/>
              <a:gd name="connsiteX56" fmla="*/ 253727 w 613775"/>
              <a:gd name="connsiteY56" fmla="*/ 104108 h 108588"/>
              <a:gd name="connsiteX57" fmla="*/ 233123 w 613775"/>
              <a:gd name="connsiteY57" fmla="*/ 107095 h 108588"/>
              <a:gd name="connsiteX58" fmla="*/ 197143 w 613775"/>
              <a:gd name="connsiteY58" fmla="*/ 107095 h 108588"/>
              <a:gd name="connsiteX59" fmla="*/ 197143 w 613775"/>
              <a:gd name="connsiteY59" fmla="*/ 0 h 108588"/>
              <a:gd name="connsiteX60" fmla="*/ 232376 w 613775"/>
              <a:gd name="connsiteY60" fmla="*/ 45738 h 108588"/>
              <a:gd name="connsiteX61" fmla="*/ 248810 w 613775"/>
              <a:gd name="connsiteY61" fmla="*/ 41257 h 108588"/>
              <a:gd name="connsiteX62" fmla="*/ 255221 w 613775"/>
              <a:gd name="connsiteY62" fmla="*/ 26882 h 108588"/>
              <a:gd name="connsiteX63" fmla="*/ 249557 w 613775"/>
              <a:gd name="connsiteY63" fmla="*/ 15868 h 108588"/>
              <a:gd name="connsiteX64" fmla="*/ 233434 w 613775"/>
              <a:gd name="connsiteY64" fmla="*/ 12881 h 108588"/>
              <a:gd name="connsiteX65" fmla="*/ 211149 w 613775"/>
              <a:gd name="connsiteY65" fmla="*/ 12881 h 108588"/>
              <a:gd name="connsiteX66" fmla="*/ 211149 w 613775"/>
              <a:gd name="connsiteY66" fmla="*/ 45738 h 108588"/>
              <a:gd name="connsiteX67" fmla="*/ 232376 w 613775"/>
              <a:gd name="connsiteY67" fmla="*/ 45738 h 108588"/>
              <a:gd name="connsiteX68" fmla="*/ 233123 w 613775"/>
              <a:gd name="connsiteY68" fmla="*/ 94400 h 108588"/>
              <a:gd name="connsiteX69" fmla="*/ 251486 w 613775"/>
              <a:gd name="connsiteY69" fmla="*/ 90542 h 108588"/>
              <a:gd name="connsiteX70" fmla="*/ 258520 w 613775"/>
              <a:gd name="connsiteY70" fmla="*/ 76478 h 108588"/>
              <a:gd name="connsiteX71" fmla="*/ 251922 w 613775"/>
              <a:gd name="connsiteY71" fmla="*/ 62415 h 108588"/>
              <a:gd name="connsiteX72" fmla="*/ 231504 w 613775"/>
              <a:gd name="connsiteY72" fmla="*/ 58433 h 108588"/>
              <a:gd name="connsiteX73" fmla="*/ 211149 w 613775"/>
              <a:gd name="connsiteY73" fmla="*/ 58433 h 108588"/>
              <a:gd name="connsiteX74" fmla="*/ 211149 w 613775"/>
              <a:gd name="connsiteY74" fmla="*/ 94400 h 108588"/>
              <a:gd name="connsiteX75" fmla="*/ 233123 w 613775"/>
              <a:gd name="connsiteY75" fmla="*/ 94400 h 108588"/>
              <a:gd name="connsiteX76" fmla="*/ 293379 w 613775"/>
              <a:gd name="connsiteY76" fmla="*/ 0 h 108588"/>
              <a:gd name="connsiteX77" fmla="*/ 359737 w 613775"/>
              <a:gd name="connsiteY77" fmla="*/ 0 h 108588"/>
              <a:gd name="connsiteX78" fmla="*/ 359737 w 613775"/>
              <a:gd name="connsiteY78" fmla="*/ 12881 h 108588"/>
              <a:gd name="connsiteX79" fmla="*/ 307448 w 613775"/>
              <a:gd name="connsiteY79" fmla="*/ 12881 h 108588"/>
              <a:gd name="connsiteX80" fmla="*/ 307448 w 613775"/>
              <a:gd name="connsiteY80" fmla="*/ 45240 h 108588"/>
              <a:gd name="connsiteX81" fmla="*/ 351831 w 613775"/>
              <a:gd name="connsiteY81" fmla="*/ 45240 h 108588"/>
              <a:gd name="connsiteX82" fmla="*/ 351831 w 613775"/>
              <a:gd name="connsiteY82" fmla="*/ 57934 h 108588"/>
              <a:gd name="connsiteX83" fmla="*/ 307448 w 613775"/>
              <a:gd name="connsiteY83" fmla="*/ 57934 h 108588"/>
              <a:gd name="connsiteX84" fmla="*/ 307448 w 613775"/>
              <a:gd name="connsiteY84" fmla="*/ 94400 h 108588"/>
              <a:gd name="connsiteX85" fmla="*/ 360484 w 613775"/>
              <a:gd name="connsiteY85" fmla="*/ 94400 h 108588"/>
              <a:gd name="connsiteX86" fmla="*/ 360484 w 613775"/>
              <a:gd name="connsiteY86" fmla="*/ 107095 h 108588"/>
              <a:gd name="connsiteX87" fmla="*/ 293379 w 613775"/>
              <a:gd name="connsiteY87" fmla="*/ 107095 h 108588"/>
              <a:gd name="connsiteX88" fmla="*/ 293379 w 613775"/>
              <a:gd name="connsiteY88" fmla="*/ 0 h 108588"/>
              <a:gd name="connsiteX89" fmla="*/ 382706 w 613775"/>
              <a:gd name="connsiteY89" fmla="*/ 0 h 108588"/>
              <a:gd name="connsiteX90" fmla="*/ 448130 w 613775"/>
              <a:gd name="connsiteY90" fmla="*/ 0 h 108588"/>
              <a:gd name="connsiteX91" fmla="*/ 448130 w 613775"/>
              <a:gd name="connsiteY91" fmla="*/ 12881 h 108588"/>
              <a:gd name="connsiteX92" fmla="*/ 396712 w 613775"/>
              <a:gd name="connsiteY92" fmla="*/ 12881 h 108588"/>
              <a:gd name="connsiteX93" fmla="*/ 396712 w 613775"/>
              <a:gd name="connsiteY93" fmla="*/ 48413 h 108588"/>
              <a:gd name="connsiteX94" fmla="*/ 440349 w 613775"/>
              <a:gd name="connsiteY94" fmla="*/ 48413 h 108588"/>
              <a:gd name="connsiteX95" fmla="*/ 440349 w 613775"/>
              <a:gd name="connsiteY95" fmla="*/ 61108 h 108588"/>
              <a:gd name="connsiteX96" fmla="*/ 396712 w 613775"/>
              <a:gd name="connsiteY96" fmla="*/ 61108 h 108588"/>
              <a:gd name="connsiteX97" fmla="*/ 396712 w 613775"/>
              <a:gd name="connsiteY97" fmla="*/ 107095 h 108588"/>
              <a:gd name="connsiteX98" fmla="*/ 382706 w 613775"/>
              <a:gd name="connsiteY98" fmla="*/ 107095 h 108588"/>
              <a:gd name="connsiteX99" fmla="*/ 382706 w 613775"/>
              <a:gd name="connsiteY99" fmla="*/ 0 h 108588"/>
              <a:gd name="connsiteX100" fmla="*/ 467614 w 613775"/>
              <a:gd name="connsiteY100" fmla="*/ 0 h 108588"/>
              <a:gd name="connsiteX101" fmla="*/ 533038 w 613775"/>
              <a:gd name="connsiteY101" fmla="*/ 0 h 108588"/>
              <a:gd name="connsiteX102" fmla="*/ 533038 w 613775"/>
              <a:gd name="connsiteY102" fmla="*/ 12881 h 108588"/>
              <a:gd name="connsiteX103" fmla="*/ 481620 w 613775"/>
              <a:gd name="connsiteY103" fmla="*/ 12881 h 108588"/>
              <a:gd name="connsiteX104" fmla="*/ 481620 w 613775"/>
              <a:gd name="connsiteY104" fmla="*/ 48413 h 108588"/>
              <a:gd name="connsiteX105" fmla="*/ 525257 w 613775"/>
              <a:gd name="connsiteY105" fmla="*/ 48413 h 108588"/>
              <a:gd name="connsiteX106" fmla="*/ 525257 w 613775"/>
              <a:gd name="connsiteY106" fmla="*/ 61108 h 108588"/>
              <a:gd name="connsiteX107" fmla="*/ 481620 w 613775"/>
              <a:gd name="connsiteY107" fmla="*/ 61108 h 108588"/>
              <a:gd name="connsiteX108" fmla="*/ 481620 w 613775"/>
              <a:gd name="connsiteY108" fmla="*/ 107095 h 108588"/>
              <a:gd name="connsiteX109" fmla="*/ 467614 w 613775"/>
              <a:gd name="connsiteY109" fmla="*/ 107095 h 108588"/>
              <a:gd name="connsiteX110" fmla="*/ 467614 w 613775"/>
              <a:gd name="connsiteY110" fmla="*/ 0 h 108588"/>
              <a:gd name="connsiteX111" fmla="*/ 576426 w 613775"/>
              <a:gd name="connsiteY111" fmla="*/ 108588 h 108588"/>
              <a:gd name="connsiteX112" fmla="*/ 547915 w 613775"/>
              <a:gd name="connsiteY112" fmla="*/ 100997 h 108588"/>
              <a:gd name="connsiteX113" fmla="*/ 547915 w 613775"/>
              <a:gd name="connsiteY113" fmla="*/ 86311 h 108588"/>
              <a:gd name="connsiteX114" fmla="*/ 561050 w 613775"/>
              <a:gd name="connsiteY114" fmla="*/ 93965 h 108588"/>
              <a:gd name="connsiteX115" fmla="*/ 576426 w 613775"/>
              <a:gd name="connsiteY115" fmla="*/ 96329 h 108588"/>
              <a:gd name="connsiteX116" fmla="*/ 593482 w 613775"/>
              <a:gd name="connsiteY116" fmla="*/ 89608 h 108588"/>
              <a:gd name="connsiteX117" fmla="*/ 599582 w 613775"/>
              <a:gd name="connsiteY117" fmla="*/ 71998 h 108588"/>
              <a:gd name="connsiteX118" fmla="*/ 593606 w 613775"/>
              <a:gd name="connsiteY118" fmla="*/ 54947 h 108588"/>
              <a:gd name="connsiteX119" fmla="*/ 578542 w 613775"/>
              <a:gd name="connsiteY119" fmla="*/ 49596 h 108588"/>
              <a:gd name="connsiteX120" fmla="*/ 567897 w 613775"/>
              <a:gd name="connsiteY120" fmla="*/ 51836 h 108588"/>
              <a:gd name="connsiteX121" fmla="*/ 561797 w 613775"/>
              <a:gd name="connsiteY121" fmla="*/ 56316 h 108588"/>
              <a:gd name="connsiteX122" fmla="*/ 550903 w 613775"/>
              <a:gd name="connsiteY122" fmla="*/ 56316 h 108588"/>
              <a:gd name="connsiteX123" fmla="*/ 550903 w 613775"/>
              <a:gd name="connsiteY123" fmla="*/ 0 h 108588"/>
              <a:gd name="connsiteX124" fmla="*/ 608857 w 613775"/>
              <a:gd name="connsiteY124" fmla="*/ 0 h 108588"/>
              <a:gd name="connsiteX125" fmla="*/ 608857 w 613775"/>
              <a:gd name="connsiteY125" fmla="*/ 12881 h 108588"/>
              <a:gd name="connsiteX126" fmla="*/ 563105 w 613775"/>
              <a:gd name="connsiteY126" fmla="*/ 12881 h 108588"/>
              <a:gd name="connsiteX127" fmla="*/ 563105 w 613775"/>
              <a:gd name="connsiteY127" fmla="*/ 43498 h 108588"/>
              <a:gd name="connsiteX128" fmla="*/ 570449 w 613775"/>
              <a:gd name="connsiteY128" fmla="*/ 39577 h 108588"/>
              <a:gd name="connsiteX129" fmla="*/ 580783 w 613775"/>
              <a:gd name="connsiteY129" fmla="*/ 37772 h 108588"/>
              <a:gd name="connsiteX130" fmla="*/ 597465 w 613775"/>
              <a:gd name="connsiteY130" fmla="*/ 41693 h 108588"/>
              <a:gd name="connsiteX131" fmla="*/ 609293 w 613775"/>
              <a:gd name="connsiteY131" fmla="*/ 53019 h 108588"/>
              <a:gd name="connsiteX132" fmla="*/ 613775 w 613775"/>
              <a:gd name="connsiteY132" fmla="*/ 71687 h 108588"/>
              <a:gd name="connsiteX133" fmla="*/ 609168 w 613775"/>
              <a:gd name="connsiteY133" fmla="*/ 91103 h 108588"/>
              <a:gd name="connsiteX134" fmla="*/ 596283 w 613775"/>
              <a:gd name="connsiteY134" fmla="*/ 104108 h 108588"/>
              <a:gd name="connsiteX135" fmla="*/ 576426 w 613775"/>
              <a:gd name="connsiteY135" fmla="*/ 108588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613775" h="108588">
                <a:moveTo>
                  <a:pt x="22099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70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2" y="65713"/>
                </a:lnTo>
                <a:lnTo>
                  <a:pt x="85282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7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7" y="38519"/>
                </a:lnTo>
                <a:lnTo>
                  <a:pt x="30627" y="65713"/>
                </a:lnTo>
                <a:close/>
                <a:moveTo>
                  <a:pt x="107816" y="0"/>
                </a:moveTo>
                <a:lnTo>
                  <a:pt x="174172" y="0"/>
                </a:lnTo>
                <a:lnTo>
                  <a:pt x="174172" y="12881"/>
                </a:lnTo>
                <a:lnTo>
                  <a:pt x="121884" y="12881"/>
                </a:lnTo>
                <a:lnTo>
                  <a:pt x="121884" y="45240"/>
                </a:lnTo>
                <a:lnTo>
                  <a:pt x="166267" y="45240"/>
                </a:lnTo>
                <a:lnTo>
                  <a:pt x="166267" y="57934"/>
                </a:lnTo>
                <a:lnTo>
                  <a:pt x="121884" y="57934"/>
                </a:lnTo>
                <a:lnTo>
                  <a:pt x="121884" y="94400"/>
                </a:lnTo>
                <a:lnTo>
                  <a:pt x="174920" y="94400"/>
                </a:lnTo>
                <a:lnTo>
                  <a:pt x="174920" y="107095"/>
                </a:lnTo>
                <a:lnTo>
                  <a:pt x="107816" y="107095"/>
                </a:lnTo>
                <a:lnTo>
                  <a:pt x="107816" y="0"/>
                </a:lnTo>
                <a:close/>
                <a:moveTo>
                  <a:pt x="197143" y="0"/>
                </a:moveTo>
                <a:lnTo>
                  <a:pt x="233434" y="0"/>
                </a:lnTo>
                <a:cubicBezTo>
                  <a:pt x="245199" y="0"/>
                  <a:pt x="254101" y="1991"/>
                  <a:pt x="260139" y="5974"/>
                </a:cubicBezTo>
                <a:cubicBezTo>
                  <a:pt x="266364" y="9956"/>
                  <a:pt x="269414" y="16677"/>
                  <a:pt x="269414" y="26136"/>
                </a:cubicBezTo>
                <a:cubicBezTo>
                  <a:pt x="269414" y="33790"/>
                  <a:pt x="267484" y="39639"/>
                  <a:pt x="263625" y="43622"/>
                </a:cubicBezTo>
                <a:cubicBezTo>
                  <a:pt x="259703" y="47480"/>
                  <a:pt x="254536" y="50156"/>
                  <a:pt x="248063" y="51525"/>
                </a:cubicBezTo>
                <a:cubicBezTo>
                  <a:pt x="256342" y="52520"/>
                  <a:pt x="262629" y="54947"/>
                  <a:pt x="266861" y="58868"/>
                </a:cubicBezTo>
                <a:cubicBezTo>
                  <a:pt x="271157" y="62664"/>
                  <a:pt x="273335" y="68389"/>
                  <a:pt x="273335" y="76168"/>
                </a:cubicBezTo>
                <a:cubicBezTo>
                  <a:pt x="273335" y="83572"/>
                  <a:pt x="271592" y="89547"/>
                  <a:pt x="268107" y="94089"/>
                </a:cubicBezTo>
                <a:cubicBezTo>
                  <a:pt x="264620" y="98694"/>
                  <a:pt x="259827" y="101992"/>
                  <a:pt x="253727" y="104108"/>
                </a:cubicBezTo>
                <a:cubicBezTo>
                  <a:pt x="247689" y="106099"/>
                  <a:pt x="240779" y="107095"/>
                  <a:pt x="233123" y="107095"/>
                </a:cubicBezTo>
                <a:lnTo>
                  <a:pt x="197143" y="107095"/>
                </a:lnTo>
                <a:lnTo>
                  <a:pt x="197143" y="0"/>
                </a:lnTo>
                <a:close/>
                <a:moveTo>
                  <a:pt x="232376" y="45738"/>
                </a:moveTo>
                <a:cubicBezTo>
                  <a:pt x="239161" y="45738"/>
                  <a:pt x="244639" y="44244"/>
                  <a:pt x="248810" y="41257"/>
                </a:cubicBezTo>
                <a:cubicBezTo>
                  <a:pt x="253104" y="38146"/>
                  <a:pt x="255221" y="33354"/>
                  <a:pt x="255221" y="26882"/>
                </a:cubicBezTo>
                <a:cubicBezTo>
                  <a:pt x="255221" y="21406"/>
                  <a:pt x="253354" y="17735"/>
                  <a:pt x="249557" y="15868"/>
                </a:cubicBezTo>
                <a:cubicBezTo>
                  <a:pt x="245759" y="13877"/>
                  <a:pt x="240405" y="12881"/>
                  <a:pt x="233434" y="12881"/>
                </a:cubicBezTo>
                <a:lnTo>
                  <a:pt x="211149" y="12881"/>
                </a:lnTo>
                <a:lnTo>
                  <a:pt x="211149" y="45738"/>
                </a:lnTo>
                <a:lnTo>
                  <a:pt x="232376" y="45738"/>
                </a:lnTo>
                <a:close/>
                <a:moveTo>
                  <a:pt x="233123" y="94400"/>
                </a:moveTo>
                <a:cubicBezTo>
                  <a:pt x="240717" y="94400"/>
                  <a:pt x="246817" y="93093"/>
                  <a:pt x="251486" y="90542"/>
                </a:cubicBezTo>
                <a:cubicBezTo>
                  <a:pt x="256155" y="87929"/>
                  <a:pt x="258520" y="83262"/>
                  <a:pt x="258520" y="76478"/>
                </a:cubicBezTo>
                <a:cubicBezTo>
                  <a:pt x="258520" y="69696"/>
                  <a:pt x="256342" y="65028"/>
                  <a:pt x="251922" y="62415"/>
                </a:cubicBezTo>
                <a:cubicBezTo>
                  <a:pt x="247689" y="59739"/>
                  <a:pt x="240842" y="58433"/>
                  <a:pt x="231504" y="58433"/>
                </a:cubicBezTo>
                <a:lnTo>
                  <a:pt x="211149" y="58433"/>
                </a:lnTo>
                <a:lnTo>
                  <a:pt x="211149" y="94400"/>
                </a:lnTo>
                <a:lnTo>
                  <a:pt x="233123" y="94400"/>
                </a:lnTo>
                <a:close/>
                <a:moveTo>
                  <a:pt x="293379" y="0"/>
                </a:moveTo>
                <a:lnTo>
                  <a:pt x="359737" y="0"/>
                </a:lnTo>
                <a:lnTo>
                  <a:pt x="359737" y="12881"/>
                </a:lnTo>
                <a:lnTo>
                  <a:pt x="307448" y="12881"/>
                </a:lnTo>
                <a:lnTo>
                  <a:pt x="307448" y="45240"/>
                </a:lnTo>
                <a:lnTo>
                  <a:pt x="351831" y="45240"/>
                </a:lnTo>
                <a:lnTo>
                  <a:pt x="351831" y="57934"/>
                </a:lnTo>
                <a:lnTo>
                  <a:pt x="307448" y="57934"/>
                </a:lnTo>
                <a:lnTo>
                  <a:pt x="307448" y="94400"/>
                </a:lnTo>
                <a:lnTo>
                  <a:pt x="360484" y="94400"/>
                </a:lnTo>
                <a:lnTo>
                  <a:pt x="360484" y="107095"/>
                </a:lnTo>
                <a:lnTo>
                  <a:pt x="293379" y="107095"/>
                </a:lnTo>
                <a:lnTo>
                  <a:pt x="293379" y="0"/>
                </a:lnTo>
                <a:close/>
                <a:moveTo>
                  <a:pt x="382706" y="0"/>
                </a:moveTo>
                <a:lnTo>
                  <a:pt x="448130" y="0"/>
                </a:lnTo>
                <a:lnTo>
                  <a:pt x="448130" y="12881"/>
                </a:lnTo>
                <a:lnTo>
                  <a:pt x="396712" y="12881"/>
                </a:lnTo>
                <a:lnTo>
                  <a:pt x="396712" y="48413"/>
                </a:lnTo>
                <a:lnTo>
                  <a:pt x="440349" y="48413"/>
                </a:lnTo>
                <a:lnTo>
                  <a:pt x="440349" y="61108"/>
                </a:lnTo>
                <a:lnTo>
                  <a:pt x="396712" y="61108"/>
                </a:lnTo>
                <a:lnTo>
                  <a:pt x="396712" y="107095"/>
                </a:lnTo>
                <a:lnTo>
                  <a:pt x="382706" y="107095"/>
                </a:lnTo>
                <a:lnTo>
                  <a:pt x="382706" y="0"/>
                </a:lnTo>
                <a:close/>
                <a:moveTo>
                  <a:pt x="467614" y="0"/>
                </a:moveTo>
                <a:lnTo>
                  <a:pt x="533038" y="0"/>
                </a:lnTo>
                <a:lnTo>
                  <a:pt x="533038" y="12881"/>
                </a:lnTo>
                <a:lnTo>
                  <a:pt x="481620" y="12881"/>
                </a:lnTo>
                <a:lnTo>
                  <a:pt x="481620" y="48413"/>
                </a:lnTo>
                <a:lnTo>
                  <a:pt x="525257" y="48413"/>
                </a:lnTo>
                <a:lnTo>
                  <a:pt x="525257" y="61108"/>
                </a:lnTo>
                <a:lnTo>
                  <a:pt x="481620" y="61108"/>
                </a:lnTo>
                <a:lnTo>
                  <a:pt x="481620" y="107095"/>
                </a:lnTo>
                <a:lnTo>
                  <a:pt x="467614" y="107095"/>
                </a:lnTo>
                <a:lnTo>
                  <a:pt x="467614" y="0"/>
                </a:lnTo>
                <a:close/>
                <a:moveTo>
                  <a:pt x="576426" y="108588"/>
                </a:moveTo>
                <a:cubicBezTo>
                  <a:pt x="564474" y="108588"/>
                  <a:pt x="554950" y="106037"/>
                  <a:pt x="547915" y="100997"/>
                </a:cubicBezTo>
                <a:lnTo>
                  <a:pt x="547915" y="86311"/>
                </a:lnTo>
                <a:cubicBezTo>
                  <a:pt x="552086" y="89733"/>
                  <a:pt x="556443" y="92284"/>
                  <a:pt x="561050" y="93965"/>
                </a:cubicBezTo>
                <a:cubicBezTo>
                  <a:pt x="565594" y="95520"/>
                  <a:pt x="570761" y="96329"/>
                  <a:pt x="576426" y="96329"/>
                </a:cubicBezTo>
                <a:cubicBezTo>
                  <a:pt x="583771" y="96329"/>
                  <a:pt x="589498" y="94089"/>
                  <a:pt x="593482" y="89608"/>
                </a:cubicBezTo>
                <a:cubicBezTo>
                  <a:pt x="597528" y="85128"/>
                  <a:pt x="599582" y="79279"/>
                  <a:pt x="599582" y="71998"/>
                </a:cubicBezTo>
                <a:cubicBezTo>
                  <a:pt x="599582" y="64219"/>
                  <a:pt x="597590" y="58556"/>
                  <a:pt x="593606" y="54947"/>
                </a:cubicBezTo>
                <a:cubicBezTo>
                  <a:pt x="589623" y="51401"/>
                  <a:pt x="584580" y="49596"/>
                  <a:pt x="578542" y="49596"/>
                </a:cubicBezTo>
                <a:cubicBezTo>
                  <a:pt x="574122" y="49596"/>
                  <a:pt x="570574" y="50343"/>
                  <a:pt x="567897" y="51836"/>
                </a:cubicBezTo>
                <a:cubicBezTo>
                  <a:pt x="565221" y="53205"/>
                  <a:pt x="563167" y="54698"/>
                  <a:pt x="561797" y="56316"/>
                </a:cubicBezTo>
                <a:lnTo>
                  <a:pt x="550903" y="56316"/>
                </a:lnTo>
                <a:lnTo>
                  <a:pt x="550903" y="0"/>
                </a:lnTo>
                <a:lnTo>
                  <a:pt x="608857" y="0"/>
                </a:lnTo>
                <a:lnTo>
                  <a:pt x="608857" y="12881"/>
                </a:lnTo>
                <a:lnTo>
                  <a:pt x="563105" y="12881"/>
                </a:lnTo>
                <a:lnTo>
                  <a:pt x="563105" y="43498"/>
                </a:lnTo>
                <a:cubicBezTo>
                  <a:pt x="565096" y="42004"/>
                  <a:pt x="567586" y="40697"/>
                  <a:pt x="570449" y="39577"/>
                </a:cubicBezTo>
                <a:cubicBezTo>
                  <a:pt x="573313" y="38394"/>
                  <a:pt x="576799" y="37772"/>
                  <a:pt x="580783" y="37772"/>
                </a:cubicBezTo>
                <a:cubicBezTo>
                  <a:pt x="586946" y="37772"/>
                  <a:pt x="592486" y="39079"/>
                  <a:pt x="597465" y="41693"/>
                </a:cubicBezTo>
                <a:cubicBezTo>
                  <a:pt x="602446" y="44182"/>
                  <a:pt x="606430" y="47978"/>
                  <a:pt x="609293" y="53019"/>
                </a:cubicBezTo>
                <a:cubicBezTo>
                  <a:pt x="612281" y="57997"/>
                  <a:pt x="613775" y="64219"/>
                  <a:pt x="613775" y="71687"/>
                </a:cubicBezTo>
                <a:cubicBezTo>
                  <a:pt x="613775" y="79092"/>
                  <a:pt x="612219" y="85564"/>
                  <a:pt x="609168" y="91103"/>
                </a:cubicBezTo>
                <a:cubicBezTo>
                  <a:pt x="606180" y="96702"/>
                  <a:pt x="601886" y="100997"/>
                  <a:pt x="596283" y="104108"/>
                </a:cubicBezTo>
                <a:cubicBezTo>
                  <a:pt x="590743" y="107095"/>
                  <a:pt x="584082" y="108588"/>
                  <a:pt x="576426" y="10858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36" name="Полилиния 1735">
            <a:extLst>
              <a:ext uri="{FF2B5EF4-FFF2-40B4-BE49-F238E27FC236}">
                <a16:creationId xmlns:a16="http://schemas.microsoft.com/office/drawing/2014/main" id="{B35F5141-96AD-CB6F-BB2C-23BE5C818D3D}"/>
              </a:ext>
            </a:extLst>
          </p:cNvPr>
          <p:cNvSpPr/>
          <p:nvPr/>
        </p:nvSpPr>
        <p:spPr>
          <a:xfrm>
            <a:off x="1444111" y="5949935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25314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37" name="TextBox 1736">
            <a:extLst>
              <a:ext uri="{FF2B5EF4-FFF2-40B4-BE49-F238E27FC236}">
                <a16:creationId xmlns:a16="http://schemas.microsoft.com/office/drawing/2014/main" id="{31311805-407F-93CC-648B-B40E7CB3C2AB}"/>
              </a:ext>
            </a:extLst>
          </p:cNvPr>
          <p:cNvSpPr txBox="1"/>
          <p:nvPr/>
        </p:nvSpPr>
        <p:spPr>
          <a:xfrm>
            <a:off x="1487656" y="6238161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25314B</a:t>
            </a:r>
            <a:endParaRPr kumimoji="0" lang="ru-RU" sz="1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  <p:sp>
        <p:nvSpPr>
          <p:cNvPr id="1840" name="Полилиния 1839">
            <a:extLst>
              <a:ext uri="{FF2B5EF4-FFF2-40B4-BE49-F238E27FC236}">
                <a16:creationId xmlns:a16="http://schemas.microsoft.com/office/drawing/2014/main" id="{06D1868B-0746-F37E-D758-784084CBE92F}"/>
              </a:ext>
            </a:extLst>
          </p:cNvPr>
          <p:cNvSpPr/>
          <p:nvPr userDrawn="1"/>
        </p:nvSpPr>
        <p:spPr>
          <a:xfrm>
            <a:off x="1444111" y="5231409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1D2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YS Text Regular"/>
            </a:endParaRPr>
          </a:p>
        </p:txBody>
      </p:sp>
      <p:sp>
        <p:nvSpPr>
          <p:cNvPr id="1842" name="TextBox 1841">
            <a:extLst>
              <a:ext uri="{FF2B5EF4-FFF2-40B4-BE49-F238E27FC236}">
                <a16:creationId xmlns:a16="http://schemas.microsoft.com/office/drawing/2014/main" id="{25A2063E-55BB-1063-32B7-3186A7105360}"/>
              </a:ext>
            </a:extLst>
          </p:cNvPr>
          <p:cNvSpPr txBox="1"/>
          <p:nvPr userDrawn="1"/>
        </p:nvSpPr>
        <p:spPr>
          <a:xfrm>
            <a:off x="1487656" y="5395950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  <a:sym typeface="Arial"/>
              </a:rPr>
              <a:t>1D2333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1843" name="Полилиния 1842">
            <a:extLst>
              <a:ext uri="{FF2B5EF4-FFF2-40B4-BE49-F238E27FC236}">
                <a16:creationId xmlns:a16="http://schemas.microsoft.com/office/drawing/2014/main" id="{4AC1FD1F-5372-D84C-9C0F-5098CF712D41}"/>
              </a:ext>
            </a:extLst>
          </p:cNvPr>
          <p:cNvSpPr/>
          <p:nvPr userDrawn="1"/>
        </p:nvSpPr>
        <p:spPr>
          <a:xfrm>
            <a:off x="1444111" y="3787620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YS Text Regular"/>
            </a:endParaRPr>
          </a:p>
        </p:txBody>
      </p:sp>
      <p:sp>
        <p:nvSpPr>
          <p:cNvPr id="1844" name="TextBox 1843">
            <a:extLst>
              <a:ext uri="{FF2B5EF4-FFF2-40B4-BE49-F238E27FC236}">
                <a16:creationId xmlns:a16="http://schemas.microsoft.com/office/drawing/2014/main" id="{3DCE200C-8AAD-1F1A-0B4D-B7DE43C55791}"/>
              </a:ext>
            </a:extLst>
          </p:cNvPr>
          <p:cNvSpPr txBox="1"/>
          <p:nvPr userDrawn="1"/>
        </p:nvSpPr>
        <p:spPr>
          <a:xfrm>
            <a:off x="1487656" y="3964192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  <a:sym typeface="Arial"/>
              </a:rPr>
              <a:t>0F141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1887" name="Полилиния 1886">
            <a:extLst>
              <a:ext uri="{FF2B5EF4-FFF2-40B4-BE49-F238E27FC236}">
                <a16:creationId xmlns:a16="http://schemas.microsoft.com/office/drawing/2014/main" id="{C8515498-CD2E-0CFD-B61B-B2E0C4196CCD}"/>
              </a:ext>
            </a:extLst>
          </p:cNvPr>
          <p:cNvSpPr/>
          <p:nvPr userDrawn="1"/>
        </p:nvSpPr>
        <p:spPr>
          <a:xfrm>
            <a:off x="1444111" y="8859747"/>
            <a:ext cx="2556000" cy="726227"/>
          </a:xfrm>
          <a:custGeom>
            <a:avLst/>
            <a:gdLst>
              <a:gd name="connsiteX0" fmla="*/ 1488 w 2191162"/>
              <a:gd name="connsiteY0" fmla="*/ 1522 h 622284"/>
              <a:gd name="connsiteX1" fmla="*/ 2192651 w 2191162"/>
              <a:gd name="connsiteY1" fmla="*/ 1522 h 622284"/>
              <a:gd name="connsiteX2" fmla="*/ 2192651 w 2191162"/>
              <a:gd name="connsiteY2" fmla="*/ 623806 h 622284"/>
              <a:gd name="connsiteX3" fmla="*/ 1488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522"/>
                </a:moveTo>
                <a:lnTo>
                  <a:pt x="2192651" y="1522"/>
                </a:lnTo>
                <a:lnTo>
                  <a:pt x="2192651" y="623806"/>
                </a:lnTo>
                <a:lnTo>
                  <a:pt x="1488" y="623806"/>
                </a:lnTo>
                <a:close/>
              </a:path>
            </a:pathLst>
          </a:custGeom>
          <a:solidFill>
            <a:srgbClr val="8495B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888" name="TextBox 1887">
            <a:extLst>
              <a:ext uri="{FF2B5EF4-FFF2-40B4-BE49-F238E27FC236}">
                <a16:creationId xmlns:a16="http://schemas.microsoft.com/office/drawing/2014/main" id="{CF12A430-CDD4-944B-E736-ED1D8DA869BE}"/>
              </a:ext>
            </a:extLst>
          </p:cNvPr>
          <p:cNvSpPr txBox="1"/>
          <p:nvPr userDrawn="1"/>
        </p:nvSpPr>
        <p:spPr>
          <a:xfrm>
            <a:off x="1487656" y="9070629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</a:rPr>
              <a:t>#8495B8</a:t>
            </a:r>
          </a:p>
        </p:txBody>
      </p:sp>
      <p:sp>
        <p:nvSpPr>
          <p:cNvPr id="1897" name="Полилиния 1896">
            <a:extLst>
              <a:ext uri="{FF2B5EF4-FFF2-40B4-BE49-F238E27FC236}">
                <a16:creationId xmlns:a16="http://schemas.microsoft.com/office/drawing/2014/main" id="{7ED568B4-E221-7F8C-3230-BE470CF9112D}"/>
              </a:ext>
            </a:extLst>
          </p:cNvPr>
          <p:cNvSpPr/>
          <p:nvPr userDrawn="1"/>
        </p:nvSpPr>
        <p:spPr>
          <a:xfrm>
            <a:off x="1444111" y="10312200"/>
            <a:ext cx="2556000" cy="726227"/>
          </a:xfrm>
          <a:custGeom>
            <a:avLst/>
            <a:gdLst>
              <a:gd name="connsiteX0" fmla="*/ 1488 w 2191162"/>
              <a:gd name="connsiteY0" fmla="*/ 1722 h 622284"/>
              <a:gd name="connsiteX1" fmla="*/ 2192651 w 2191162"/>
              <a:gd name="connsiteY1" fmla="*/ 1722 h 622284"/>
              <a:gd name="connsiteX2" fmla="*/ 2192651 w 2191162"/>
              <a:gd name="connsiteY2" fmla="*/ 624006 h 622284"/>
              <a:gd name="connsiteX3" fmla="*/ 1488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722"/>
                </a:moveTo>
                <a:lnTo>
                  <a:pt x="2192651" y="1722"/>
                </a:lnTo>
                <a:lnTo>
                  <a:pt x="2192651" y="624006"/>
                </a:lnTo>
                <a:lnTo>
                  <a:pt x="1488" y="624006"/>
                </a:lnTo>
                <a:close/>
              </a:path>
            </a:pathLst>
          </a:custGeom>
          <a:solidFill>
            <a:srgbClr val="ADBBD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898" name="TextBox 1897">
            <a:extLst>
              <a:ext uri="{FF2B5EF4-FFF2-40B4-BE49-F238E27FC236}">
                <a16:creationId xmlns:a16="http://schemas.microsoft.com/office/drawing/2014/main" id="{1BEBF809-B872-8DC7-4FE9-DD6A30833C2E}"/>
              </a:ext>
            </a:extLst>
          </p:cNvPr>
          <p:cNvSpPr txBox="1"/>
          <p:nvPr userDrawn="1"/>
        </p:nvSpPr>
        <p:spPr>
          <a:xfrm>
            <a:off x="1485916" y="10532644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ADBBD5</a:t>
            </a:r>
          </a:p>
        </p:txBody>
      </p:sp>
      <p:sp>
        <p:nvSpPr>
          <p:cNvPr id="2198" name="TextBox 2197">
            <a:extLst>
              <a:ext uri="{FF2B5EF4-FFF2-40B4-BE49-F238E27FC236}">
                <a16:creationId xmlns:a16="http://schemas.microsoft.com/office/drawing/2014/main" id="{0C257742-5C45-1C0A-4983-071703F19D31}"/>
              </a:ext>
            </a:extLst>
          </p:cNvPr>
          <p:cNvSpPr txBox="1"/>
          <p:nvPr userDrawn="1"/>
        </p:nvSpPr>
        <p:spPr>
          <a:xfrm>
            <a:off x="4172180" y="6905734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</a:rPr>
              <a:t>#</a:t>
            </a:r>
            <a:r>
              <a:rPr lang="en-US" sz="1400" dirty="0">
                <a:solidFill>
                  <a:schemeClr val="bg1"/>
                </a:solidFill>
              </a:rPr>
              <a:t>6A00EC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</a:endParaRPr>
          </a:p>
        </p:txBody>
      </p:sp>
      <p:grpSp>
        <p:nvGrpSpPr>
          <p:cNvPr id="2204" name="Группа 2203">
            <a:extLst>
              <a:ext uri="{FF2B5EF4-FFF2-40B4-BE49-F238E27FC236}">
                <a16:creationId xmlns:a16="http://schemas.microsoft.com/office/drawing/2014/main" id="{8DB133B5-696C-F7F1-74CD-E62013303970}"/>
              </a:ext>
            </a:extLst>
          </p:cNvPr>
          <p:cNvGrpSpPr/>
          <p:nvPr userDrawn="1"/>
        </p:nvGrpSpPr>
        <p:grpSpPr>
          <a:xfrm>
            <a:off x="8831970" y="7619044"/>
            <a:ext cx="312638" cy="312638"/>
            <a:chOff x="2816046" y="7085282"/>
            <a:chExt cx="346932" cy="346932"/>
          </a:xfrm>
        </p:grpSpPr>
        <p:sp>
          <p:nvSpPr>
            <p:cNvPr id="2205" name="Рисунок 1184">
              <a:extLst>
                <a:ext uri="{FF2B5EF4-FFF2-40B4-BE49-F238E27FC236}">
                  <a16:creationId xmlns:a16="http://schemas.microsoft.com/office/drawing/2014/main" id="{B6E89DE4-92FC-089E-3D42-E77C4730EF7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06" name="Прямоугольник 2205">
              <a:extLst>
                <a:ext uri="{FF2B5EF4-FFF2-40B4-BE49-F238E27FC236}">
                  <a16:creationId xmlns:a16="http://schemas.microsoft.com/office/drawing/2014/main" id="{EA249259-6066-DE5E-3679-076245FB45D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07" name="Рисунок 1184">
              <a:extLst>
                <a:ext uri="{FF2B5EF4-FFF2-40B4-BE49-F238E27FC236}">
                  <a16:creationId xmlns:a16="http://schemas.microsoft.com/office/drawing/2014/main" id="{05A35307-E840-48AF-C88C-5F0D3BC447CE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16" name="Группа 2215">
            <a:extLst>
              <a:ext uri="{FF2B5EF4-FFF2-40B4-BE49-F238E27FC236}">
                <a16:creationId xmlns:a16="http://schemas.microsoft.com/office/drawing/2014/main" id="{2038F663-C46A-4BBC-035E-FB08F5472454}"/>
              </a:ext>
            </a:extLst>
          </p:cNvPr>
          <p:cNvGrpSpPr/>
          <p:nvPr userDrawn="1"/>
        </p:nvGrpSpPr>
        <p:grpSpPr>
          <a:xfrm>
            <a:off x="3494874" y="3994414"/>
            <a:ext cx="312638" cy="312638"/>
            <a:chOff x="2816046" y="7085282"/>
            <a:chExt cx="346932" cy="346932"/>
          </a:xfrm>
        </p:grpSpPr>
        <p:sp>
          <p:nvSpPr>
            <p:cNvPr id="2217" name="Рисунок 1184">
              <a:extLst>
                <a:ext uri="{FF2B5EF4-FFF2-40B4-BE49-F238E27FC236}">
                  <a16:creationId xmlns:a16="http://schemas.microsoft.com/office/drawing/2014/main" id="{C465162D-3F2B-E9FD-22D3-F26DF2BE8D7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18" name="Прямоугольник 2217">
              <a:extLst>
                <a:ext uri="{FF2B5EF4-FFF2-40B4-BE49-F238E27FC236}">
                  <a16:creationId xmlns:a16="http://schemas.microsoft.com/office/drawing/2014/main" id="{C17579C1-6F29-0034-5DB2-F5779AF8F69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19" name="Рисунок 1184">
              <a:extLst>
                <a:ext uri="{FF2B5EF4-FFF2-40B4-BE49-F238E27FC236}">
                  <a16:creationId xmlns:a16="http://schemas.microsoft.com/office/drawing/2014/main" id="{DC2B2B47-B1EE-A80B-5CE7-45B4B18AE113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20" name="Группа 2219">
            <a:extLst>
              <a:ext uri="{FF2B5EF4-FFF2-40B4-BE49-F238E27FC236}">
                <a16:creationId xmlns:a16="http://schemas.microsoft.com/office/drawing/2014/main" id="{FBEF28EC-6A57-EA74-BEA6-B494FA9588F4}"/>
              </a:ext>
            </a:extLst>
          </p:cNvPr>
          <p:cNvGrpSpPr/>
          <p:nvPr userDrawn="1"/>
        </p:nvGrpSpPr>
        <p:grpSpPr>
          <a:xfrm>
            <a:off x="3494874" y="9804225"/>
            <a:ext cx="312638" cy="312638"/>
            <a:chOff x="2816046" y="7085282"/>
            <a:chExt cx="346932" cy="346932"/>
          </a:xfrm>
        </p:grpSpPr>
        <p:sp>
          <p:nvSpPr>
            <p:cNvPr id="2221" name="Рисунок 1184">
              <a:extLst>
                <a:ext uri="{FF2B5EF4-FFF2-40B4-BE49-F238E27FC236}">
                  <a16:creationId xmlns:a16="http://schemas.microsoft.com/office/drawing/2014/main" id="{D701E7F3-28BB-8002-4342-455ACE17FE7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22" name="Прямоугольник 2221">
              <a:extLst>
                <a:ext uri="{FF2B5EF4-FFF2-40B4-BE49-F238E27FC236}">
                  <a16:creationId xmlns:a16="http://schemas.microsoft.com/office/drawing/2014/main" id="{C007C8DC-AEB8-8BE3-D47E-DF66E7A0BD5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23" name="Рисунок 1184">
              <a:extLst>
                <a:ext uri="{FF2B5EF4-FFF2-40B4-BE49-F238E27FC236}">
                  <a16:creationId xmlns:a16="http://schemas.microsoft.com/office/drawing/2014/main" id="{EDFD9038-059A-F491-D190-A7D87D3BC3A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D27A418E-A1EA-43C2-6476-6D803B3F5257}"/>
              </a:ext>
            </a:extLst>
          </p:cNvPr>
          <p:cNvGrpSpPr/>
          <p:nvPr userDrawn="1"/>
        </p:nvGrpSpPr>
        <p:grpSpPr>
          <a:xfrm>
            <a:off x="3494874" y="5443651"/>
            <a:ext cx="312638" cy="312638"/>
            <a:chOff x="2816046" y="7085282"/>
            <a:chExt cx="346932" cy="346932"/>
          </a:xfrm>
        </p:grpSpPr>
        <p:sp>
          <p:nvSpPr>
            <p:cNvPr id="46" name="Рисунок 1184">
              <a:extLst>
                <a:ext uri="{FF2B5EF4-FFF2-40B4-BE49-F238E27FC236}">
                  <a16:creationId xmlns:a16="http://schemas.microsoft.com/office/drawing/2014/main" id="{35D52C2D-85A7-EE5E-2C45-D6F9036B27C2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A2AFFE1C-7153-E986-DA48-DE3E0260AE06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Рисунок 1184">
              <a:extLst>
                <a:ext uri="{FF2B5EF4-FFF2-40B4-BE49-F238E27FC236}">
                  <a16:creationId xmlns:a16="http://schemas.microsoft.com/office/drawing/2014/main" id="{ED4C7005-0CAD-7D52-78AF-6B016F6A691E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69" name="Группа 1868">
            <a:extLst>
              <a:ext uri="{FF2B5EF4-FFF2-40B4-BE49-F238E27FC236}">
                <a16:creationId xmlns:a16="http://schemas.microsoft.com/office/drawing/2014/main" id="{30191661-0222-A8CF-8929-A397F71C65D8}"/>
              </a:ext>
            </a:extLst>
          </p:cNvPr>
          <p:cNvGrpSpPr/>
          <p:nvPr userDrawn="1"/>
        </p:nvGrpSpPr>
        <p:grpSpPr>
          <a:xfrm>
            <a:off x="6130477" y="5445188"/>
            <a:ext cx="312638" cy="312638"/>
            <a:chOff x="2816046" y="7085282"/>
            <a:chExt cx="346932" cy="346932"/>
          </a:xfrm>
        </p:grpSpPr>
        <p:sp>
          <p:nvSpPr>
            <p:cNvPr id="1870" name="Рисунок 1184">
              <a:extLst>
                <a:ext uri="{FF2B5EF4-FFF2-40B4-BE49-F238E27FC236}">
                  <a16:creationId xmlns:a16="http://schemas.microsoft.com/office/drawing/2014/main" id="{447C694F-C543-8A8A-36CD-1EEFB5610F09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71" name="Прямоугольник 1870">
              <a:extLst>
                <a:ext uri="{FF2B5EF4-FFF2-40B4-BE49-F238E27FC236}">
                  <a16:creationId xmlns:a16="http://schemas.microsoft.com/office/drawing/2014/main" id="{0FF47C63-BCF8-7AE6-200C-4E68DABC890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72" name="Рисунок 1184">
              <a:extLst>
                <a:ext uri="{FF2B5EF4-FFF2-40B4-BE49-F238E27FC236}">
                  <a16:creationId xmlns:a16="http://schemas.microsoft.com/office/drawing/2014/main" id="{F3FB1D5B-5E84-B1F8-9021-956BAA102A8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81" name="Группа 1880">
            <a:extLst>
              <a:ext uri="{FF2B5EF4-FFF2-40B4-BE49-F238E27FC236}">
                <a16:creationId xmlns:a16="http://schemas.microsoft.com/office/drawing/2014/main" id="{1A3AC308-5228-DEF6-8226-E559B58587EE}"/>
              </a:ext>
            </a:extLst>
          </p:cNvPr>
          <p:cNvGrpSpPr/>
          <p:nvPr userDrawn="1"/>
        </p:nvGrpSpPr>
        <p:grpSpPr>
          <a:xfrm>
            <a:off x="8831970" y="6894426"/>
            <a:ext cx="312638" cy="312638"/>
            <a:chOff x="2816046" y="7085282"/>
            <a:chExt cx="346932" cy="346932"/>
          </a:xfrm>
        </p:grpSpPr>
        <p:sp>
          <p:nvSpPr>
            <p:cNvPr id="1882" name="Рисунок 1184">
              <a:extLst>
                <a:ext uri="{FF2B5EF4-FFF2-40B4-BE49-F238E27FC236}">
                  <a16:creationId xmlns:a16="http://schemas.microsoft.com/office/drawing/2014/main" id="{B8A5D25C-978C-EDC5-32C3-2948138175D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83" name="Прямоугольник 1882">
              <a:extLst>
                <a:ext uri="{FF2B5EF4-FFF2-40B4-BE49-F238E27FC236}">
                  <a16:creationId xmlns:a16="http://schemas.microsoft.com/office/drawing/2014/main" id="{0CC0101E-83A7-A24A-ECF2-5C79F8C175E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84" name="Рисунок 1184">
              <a:extLst>
                <a:ext uri="{FF2B5EF4-FFF2-40B4-BE49-F238E27FC236}">
                  <a16:creationId xmlns:a16="http://schemas.microsoft.com/office/drawing/2014/main" id="{61AD3802-74BE-2A59-D23E-68855B14DB26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91" name="Группа 1890">
            <a:extLst>
              <a:ext uri="{FF2B5EF4-FFF2-40B4-BE49-F238E27FC236}">
                <a16:creationId xmlns:a16="http://schemas.microsoft.com/office/drawing/2014/main" id="{88973B1F-77A7-57BD-2A1B-DCD02B791955}"/>
              </a:ext>
            </a:extLst>
          </p:cNvPr>
          <p:cNvGrpSpPr/>
          <p:nvPr userDrawn="1"/>
        </p:nvGrpSpPr>
        <p:grpSpPr>
          <a:xfrm>
            <a:off x="8831970" y="5450636"/>
            <a:ext cx="312638" cy="312638"/>
            <a:chOff x="2816046" y="7085282"/>
            <a:chExt cx="346932" cy="346932"/>
          </a:xfrm>
        </p:grpSpPr>
        <p:sp>
          <p:nvSpPr>
            <p:cNvPr id="1892" name="Рисунок 1184">
              <a:extLst>
                <a:ext uri="{FF2B5EF4-FFF2-40B4-BE49-F238E27FC236}">
                  <a16:creationId xmlns:a16="http://schemas.microsoft.com/office/drawing/2014/main" id="{50728BD7-1ADE-7758-B578-EEAFE7BEB13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93" name="Прямоугольник 1892">
              <a:extLst>
                <a:ext uri="{FF2B5EF4-FFF2-40B4-BE49-F238E27FC236}">
                  <a16:creationId xmlns:a16="http://schemas.microsoft.com/office/drawing/2014/main" id="{EA889C38-D6B6-AB97-EE3F-8AC239BBFE91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94" name="Рисунок 1184">
              <a:extLst>
                <a:ext uri="{FF2B5EF4-FFF2-40B4-BE49-F238E27FC236}">
                  <a16:creationId xmlns:a16="http://schemas.microsoft.com/office/drawing/2014/main" id="{D3A46811-88F9-879A-D4BC-D2D6FB37482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1" name="Группа 1900">
            <a:extLst>
              <a:ext uri="{FF2B5EF4-FFF2-40B4-BE49-F238E27FC236}">
                <a16:creationId xmlns:a16="http://schemas.microsoft.com/office/drawing/2014/main" id="{095E3701-0CD1-FEAF-CA4D-D7212B83E065}"/>
              </a:ext>
            </a:extLst>
          </p:cNvPr>
          <p:cNvGrpSpPr/>
          <p:nvPr userDrawn="1"/>
        </p:nvGrpSpPr>
        <p:grpSpPr>
          <a:xfrm>
            <a:off x="6130477" y="7619044"/>
            <a:ext cx="312638" cy="312638"/>
            <a:chOff x="2816046" y="7085282"/>
            <a:chExt cx="346932" cy="346932"/>
          </a:xfrm>
        </p:grpSpPr>
        <p:sp>
          <p:nvSpPr>
            <p:cNvPr id="1902" name="Рисунок 1184">
              <a:extLst>
                <a:ext uri="{FF2B5EF4-FFF2-40B4-BE49-F238E27FC236}">
                  <a16:creationId xmlns:a16="http://schemas.microsoft.com/office/drawing/2014/main" id="{E2A65771-8D61-D558-E4E6-905D52E5C15E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03" name="Прямоугольник 1902">
              <a:extLst>
                <a:ext uri="{FF2B5EF4-FFF2-40B4-BE49-F238E27FC236}">
                  <a16:creationId xmlns:a16="http://schemas.microsoft.com/office/drawing/2014/main" id="{0F5F1934-68D8-0681-010F-EDAA3810FB2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04" name="Рисунок 1184">
              <a:extLst>
                <a:ext uri="{FF2B5EF4-FFF2-40B4-BE49-F238E27FC236}">
                  <a16:creationId xmlns:a16="http://schemas.microsoft.com/office/drawing/2014/main" id="{35064663-4555-A0B2-ED48-040FB305E4C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5" name="Группа 1904">
            <a:extLst>
              <a:ext uri="{FF2B5EF4-FFF2-40B4-BE49-F238E27FC236}">
                <a16:creationId xmlns:a16="http://schemas.microsoft.com/office/drawing/2014/main" id="{8C40DD2D-4AFA-ECB7-777A-4076CDE72565}"/>
              </a:ext>
            </a:extLst>
          </p:cNvPr>
          <p:cNvGrpSpPr/>
          <p:nvPr userDrawn="1"/>
        </p:nvGrpSpPr>
        <p:grpSpPr>
          <a:xfrm>
            <a:off x="6130477" y="6894426"/>
            <a:ext cx="312638" cy="312638"/>
            <a:chOff x="2816046" y="7085282"/>
            <a:chExt cx="346932" cy="346932"/>
          </a:xfrm>
        </p:grpSpPr>
        <p:sp>
          <p:nvSpPr>
            <p:cNvPr id="1906" name="Рисунок 1184">
              <a:extLst>
                <a:ext uri="{FF2B5EF4-FFF2-40B4-BE49-F238E27FC236}">
                  <a16:creationId xmlns:a16="http://schemas.microsoft.com/office/drawing/2014/main" id="{AD17DA04-E156-3DA6-93EB-5CCCA80F06C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07" name="Прямоугольник 1906">
              <a:extLst>
                <a:ext uri="{FF2B5EF4-FFF2-40B4-BE49-F238E27FC236}">
                  <a16:creationId xmlns:a16="http://schemas.microsoft.com/office/drawing/2014/main" id="{D0323C47-C2D9-22BF-FB42-84D6738FBC9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08" name="Рисунок 1184">
              <a:extLst>
                <a:ext uri="{FF2B5EF4-FFF2-40B4-BE49-F238E27FC236}">
                  <a16:creationId xmlns:a16="http://schemas.microsoft.com/office/drawing/2014/main" id="{6BD61788-3D6A-335F-C9CC-8DADC7BDE63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9" name="Группа 1908">
            <a:extLst>
              <a:ext uri="{FF2B5EF4-FFF2-40B4-BE49-F238E27FC236}">
                <a16:creationId xmlns:a16="http://schemas.microsoft.com/office/drawing/2014/main" id="{2F468B2F-61C8-04F7-2643-40949A2F4509}"/>
              </a:ext>
            </a:extLst>
          </p:cNvPr>
          <p:cNvGrpSpPr/>
          <p:nvPr userDrawn="1"/>
        </p:nvGrpSpPr>
        <p:grpSpPr>
          <a:xfrm>
            <a:off x="6130477" y="6172531"/>
            <a:ext cx="312638" cy="312638"/>
            <a:chOff x="2816046" y="7085282"/>
            <a:chExt cx="346932" cy="346932"/>
          </a:xfrm>
        </p:grpSpPr>
        <p:sp>
          <p:nvSpPr>
            <p:cNvPr id="1910" name="Рисунок 1184">
              <a:extLst>
                <a:ext uri="{FF2B5EF4-FFF2-40B4-BE49-F238E27FC236}">
                  <a16:creationId xmlns:a16="http://schemas.microsoft.com/office/drawing/2014/main" id="{E4F146F5-A761-2447-8DD0-48D5C2C68B3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1" name="Прямоугольник 1910">
              <a:extLst>
                <a:ext uri="{FF2B5EF4-FFF2-40B4-BE49-F238E27FC236}">
                  <a16:creationId xmlns:a16="http://schemas.microsoft.com/office/drawing/2014/main" id="{8D96A5CC-0F43-5BBE-0F31-E68CAE053A4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12" name="Рисунок 1184">
              <a:extLst>
                <a:ext uri="{FF2B5EF4-FFF2-40B4-BE49-F238E27FC236}">
                  <a16:creationId xmlns:a16="http://schemas.microsoft.com/office/drawing/2014/main" id="{B3B9D24C-C449-F1CF-0F84-05E65D7448F4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13" name="Группа 1912">
            <a:extLst>
              <a:ext uri="{FF2B5EF4-FFF2-40B4-BE49-F238E27FC236}">
                <a16:creationId xmlns:a16="http://schemas.microsoft.com/office/drawing/2014/main" id="{5089510D-998A-F7BF-2C80-0840AD3B2B97}"/>
              </a:ext>
            </a:extLst>
          </p:cNvPr>
          <p:cNvGrpSpPr/>
          <p:nvPr userDrawn="1"/>
        </p:nvGrpSpPr>
        <p:grpSpPr>
          <a:xfrm>
            <a:off x="6130477" y="4728741"/>
            <a:ext cx="312638" cy="312638"/>
            <a:chOff x="2816046" y="7085282"/>
            <a:chExt cx="346932" cy="346932"/>
          </a:xfrm>
        </p:grpSpPr>
        <p:sp>
          <p:nvSpPr>
            <p:cNvPr id="1914" name="Рисунок 1184">
              <a:extLst>
                <a:ext uri="{FF2B5EF4-FFF2-40B4-BE49-F238E27FC236}">
                  <a16:creationId xmlns:a16="http://schemas.microsoft.com/office/drawing/2014/main" id="{2CED6186-C7FD-F26C-4A39-6E2C0AF830D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5" name="Прямоугольник 1914">
              <a:extLst>
                <a:ext uri="{FF2B5EF4-FFF2-40B4-BE49-F238E27FC236}">
                  <a16:creationId xmlns:a16="http://schemas.microsoft.com/office/drawing/2014/main" id="{89033EA2-0CDD-4DD0-3D63-0D443DCE596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16" name="Рисунок 1184">
              <a:extLst>
                <a:ext uri="{FF2B5EF4-FFF2-40B4-BE49-F238E27FC236}">
                  <a16:creationId xmlns:a16="http://schemas.microsoft.com/office/drawing/2014/main" id="{B0C897C5-1C0B-C188-BBFB-A14645A95886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17" name="Группа 1916">
            <a:extLst>
              <a:ext uri="{FF2B5EF4-FFF2-40B4-BE49-F238E27FC236}">
                <a16:creationId xmlns:a16="http://schemas.microsoft.com/office/drawing/2014/main" id="{829AB3BE-9DAC-EA7F-52CE-B77C8EA6901D}"/>
              </a:ext>
            </a:extLst>
          </p:cNvPr>
          <p:cNvGrpSpPr/>
          <p:nvPr userDrawn="1"/>
        </p:nvGrpSpPr>
        <p:grpSpPr>
          <a:xfrm>
            <a:off x="3494874" y="7619044"/>
            <a:ext cx="312638" cy="312638"/>
            <a:chOff x="2816046" y="7085282"/>
            <a:chExt cx="346932" cy="346932"/>
          </a:xfrm>
        </p:grpSpPr>
        <p:sp>
          <p:nvSpPr>
            <p:cNvPr id="1918" name="Рисунок 1184">
              <a:extLst>
                <a:ext uri="{FF2B5EF4-FFF2-40B4-BE49-F238E27FC236}">
                  <a16:creationId xmlns:a16="http://schemas.microsoft.com/office/drawing/2014/main" id="{6F04067C-E2C7-B355-E416-CA4981378CD9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9" name="Прямоугольник 1918">
              <a:extLst>
                <a:ext uri="{FF2B5EF4-FFF2-40B4-BE49-F238E27FC236}">
                  <a16:creationId xmlns:a16="http://schemas.microsoft.com/office/drawing/2014/main" id="{6EC4735E-FCAC-DD79-A138-F8A84DF96A68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64" name="Рисунок 1184">
              <a:extLst>
                <a:ext uri="{FF2B5EF4-FFF2-40B4-BE49-F238E27FC236}">
                  <a16:creationId xmlns:a16="http://schemas.microsoft.com/office/drawing/2014/main" id="{F606A38C-C08A-F11C-F9A9-DD29A43D6FB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B6F05BFD-21A8-0EA5-20C6-421C3991DCD4}"/>
              </a:ext>
            </a:extLst>
          </p:cNvPr>
          <p:cNvGrpSpPr/>
          <p:nvPr userDrawn="1"/>
        </p:nvGrpSpPr>
        <p:grpSpPr>
          <a:xfrm>
            <a:off x="3494874" y="6894426"/>
            <a:ext cx="312638" cy="312638"/>
            <a:chOff x="2816046" y="7085282"/>
            <a:chExt cx="346932" cy="346932"/>
          </a:xfrm>
        </p:grpSpPr>
        <p:sp>
          <p:nvSpPr>
            <p:cNvPr id="66" name="Рисунок 1184">
              <a:extLst>
                <a:ext uri="{FF2B5EF4-FFF2-40B4-BE49-F238E27FC236}">
                  <a16:creationId xmlns:a16="http://schemas.microsoft.com/office/drawing/2014/main" id="{721CF116-5CD2-3137-5B61-D104813A69C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C461C061-B62C-42B2-6659-E9DBD8FF7B1F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68" name="Рисунок 1184">
              <a:extLst>
                <a:ext uri="{FF2B5EF4-FFF2-40B4-BE49-F238E27FC236}">
                  <a16:creationId xmlns:a16="http://schemas.microsoft.com/office/drawing/2014/main" id="{08B16AE9-B0F3-0A1F-C4DE-C2B3E666B89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63D4A178-07D0-0A8E-7B9B-2D8AEE06841D}"/>
              </a:ext>
            </a:extLst>
          </p:cNvPr>
          <p:cNvGrpSpPr/>
          <p:nvPr userDrawn="1"/>
        </p:nvGrpSpPr>
        <p:grpSpPr>
          <a:xfrm>
            <a:off x="3494874" y="6172531"/>
            <a:ext cx="312638" cy="312638"/>
            <a:chOff x="2816046" y="7085282"/>
            <a:chExt cx="346932" cy="346932"/>
          </a:xfrm>
        </p:grpSpPr>
        <p:sp>
          <p:nvSpPr>
            <p:cNvPr id="70" name="Рисунок 1184">
              <a:extLst>
                <a:ext uri="{FF2B5EF4-FFF2-40B4-BE49-F238E27FC236}">
                  <a16:creationId xmlns:a16="http://schemas.microsoft.com/office/drawing/2014/main" id="{8992FAA6-4FB1-0721-D0CE-6F8DA670F7D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id="{0D5A1EAC-E0E6-B96E-94AA-57E5C16F0E59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72" name="Рисунок 1184">
              <a:extLst>
                <a:ext uri="{FF2B5EF4-FFF2-40B4-BE49-F238E27FC236}">
                  <a16:creationId xmlns:a16="http://schemas.microsoft.com/office/drawing/2014/main" id="{1880C40F-741E-9913-237B-91AE4807480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B86F3DFE-E1EC-BB6D-87B8-0CFFFAE0EEF5}"/>
              </a:ext>
            </a:extLst>
          </p:cNvPr>
          <p:cNvGrpSpPr/>
          <p:nvPr userDrawn="1"/>
        </p:nvGrpSpPr>
        <p:grpSpPr>
          <a:xfrm>
            <a:off x="11508756" y="7619044"/>
            <a:ext cx="312638" cy="312638"/>
            <a:chOff x="2816046" y="7085282"/>
            <a:chExt cx="346932" cy="346932"/>
          </a:xfrm>
        </p:grpSpPr>
        <p:sp>
          <p:nvSpPr>
            <p:cNvPr id="94" name="Рисунок 1184">
              <a:extLst>
                <a:ext uri="{FF2B5EF4-FFF2-40B4-BE49-F238E27FC236}">
                  <a16:creationId xmlns:a16="http://schemas.microsoft.com/office/drawing/2014/main" id="{DE3A3AF6-9CDD-79F4-D142-0A649FF6D65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Прямоугольник 94">
              <a:extLst>
                <a:ext uri="{FF2B5EF4-FFF2-40B4-BE49-F238E27FC236}">
                  <a16:creationId xmlns:a16="http://schemas.microsoft.com/office/drawing/2014/main" id="{550B69BB-569E-83F3-4860-8C51DEBDF7A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96" name="Рисунок 1184">
              <a:extLst>
                <a:ext uri="{FF2B5EF4-FFF2-40B4-BE49-F238E27FC236}">
                  <a16:creationId xmlns:a16="http://schemas.microsoft.com/office/drawing/2014/main" id="{1C7A63C1-687B-55FD-7472-306466EB26F2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EEC3B036-8A28-B18B-CD36-A59DF6BEDA58}"/>
              </a:ext>
            </a:extLst>
          </p:cNvPr>
          <p:cNvGrpSpPr/>
          <p:nvPr userDrawn="1"/>
        </p:nvGrpSpPr>
        <p:grpSpPr>
          <a:xfrm>
            <a:off x="13246605" y="6899322"/>
            <a:ext cx="312638" cy="312638"/>
            <a:chOff x="2816046" y="7085282"/>
            <a:chExt cx="346932" cy="346932"/>
          </a:xfrm>
        </p:grpSpPr>
        <p:sp>
          <p:nvSpPr>
            <p:cNvPr id="98" name="Рисунок 1184">
              <a:extLst>
                <a:ext uri="{FF2B5EF4-FFF2-40B4-BE49-F238E27FC236}">
                  <a16:creationId xmlns:a16="http://schemas.microsoft.com/office/drawing/2014/main" id="{81F8EA0F-A2A6-33A1-3B73-62ADD237D0E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Прямоугольник 98">
              <a:extLst>
                <a:ext uri="{FF2B5EF4-FFF2-40B4-BE49-F238E27FC236}">
                  <a16:creationId xmlns:a16="http://schemas.microsoft.com/office/drawing/2014/main" id="{8B5886B0-4150-2F52-D9B6-9D66CFE17F43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1" name="Рисунок 1184">
              <a:extLst>
                <a:ext uri="{FF2B5EF4-FFF2-40B4-BE49-F238E27FC236}">
                  <a16:creationId xmlns:a16="http://schemas.microsoft.com/office/drawing/2014/main" id="{3A5B671B-8BCF-2846-983C-70D05D8BFE90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C367E978-B339-3E34-FEED-1D99FDFE0034}"/>
              </a:ext>
            </a:extLst>
          </p:cNvPr>
          <p:cNvGrpSpPr/>
          <p:nvPr userDrawn="1"/>
        </p:nvGrpSpPr>
        <p:grpSpPr>
          <a:xfrm>
            <a:off x="17875382" y="7467629"/>
            <a:ext cx="312638" cy="312638"/>
            <a:chOff x="2816046" y="7085282"/>
            <a:chExt cx="346932" cy="346932"/>
          </a:xfrm>
        </p:grpSpPr>
        <p:sp>
          <p:nvSpPr>
            <p:cNvPr id="103" name="Рисунок 1184">
              <a:extLst>
                <a:ext uri="{FF2B5EF4-FFF2-40B4-BE49-F238E27FC236}">
                  <a16:creationId xmlns:a16="http://schemas.microsoft.com/office/drawing/2014/main" id="{113B3131-3A27-3468-BF3E-BA7293AB37D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Прямоугольник 103">
              <a:extLst>
                <a:ext uri="{FF2B5EF4-FFF2-40B4-BE49-F238E27FC236}">
                  <a16:creationId xmlns:a16="http://schemas.microsoft.com/office/drawing/2014/main" id="{EBE9FED1-FBAF-DFAA-4D71-33E3AE4AD36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5" name="Рисунок 1184">
              <a:extLst>
                <a:ext uri="{FF2B5EF4-FFF2-40B4-BE49-F238E27FC236}">
                  <a16:creationId xmlns:a16="http://schemas.microsoft.com/office/drawing/2014/main" id="{575B0D37-E646-A2F5-80A8-DE019A63A91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075CD916-C8EC-BEDC-7DD3-0FEC417D80F0}"/>
              </a:ext>
            </a:extLst>
          </p:cNvPr>
          <p:cNvGrpSpPr/>
          <p:nvPr userDrawn="1"/>
        </p:nvGrpSpPr>
        <p:grpSpPr>
          <a:xfrm>
            <a:off x="19399090" y="6899322"/>
            <a:ext cx="312638" cy="312638"/>
            <a:chOff x="2816046" y="7085282"/>
            <a:chExt cx="346932" cy="346932"/>
          </a:xfrm>
        </p:grpSpPr>
        <p:sp>
          <p:nvSpPr>
            <p:cNvPr id="107" name="Рисунок 1184">
              <a:extLst>
                <a:ext uri="{FF2B5EF4-FFF2-40B4-BE49-F238E27FC236}">
                  <a16:creationId xmlns:a16="http://schemas.microsoft.com/office/drawing/2014/main" id="{E90B795D-5D16-AA29-BE7C-966A75D64FC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Прямоугольник 107">
              <a:extLst>
                <a:ext uri="{FF2B5EF4-FFF2-40B4-BE49-F238E27FC236}">
                  <a16:creationId xmlns:a16="http://schemas.microsoft.com/office/drawing/2014/main" id="{9AE3E0C7-A58C-9FE5-776F-957049FABDEA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9" name="Рисунок 1184">
              <a:extLst>
                <a:ext uri="{FF2B5EF4-FFF2-40B4-BE49-F238E27FC236}">
                  <a16:creationId xmlns:a16="http://schemas.microsoft.com/office/drawing/2014/main" id="{7AB6455B-36F3-0807-8C42-6DA993C326C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43B30BEA-CBE7-FCE0-0EDE-69234DB3D6BF}"/>
              </a:ext>
            </a:extLst>
          </p:cNvPr>
          <p:cNvGrpSpPr/>
          <p:nvPr userDrawn="1"/>
        </p:nvGrpSpPr>
        <p:grpSpPr>
          <a:xfrm>
            <a:off x="17875382" y="7780607"/>
            <a:ext cx="312638" cy="312638"/>
            <a:chOff x="2816046" y="7085282"/>
            <a:chExt cx="346932" cy="346932"/>
          </a:xfrm>
        </p:grpSpPr>
        <p:sp>
          <p:nvSpPr>
            <p:cNvPr id="111" name="Рисунок 1184">
              <a:extLst>
                <a:ext uri="{FF2B5EF4-FFF2-40B4-BE49-F238E27FC236}">
                  <a16:creationId xmlns:a16="http://schemas.microsoft.com/office/drawing/2014/main" id="{4F9C2904-323E-6FD9-9627-D7251AD2D644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Прямоугольник 111">
              <a:extLst>
                <a:ext uri="{FF2B5EF4-FFF2-40B4-BE49-F238E27FC236}">
                  <a16:creationId xmlns:a16="http://schemas.microsoft.com/office/drawing/2014/main" id="{85B29B3A-376C-0953-E801-A1A64CD5532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3" name="Рисунок 1184">
              <a:extLst>
                <a:ext uri="{FF2B5EF4-FFF2-40B4-BE49-F238E27FC236}">
                  <a16:creationId xmlns:a16="http://schemas.microsoft.com/office/drawing/2014/main" id="{0AC16F1A-DF60-6979-6DF1-D5BD1E0E59A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63DF9EE6-518A-34F5-8412-7263BBD8F032}"/>
              </a:ext>
            </a:extLst>
          </p:cNvPr>
          <p:cNvGrpSpPr/>
          <p:nvPr userDrawn="1"/>
        </p:nvGrpSpPr>
        <p:grpSpPr>
          <a:xfrm>
            <a:off x="22504163" y="6158061"/>
            <a:ext cx="312638" cy="312638"/>
            <a:chOff x="2816046" y="7085282"/>
            <a:chExt cx="346932" cy="346932"/>
          </a:xfrm>
        </p:grpSpPr>
        <p:sp>
          <p:nvSpPr>
            <p:cNvPr id="115" name="Рисунок 1184">
              <a:extLst>
                <a:ext uri="{FF2B5EF4-FFF2-40B4-BE49-F238E27FC236}">
                  <a16:creationId xmlns:a16="http://schemas.microsoft.com/office/drawing/2014/main" id="{8090DD1E-BEA5-3822-1F37-B9D8C669595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Прямоугольник 115">
              <a:extLst>
                <a:ext uri="{FF2B5EF4-FFF2-40B4-BE49-F238E27FC236}">
                  <a16:creationId xmlns:a16="http://schemas.microsoft.com/office/drawing/2014/main" id="{D5311B5E-5626-E150-C345-0D4B0195C378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7" name="Рисунок 1184">
              <a:extLst>
                <a:ext uri="{FF2B5EF4-FFF2-40B4-BE49-F238E27FC236}">
                  <a16:creationId xmlns:a16="http://schemas.microsoft.com/office/drawing/2014/main" id="{32B8187E-82CD-B595-2FF3-EF9F38A1D03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410EFFB1-EF2E-8306-5551-8FC5B284B7EE}"/>
              </a:ext>
            </a:extLst>
          </p:cNvPr>
          <p:cNvGrpSpPr/>
          <p:nvPr userDrawn="1"/>
        </p:nvGrpSpPr>
        <p:grpSpPr>
          <a:xfrm>
            <a:off x="20952215" y="7467629"/>
            <a:ext cx="312638" cy="312638"/>
            <a:chOff x="2816046" y="7085282"/>
            <a:chExt cx="346932" cy="346932"/>
          </a:xfrm>
        </p:grpSpPr>
        <p:sp>
          <p:nvSpPr>
            <p:cNvPr id="119" name="Рисунок 1184">
              <a:extLst>
                <a:ext uri="{FF2B5EF4-FFF2-40B4-BE49-F238E27FC236}">
                  <a16:creationId xmlns:a16="http://schemas.microsoft.com/office/drawing/2014/main" id="{C2446648-499A-49DB-7C11-5521A8D03AE5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Прямоугольник 119">
              <a:extLst>
                <a:ext uri="{FF2B5EF4-FFF2-40B4-BE49-F238E27FC236}">
                  <a16:creationId xmlns:a16="http://schemas.microsoft.com/office/drawing/2014/main" id="{731733EE-D1EF-8318-750B-E7428AEFF38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1" name="Рисунок 1184">
              <a:extLst>
                <a:ext uri="{FF2B5EF4-FFF2-40B4-BE49-F238E27FC236}">
                  <a16:creationId xmlns:a16="http://schemas.microsoft.com/office/drawing/2014/main" id="{47652CEB-7719-2928-E104-C5854E5E6BC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2" name="Группа 121">
            <a:extLst>
              <a:ext uri="{FF2B5EF4-FFF2-40B4-BE49-F238E27FC236}">
                <a16:creationId xmlns:a16="http://schemas.microsoft.com/office/drawing/2014/main" id="{E02EAA5D-16ED-CE5F-A440-EA4009D39E1F}"/>
              </a:ext>
            </a:extLst>
          </p:cNvPr>
          <p:cNvGrpSpPr/>
          <p:nvPr userDrawn="1"/>
        </p:nvGrpSpPr>
        <p:grpSpPr>
          <a:xfrm>
            <a:off x="20952215" y="7780607"/>
            <a:ext cx="312638" cy="312638"/>
            <a:chOff x="2816046" y="7085282"/>
            <a:chExt cx="346932" cy="346932"/>
          </a:xfrm>
        </p:grpSpPr>
        <p:sp>
          <p:nvSpPr>
            <p:cNvPr id="123" name="Рисунок 1184">
              <a:extLst>
                <a:ext uri="{FF2B5EF4-FFF2-40B4-BE49-F238E27FC236}">
                  <a16:creationId xmlns:a16="http://schemas.microsoft.com/office/drawing/2014/main" id="{3D78D809-FCDF-3BE3-257B-91AB6264646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id="{031200A6-9379-40A7-3838-73DEBABC8B74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5" name="Рисунок 1184">
              <a:extLst>
                <a:ext uri="{FF2B5EF4-FFF2-40B4-BE49-F238E27FC236}">
                  <a16:creationId xmlns:a16="http://schemas.microsoft.com/office/drawing/2014/main" id="{5A302ADE-36AE-0DC0-F49B-313FED930EB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81C22C2D-F678-327C-19F2-B55C9570BD79}"/>
              </a:ext>
            </a:extLst>
          </p:cNvPr>
          <p:cNvGrpSpPr/>
          <p:nvPr userDrawn="1"/>
        </p:nvGrpSpPr>
        <p:grpSpPr>
          <a:xfrm>
            <a:off x="16302258" y="7619044"/>
            <a:ext cx="312638" cy="312638"/>
            <a:chOff x="2816046" y="7085282"/>
            <a:chExt cx="346932" cy="346932"/>
          </a:xfrm>
        </p:grpSpPr>
        <p:sp>
          <p:nvSpPr>
            <p:cNvPr id="127" name="Рисунок 1184">
              <a:extLst>
                <a:ext uri="{FF2B5EF4-FFF2-40B4-BE49-F238E27FC236}">
                  <a16:creationId xmlns:a16="http://schemas.microsoft.com/office/drawing/2014/main" id="{CE2DD49D-0547-7C3B-9FF7-D98F63F03B7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76" name="Прямоугольник 2175">
              <a:extLst>
                <a:ext uri="{FF2B5EF4-FFF2-40B4-BE49-F238E27FC236}">
                  <a16:creationId xmlns:a16="http://schemas.microsoft.com/office/drawing/2014/main" id="{53BBB9B3-065F-4D47-F68F-069503BD544A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77" name="Рисунок 1184">
              <a:extLst>
                <a:ext uri="{FF2B5EF4-FFF2-40B4-BE49-F238E27FC236}">
                  <a16:creationId xmlns:a16="http://schemas.microsoft.com/office/drawing/2014/main" id="{BF03020D-1D27-562C-DD9D-6E258E9BE3F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78" name="Группа 2177">
            <a:extLst>
              <a:ext uri="{FF2B5EF4-FFF2-40B4-BE49-F238E27FC236}">
                <a16:creationId xmlns:a16="http://schemas.microsoft.com/office/drawing/2014/main" id="{C9631195-99B8-8060-0DE0-B47399F875F0}"/>
              </a:ext>
            </a:extLst>
          </p:cNvPr>
          <p:cNvGrpSpPr/>
          <p:nvPr userDrawn="1"/>
        </p:nvGrpSpPr>
        <p:grpSpPr>
          <a:xfrm>
            <a:off x="8831970" y="6181713"/>
            <a:ext cx="312638" cy="312638"/>
            <a:chOff x="2816046" y="7085282"/>
            <a:chExt cx="346932" cy="346932"/>
          </a:xfrm>
        </p:grpSpPr>
        <p:sp>
          <p:nvSpPr>
            <p:cNvPr id="2179" name="Рисунок 1184">
              <a:extLst>
                <a:ext uri="{FF2B5EF4-FFF2-40B4-BE49-F238E27FC236}">
                  <a16:creationId xmlns:a16="http://schemas.microsoft.com/office/drawing/2014/main" id="{83F5F9DA-5BF8-A87C-E2FD-84924B3AD13E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0" name="Прямоугольник 2179">
              <a:extLst>
                <a:ext uri="{FF2B5EF4-FFF2-40B4-BE49-F238E27FC236}">
                  <a16:creationId xmlns:a16="http://schemas.microsoft.com/office/drawing/2014/main" id="{84C4B8A4-E29F-7773-E5CA-5DA5CA78CE57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81" name="Рисунок 1184">
              <a:extLst>
                <a:ext uri="{FF2B5EF4-FFF2-40B4-BE49-F238E27FC236}">
                  <a16:creationId xmlns:a16="http://schemas.microsoft.com/office/drawing/2014/main" id="{FBCA041A-2248-28C9-15FD-709FBB060A07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82" name="Группа 2181">
            <a:extLst>
              <a:ext uri="{FF2B5EF4-FFF2-40B4-BE49-F238E27FC236}">
                <a16:creationId xmlns:a16="http://schemas.microsoft.com/office/drawing/2014/main" id="{C1710D80-AAA8-E2DE-2075-EB45AFE5BA06}"/>
              </a:ext>
            </a:extLst>
          </p:cNvPr>
          <p:cNvGrpSpPr/>
          <p:nvPr userDrawn="1"/>
        </p:nvGrpSpPr>
        <p:grpSpPr>
          <a:xfrm>
            <a:off x="8831970" y="4724388"/>
            <a:ext cx="312638" cy="312638"/>
            <a:chOff x="2816046" y="7085282"/>
            <a:chExt cx="346932" cy="346932"/>
          </a:xfrm>
        </p:grpSpPr>
        <p:sp>
          <p:nvSpPr>
            <p:cNvPr id="2183" name="Рисунок 1184">
              <a:extLst>
                <a:ext uri="{FF2B5EF4-FFF2-40B4-BE49-F238E27FC236}">
                  <a16:creationId xmlns:a16="http://schemas.microsoft.com/office/drawing/2014/main" id="{37F03B42-0C83-DB34-AAAD-CAE85A5C627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4" name="Прямоугольник 2183">
              <a:extLst>
                <a:ext uri="{FF2B5EF4-FFF2-40B4-BE49-F238E27FC236}">
                  <a16:creationId xmlns:a16="http://schemas.microsoft.com/office/drawing/2014/main" id="{6245B76A-0E0D-02CA-F3BB-2581F2A2A16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85" name="Рисунок 1184">
              <a:extLst>
                <a:ext uri="{FF2B5EF4-FFF2-40B4-BE49-F238E27FC236}">
                  <a16:creationId xmlns:a16="http://schemas.microsoft.com/office/drawing/2014/main" id="{6B29BC73-CD32-5B45-330B-1022327136C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86" name="Группа 2185">
            <a:extLst>
              <a:ext uri="{FF2B5EF4-FFF2-40B4-BE49-F238E27FC236}">
                <a16:creationId xmlns:a16="http://schemas.microsoft.com/office/drawing/2014/main" id="{5ABEC6C7-0944-6753-D454-98C25AD8CB62}"/>
              </a:ext>
            </a:extLst>
          </p:cNvPr>
          <p:cNvGrpSpPr/>
          <p:nvPr userDrawn="1"/>
        </p:nvGrpSpPr>
        <p:grpSpPr>
          <a:xfrm>
            <a:off x="6130477" y="8340668"/>
            <a:ext cx="312638" cy="312638"/>
            <a:chOff x="2816046" y="7085282"/>
            <a:chExt cx="346932" cy="346932"/>
          </a:xfrm>
        </p:grpSpPr>
        <p:sp>
          <p:nvSpPr>
            <p:cNvPr id="2187" name="Рисунок 1184">
              <a:extLst>
                <a:ext uri="{FF2B5EF4-FFF2-40B4-BE49-F238E27FC236}">
                  <a16:creationId xmlns:a16="http://schemas.microsoft.com/office/drawing/2014/main" id="{ADDC9BCC-2C62-CB0E-EEA8-B75D67CD260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8" name="Прямоугольник 2187">
              <a:extLst>
                <a:ext uri="{FF2B5EF4-FFF2-40B4-BE49-F238E27FC236}">
                  <a16:creationId xmlns:a16="http://schemas.microsoft.com/office/drawing/2014/main" id="{E2560DBA-5F20-ED63-7734-468697BA9D6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97" name="Рисунок 1184">
              <a:extLst>
                <a:ext uri="{FF2B5EF4-FFF2-40B4-BE49-F238E27FC236}">
                  <a16:creationId xmlns:a16="http://schemas.microsoft.com/office/drawing/2014/main" id="{A99D585D-F532-078A-15E0-9B34E01616C3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99" name="Группа 2198">
            <a:extLst>
              <a:ext uri="{FF2B5EF4-FFF2-40B4-BE49-F238E27FC236}">
                <a16:creationId xmlns:a16="http://schemas.microsoft.com/office/drawing/2014/main" id="{FF3C0799-BD8E-D1F6-CA44-00BA1F62E51C}"/>
              </a:ext>
            </a:extLst>
          </p:cNvPr>
          <p:cNvGrpSpPr/>
          <p:nvPr userDrawn="1"/>
        </p:nvGrpSpPr>
        <p:grpSpPr>
          <a:xfrm>
            <a:off x="6130477" y="9073695"/>
            <a:ext cx="312638" cy="312638"/>
            <a:chOff x="2816046" y="7085282"/>
            <a:chExt cx="346932" cy="346932"/>
          </a:xfrm>
        </p:grpSpPr>
        <p:sp>
          <p:nvSpPr>
            <p:cNvPr id="2200" name="Рисунок 1184">
              <a:extLst>
                <a:ext uri="{FF2B5EF4-FFF2-40B4-BE49-F238E27FC236}">
                  <a16:creationId xmlns:a16="http://schemas.microsoft.com/office/drawing/2014/main" id="{101C1DB8-7640-1F7A-E442-56008C2BC7A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01" name="Прямоугольник 2200">
              <a:extLst>
                <a:ext uri="{FF2B5EF4-FFF2-40B4-BE49-F238E27FC236}">
                  <a16:creationId xmlns:a16="http://schemas.microsoft.com/office/drawing/2014/main" id="{8B63DDAC-C681-62F3-5273-B1676B72A3B7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02" name="Рисунок 1184">
              <a:extLst>
                <a:ext uri="{FF2B5EF4-FFF2-40B4-BE49-F238E27FC236}">
                  <a16:creationId xmlns:a16="http://schemas.microsoft.com/office/drawing/2014/main" id="{3FA968D8-5B68-B389-59A7-384632368AA5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03" name="Группа 2202">
            <a:extLst>
              <a:ext uri="{FF2B5EF4-FFF2-40B4-BE49-F238E27FC236}">
                <a16:creationId xmlns:a16="http://schemas.microsoft.com/office/drawing/2014/main" id="{6018F42F-BB9D-6CFE-C3DD-DE72092B4F65}"/>
              </a:ext>
            </a:extLst>
          </p:cNvPr>
          <p:cNvGrpSpPr/>
          <p:nvPr userDrawn="1"/>
        </p:nvGrpSpPr>
        <p:grpSpPr>
          <a:xfrm>
            <a:off x="3494874" y="8351083"/>
            <a:ext cx="312638" cy="312638"/>
            <a:chOff x="2816046" y="7085282"/>
            <a:chExt cx="346932" cy="346932"/>
          </a:xfrm>
        </p:grpSpPr>
        <p:sp>
          <p:nvSpPr>
            <p:cNvPr id="2224" name="Рисунок 1184">
              <a:extLst>
                <a:ext uri="{FF2B5EF4-FFF2-40B4-BE49-F238E27FC236}">
                  <a16:creationId xmlns:a16="http://schemas.microsoft.com/office/drawing/2014/main" id="{AA8E75A7-C89D-F3A4-3643-17FBC0C61AC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25" name="Прямоугольник 2224">
              <a:extLst>
                <a:ext uri="{FF2B5EF4-FFF2-40B4-BE49-F238E27FC236}">
                  <a16:creationId xmlns:a16="http://schemas.microsoft.com/office/drawing/2014/main" id="{500A7FE6-3664-C634-C9A2-114C469E227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35" name="Рисунок 1184">
              <a:extLst>
                <a:ext uri="{FF2B5EF4-FFF2-40B4-BE49-F238E27FC236}">
                  <a16:creationId xmlns:a16="http://schemas.microsoft.com/office/drawing/2014/main" id="{40910BE7-1314-ACD9-A097-C17CD52D2D0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4111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d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8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8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0E22720-58D6-7E6C-888F-7E3AD9A07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0000" y="10386597"/>
            <a:ext cx="18170402" cy="1534010"/>
          </a:xfrm>
        </p:spPr>
        <p:txBody>
          <a:bodyPr anchor="t"/>
          <a:lstStyle>
            <a:lvl1pPr marL="0" marR="0" indent="0" algn="l" defTabSz="1828709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sz="5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lnSpc>
                <a:spcPct val="89000"/>
              </a:lnSpc>
              <a:defRPr sz="5600">
                <a:latin typeface="+mn-lt"/>
              </a:defRPr>
            </a:lvl2pPr>
            <a:lvl3pPr>
              <a:lnSpc>
                <a:spcPct val="89000"/>
              </a:lnSpc>
              <a:defRPr sz="5600">
                <a:latin typeface="+mn-lt"/>
              </a:defRPr>
            </a:lvl3pPr>
            <a:lvl4pPr>
              <a:lnSpc>
                <a:spcPct val="89000"/>
              </a:lnSpc>
              <a:defRPr sz="5600">
                <a:latin typeface="+mn-lt"/>
              </a:defRPr>
            </a:lvl4pPr>
            <a:lvl5pPr>
              <a:lnSpc>
                <a:spcPct val="89000"/>
              </a:lnSpc>
              <a:defRPr sz="5600">
                <a:latin typeface="+mn-lt"/>
              </a:defRPr>
            </a:lvl5pPr>
          </a:lstStyle>
          <a:p>
            <a:pPr marL="0" marR="0" lvl="0" indent="0" algn="l" defTabSz="1828709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ример титульного слайда для коммуникаций от бренда </a:t>
            </a:r>
            <a:r>
              <a:rPr lang="en-US" dirty="0"/>
              <a:t>Yandex Ads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6C2636-F924-EB3D-C3F7-C698E9988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6259603"/>
            <a:ext cx="19678650" cy="3662734"/>
          </a:xfrm>
        </p:spPr>
        <p:txBody>
          <a:bodyPr vert="horz"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" name="Рисунок 15">
            <a:extLst>
              <a:ext uri="{FF2B5EF4-FFF2-40B4-BE49-F238E27FC236}">
                <a16:creationId xmlns:a16="http://schemas.microsoft.com/office/drawing/2014/main" id="{4FC04F12-0737-D80F-0F95-37C28D5E0E8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1961476" y="1217613"/>
            <a:ext cx="971549" cy="97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161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c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A8E08470-C268-3AC8-B0D8-F44AA3B305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016" y="303214"/>
            <a:ext cx="21117600" cy="13104000"/>
          </a:xfrm>
          <a:prstGeom prst="roundRect">
            <a:avLst>
              <a:gd name="adj" fmla="val 4059"/>
            </a:avLst>
          </a:prstGeo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8" name="line_3">
            <a:extLst>
              <a:ext uri="{FF2B5EF4-FFF2-40B4-BE49-F238E27FC236}">
                <a16:creationId xmlns:a16="http://schemas.microsoft.com/office/drawing/2014/main" id="{19EFB692-DF8C-A876-BD46-22DE208A5416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 rot="5400000" flipH="1" flipV="1">
            <a:off x="22876563" y="11530231"/>
            <a:ext cx="25200" cy="41399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9" name="line_2">
            <a:extLst>
              <a:ext uri="{FF2B5EF4-FFF2-40B4-BE49-F238E27FC236}">
                <a16:creationId xmlns:a16="http://schemas.microsoft.com/office/drawing/2014/main" id="{431B7814-F6D9-234B-BDF7-F4C1BA5B2B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2700000" flipH="1" flipV="1">
            <a:off x="22963920" y="11687673"/>
            <a:ext cx="25200" cy="313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0" name="line_1">
            <a:extLst>
              <a:ext uri="{FF2B5EF4-FFF2-40B4-BE49-F238E27FC236}">
                <a16:creationId xmlns:a16="http://schemas.microsoft.com/office/drawing/2014/main" id="{9448B89E-58B6-C613-25D2-EEFA47E302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8100000" flipH="1" flipV="1">
            <a:off x="22963920" y="11473588"/>
            <a:ext cx="25200" cy="313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1" name="rectangle_line">
            <a:extLst>
              <a:ext uri="{FF2B5EF4-FFF2-40B4-BE49-F238E27FC236}">
                <a16:creationId xmlns:a16="http://schemas.microsoft.com/office/drawing/2014/main" id="{E9B715C1-BA2D-DE63-B53C-D1341B99BC5C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2432629" y="11262868"/>
            <a:ext cx="903599" cy="903599"/>
          </a:xfrm>
          <a:prstGeom prst="roundRect">
            <a:avLst>
              <a:gd name="adj" fmla="val 23578"/>
            </a:avLst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>
              <a:defRPr lang="ru-RU" sz="3200" dirty="0">
                <a:noFill/>
              </a:defRPr>
            </a:lvl1pPr>
          </a:lstStyle>
          <a:p>
            <a:pPr lvl="0" defTabSz="457200"/>
            <a:endParaRPr lang="ru-RU" dirty="0"/>
          </a:p>
        </p:txBody>
      </p:sp>
      <p:sp>
        <p:nvSpPr>
          <p:cNvPr id="12" name="number">
            <a:extLst>
              <a:ext uri="{FF2B5EF4-FFF2-40B4-BE49-F238E27FC236}">
                <a16:creationId xmlns:a16="http://schemas.microsoft.com/office/drawing/2014/main" id="{102DCE34-44AE-BCAC-781A-191EC97C184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2618254" y="1276284"/>
            <a:ext cx="503344" cy="1477328"/>
          </a:xfrm>
        </p:spPr>
        <p:txBody>
          <a:bodyPr wrap="none">
            <a:sp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ru-RU" sz="9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1226D319-1D5B-E5AA-A7D5-6C07B8D9DAC4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440000" y="10896651"/>
            <a:ext cx="16039672" cy="143295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97000"/>
              </a:lnSpc>
              <a:spcAft>
                <a:spcPts val="2400"/>
              </a:spcAft>
              <a:defRPr lang="ru-RU" sz="4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 на случай, если из заголовка не до конца понятно о чём пойдёт речь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773053E-341A-A1AB-0766-568A2B4795E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440000" y="1309882"/>
            <a:ext cx="17855773" cy="3034420"/>
          </a:xfrm>
        </p:spPr>
        <p:txBody>
          <a:bodyPr/>
          <a:lstStyle>
            <a:lvl1pPr marL="0" algn="l" defTabSz="457200" rtl="0" eaLnBrk="1" latinLnBrk="0" hangingPunct="1">
              <a:lnSpc>
                <a:spcPct val="82000"/>
              </a:lnSpc>
              <a:spcBef>
                <a:spcPct val="0"/>
              </a:spcBef>
              <a:spcAft>
                <a:spcPts val="2400"/>
              </a:spcAft>
              <a:buNone/>
              <a:defRPr lang="ru-RU" sz="1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 две строки</a:t>
            </a:r>
          </a:p>
        </p:txBody>
      </p:sp>
    </p:spTree>
    <p:extLst>
      <p:ext uri="{BB962C8B-B14F-4D97-AF65-F5344CB8AC3E}">
        <p14:creationId xmlns:p14="http://schemas.microsoft.com/office/powerpoint/2010/main" val="2646534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9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45B36E9-0A7E-3596-D11B-13307456C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46312BB4-4BAB-362D-7C05-85064E1DF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943200"/>
            <a:ext cx="21492000" cy="1216167"/>
          </a:xfrm>
        </p:spPr>
        <p:txBody>
          <a:bodyPr/>
          <a:lstStyle>
            <a:lvl1pPr>
              <a:lnSpc>
                <a:spcPct val="82000"/>
              </a:lnSpc>
              <a:defRPr sz="9600"/>
            </a:lvl1pPr>
          </a:lstStyle>
          <a:p>
            <a:r>
              <a:rPr lang="ru-RU" dirty="0"/>
              <a:t>Заголовок </a:t>
            </a:r>
            <a:r>
              <a:rPr lang="en-US" dirty="0"/>
              <a:t>96 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1367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FA6B5C0-6F7D-3647-3E85-70472C7752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C722DB1-8DB1-3EF2-60CF-8B434F69F6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1" y="2124816"/>
            <a:ext cx="18164038" cy="61555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21492000" cy="930704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2055697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FA6B5C0-6F7D-3647-3E85-70472C7752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C722DB1-8DB1-3EF2-60CF-8B434F69F6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1" y="3049200"/>
            <a:ext cx="18164038" cy="61555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21492000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470726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0008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3" name="photo">
            <a:extLst>
              <a:ext uri="{FF2B5EF4-FFF2-40B4-BE49-F238E27FC236}">
                <a16:creationId xmlns:a16="http://schemas.microsoft.com/office/drawing/2014/main" id="{B0946782-417E-F6EF-D83A-3858953281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341225" y="303213"/>
            <a:ext cx="11734800" cy="13104812"/>
          </a:xfrm>
          <a:prstGeom prst="roundRect">
            <a:avLst>
              <a:gd name="adj" fmla="val 2609"/>
            </a:avLst>
          </a:prstGeo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2800"/>
            </a:lvl1pPr>
          </a:lstStyle>
          <a:p>
            <a:r>
              <a:rPr lang="ru-RU" dirty="0"/>
              <a:t>Место для фотографии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10006933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801547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 +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824B1C20-C49D-4AB8-6A63-B9CF2BFC5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890395B1-EA0E-6BA5-188F-731A73A75E3D}"/>
              </a:ext>
            </a:extLst>
          </p:cNvPr>
          <p:cNvSpPr/>
          <p:nvPr/>
        </p:nvSpPr>
        <p:spPr>
          <a:xfrm>
            <a:off x="301625" y="303214"/>
            <a:ext cx="9913938" cy="13104812"/>
          </a:xfrm>
          <a:prstGeom prst="roundRect">
            <a:avLst>
              <a:gd name="adj" fmla="val 30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AC47B5AB-4F26-9000-A58A-9319661CD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81684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4D8ADDA-D968-C2A1-68C0-B953DD7B2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1" y="997200"/>
            <a:ext cx="8168400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961233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98638C-F32A-4315-2B78-69DF15877B7B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5133878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7772400" imgH="10058400" progId="TCLayout.ActiveDocument.1">
                  <p:embed/>
                </p:oleObj>
              </mc:Choice>
              <mc:Fallback>
                <p:oleObj name="Слайд think-cell" r:id="rId25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98638C-F32A-4315-2B78-69DF15877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">
            <a:extLst>
              <a:ext uri="{FF2B5EF4-FFF2-40B4-BE49-F238E27FC236}">
                <a16:creationId xmlns:a16="http://schemas.microsoft.com/office/drawing/2014/main" id="{C2CB1C4D-C38F-DB58-9D55-D236BDAB0F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41450" y="3651250"/>
            <a:ext cx="21490550" cy="69937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Текст 40/1,0</a:t>
            </a:r>
          </a:p>
          <a:p>
            <a:pPr lvl="1"/>
            <a:r>
              <a:rPr lang="ru-RU" dirty="0"/>
              <a:t>Текст 40/1,0</a:t>
            </a:r>
          </a:p>
          <a:p>
            <a:pPr lvl="2"/>
            <a:r>
              <a:rPr lang="ru-RU" dirty="0"/>
              <a:t>Текст 36/1,0</a:t>
            </a:r>
          </a:p>
          <a:p>
            <a:pPr lvl="3"/>
            <a:r>
              <a:rPr lang="ru-RU" dirty="0"/>
              <a:t>Текст 36/1,0</a:t>
            </a:r>
          </a:p>
          <a:p>
            <a:pPr lvl="4"/>
            <a:r>
              <a:rPr lang="ru-RU" dirty="0"/>
              <a:t>Текст 32/1,04</a:t>
            </a:r>
          </a:p>
          <a:p>
            <a:pPr lvl="5"/>
            <a:r>
              <a:rPr lang="ru-RU" dirty="0"/>
              <a:t>Текст 32/1,04</a:t>
            </a:r>
          </a:p>
          <a:p>
            <a:pPr lvl="6"/>
            <a:r>
              <a:rPr lang="ru-RU" dirty="0"/>
              <a:t>Текст 28/1,04</a:t>
            </a:r>
          </a:p>
          <a:p>
            <a:pPr lvl="7"/>
            <a:r>
              <a:rPr lang="ru-RU" dirty="0"/>
              <a:t>Текст 28/1,04</a:t>
            </a:r>
          </a:p>
          <a:p>
            <a:pPr lvl="8"/>
            <a:r>
              <a:rPr lang="ru-RU" dirty="0"/>
              <a:t>Текст 28/1,04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A7F038B-6BF3-1D43-81ED-1C7C497FB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959137"/>
            <a:ext cx="21492000" cy="18614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</a:t>
            </a:r>
            <a:r>
              <a:rPr lang="en-US" dirty="0"/>
              <a:t> </a:t>
            </a:r>
            <a:r>
              <a:rPr lang="ru-RU" dirty="0"/>
              <a:t>троки 72 </a:t>
            </a:r>
            <a:r>
              <a:rPr lang="en-US" dirty="0"/>
              <a:t>pt</a:t>
            </a:r>
            <a:endParaRPr lang="ru-RU" dirty="0"/>
          </a:p>
        </p:txBody>
      </p:sp>
      <p:sp>
        <p:nvSpPr>
          <p:cNvPr id="5" name="slide_number">
            <a:extLst>
              <a:ext uri="{FF2B5EF4-FFF2-40B4-BE49-F238E27FC236}">
                <a16:creationId xmlns:a16="http://schemas.microsoft.com/office/drawing/2014/main" id="{46D0EDB3-483D-C7D8-BF05-D0F766436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592360" y="12369600"/>
            <a:ext cx="327013" cy="3179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10000"/>
              </a:lnSpc>
              <a:defRPr sz="2000">
                <a:solidFill>
                  <a:srgbClr val="46557D"/>
                </a:solidFill>
              </a:defRPr>
            </a:lvl1pPr>
          </a:lstStyle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A242505-218D-4D3F-8C56-6069F5B8F57F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5345872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7772400" imgH="10058400" progId="TCLayout.ActiveDocument.1">
                  <p:embed/>
                </p:oleObj>
              </mc:Choice>
              <mc:Fallback>
                <p:oleObj name="Слайд think-cell" r:id="rId2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242505-218D-4D3F-8C56-6069F5B8F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538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148" r:id="rId3"/>
    <p:sldLayoutId id="2147484146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45" r:id="rId14"/>
    <p:sldLayoutId id="2147484147" r:id="rId15"/>
    <p:sldLayoutId id="2147484105" r:id="rId16"/>
    <p:sldLayoutId id="2147484149" r:id="rId17"/>
    <p:sldLayoutId id="2147484106" r:id="rId18"/>
    <p:sldLayoutId id="2147484140" r:id="rId19"/>
    <p:sldLayoutId id="2147484141" r:id="rId20"/>
    <p:sldLayoutId id="2147484144" r:id="rId21"/>
  </p:sldLayoutIdLst>
  <p:hf hdr="0" ftr="0" dt="0"/>
  <p:txStyles>
    <p:titleStyle>
      <a:lvl1pPr algn="l" defTabSz="1828709" rtl="0" eaLnBrk="1" latinLnBrk="0" hangingPunct="1">
        <a:lnSpc>
          <a:spcPct val="84000"/>
        </a:lnSpc>
        <a:spcBef>
          <a:spcPct val="0"/>
        </a:spcBef>
        <a:buNone/>
        <a:defRPr sz="7200" b="0" i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504000" algn="l" defTabSz="1828709" rtl="0" eaLnBrk="1" fontAlgn="ctr" latinLnBrk="0" hangingPunct="1">
        <a:lnSpc>
          <a:spcPct val="100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tabLst/>
        <a:defRPr sz="4000" b="0" i="0" kern="1200">
          <a:solidFill>
            <a:schemeClr val="tx1"/>
          </a:solidFill>
          <a:latin typeface="YS Text Regular" pitchFamily="2" charset="0"/>
          <a:ea typeface="+mn-ea"/>
          <a:cs typeface="+mn-cs"/>
        </a:defRPr>
      </a:lvl2pPr>
      <a:lvl3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ClrTx/>
        <a:buSzPct val="100000"/>
        <a:buFont typeface="Системный шрифт, обычный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468000" algn="l" defTabSz="1828709" rtl="0" eaLnBrk="1" fontAlgn="ctr" latinLnBrk="0" hangingPunct="1">
        <a:lnSpc>
          <a:spcPct val="100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709" rtl="0" eaLnBrk="1" latinLnBrk="0" hangingPunct="1">
        <a:lnSpc>
          <a:spcPct val="104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432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828709" rtl="0" eaLnBrk="1" latinLnBrk="0" hangingPunct="1">
        <a:lnSpc>
          <a:spcPct val="104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96000" indent="-396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1800"/>
        </a:spcAft>
        <a:buClr>
          <a:schemeClr val="accent3"/>
        </a:buClr>
        <a:buSzPct val="75000"/>
        <a:buFont typeface="Системный шрифт, обычный"/>
        <a:buChar char="●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432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1800"/>
        </a:spcAft>
        <a:buFont typeface="Системный шрифт, обычный"/>
        <a:buChar char="—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908" userDrawn="1">
          <p15:clr>
            <a:srgbClr val="C35EA4"/>
          </p15:clr>
        </p15:guide>
        <p15:guide id="13" pos="2050" userDrawn="1">
          <p15:clr>
            <a:srgbClr val="C35EA4"/>
          </p15:clr>
        </p15:guide>
        <p15:guide id="14" pos="2432" userDrawn="1">
          <p15:clr>
            <a:srgbClr val="3B4154"/>
          </p15:clr>
        </p15:guide>
        <p15:guide id="17" pos="3005" userDrawn="1">
          <p15:clr>
            <a:srgbClr val="C35EA4"/>
          </p15:clr>
        </p15:guide>
        <p15:guide id="19" pos="3196" userDrawn="1">
          <p15:clr>
            <a:srgbClr val="C35EA4"/>
          </p15:clr>
        </p15:guide>
        <p15:guide id="20" pos="3388" userDrawn="1">
          <p15:clr>
            <a:srgbClr val="3B4154"/>
          </p15:clr>
        </p15:guide>
        <p15:guide id="25" pos="4340" userDrawn="1">
          <p15:clr>
            <a:srgbClr val="C35EA4"/>
          </p15:clr>
        </p15:guide>
        <p15:guide id="26" pos="4530" userDrawn="1">
          <p15:clr>
            <a:srgbClr val="3B4154"/>
          </p15:clr>
        </p15:guide>
        <p15:guide id="27" pos="4720" userDrawn="1">
          <p15:clr>
            <a:srgbClr val="3B4154"/>
          </p15:clr>
        </p15:guide>
        <p15:guide id="28" pos="4910" userDrawn="1">
          <p15:clr>
            <a:srgbClr val="3B4154"/>
          </p15:clr>
        </p15:guide>
        <p15:guide id="29" pos="5290" userDrawn="1">
          <p15:clr>
            <a:srgbClr val="C35EA4"/>
          </p15:clr>
        </p15:guide>
        <p15:guide id="31" pos="5481" userDrawn="1">
          <p15:clr>
            <a:srgbClr val="C35EA4"/>
          </p15:clr>
        </p15:guide>
        <p15:guide id="32" pos="5672" userDrawn="1">
          <p15:clr>
            <a:srgbClr val="3B4154"/>
          </p15:clr>
        </p15:guide>
        <p15:guide id="33" pos="5863" userDrawn="1">
          <p15:clr>
            <a:srgbClr val="3B4154"/>
          </p15:clr>
        </p15:guide>
        <p15:guide id="35" pos="6435" userDrawn="1">
          <p15:clr>
            <a:srgbClr val="C35EA4"/>
          </p15:clr>
        </p15:guide>
        <p15:guide id="37" pos="6626" userDrawn="1">
          <p15:clr>
            <a:srgbClr val="C35EA4"/>
          </p15:clr>
        </p15:guide>
        <p15:guide id="38" pos="6817" userDrawn="1">
          <p15:clr>
            <a:srgbClr val="3B4154"/>
          </p15:clr>
        </p15:guide>
        <p15:guide id="39" pos="7010" userDrawn="1">
          <p15:clr>
            <a:srgbClr val="3B4154"/>
          </p15:clr>
        </p15:guide>
        <p15:guide id="40" pos="7202" userDrawn="1">
          <p15:clr>
            <a:srgbClr val="3B4154"/>
          </p15:clr>
        </p15:guide>
        <p15:guide id="41" pos="7582" userDrawn="1">
          <p15:clr>
            <a:srgbClr val="C35EA4"/>
          </p15:clr>
        </p15:guide>
        <p15:guide id="43" pos="7774" userDrawn="1">
          <p15:clr>
            <a:srgbClr val="C35EA4"/>
          </p15:clr>
        </p15:guide>
        <p15:guide id="44" pos="7964" userDrawn="1">
          <p15:clr>
            <a:srgbClr val="3B4154"/>
          </p15:clr>
        </p15:guide>
        <p15:guide id="45" pos="8344" userDrawn="1">
          <p15:clr>
            <a:srgbClr val="3B4154"/>
          </p15:clr>
        </p15:guide>
        <p15:guide id="46" pos="8534" userDrawn="1">
          <p15:clr>
            <a:srgbClr val="3B4154"/>
          </p15:clr>
        </p15:guide>
        <p15:guide id="47" pos="8723" userDrawn="1">
          <p15:clr>
            <a:srgbClr val="C35EA4"/>
          </p15:clr>
        </p15:guide>
        <p15:guide id="49" pos="8916" userDrawn="1">
          <p15:clr>
            <a:srgbClr val="C35EA4"/>
          </p15:clr>
        </p15:guide>
        <p15:guide id="50" pos="9106" userDrawn="1">
          <p15:clr>
            <a:srgbClr val="3B4154"/>
          </p15:clr>
        </p15:guide>
        <p15:guide id="51" pos="9296" userDrawn="1">
          <p15:clr>
            <a:srgbClr val="3B4154"/>
          </p15:clr>
        </p15:guide>
        <p15:guide id="52" pos="9486" userDrawn="1">
          <p15:clr>
            <a:srgbClr val="3B4154"/>
          </p15:clr>
        </p15:guide>
        <p15:guide id="53" pos="9867" userDrawn="1">
          <p15:clr>
            <a:srgbClr val="C35EA4"/>
          </p15:clr>
        </p15:guide>
        <p15:guide id="55" pos="10059" userDrawn="1">
          <p15:clr>
            <a:srgbClr val="C35EA4"/>
          </p15:clr>
        </p15:guide>
        <p15:guide id="56" pos="10252" userDrawn="1">
          <p15:clr>
            <a:srgbClr val="3B4154"/>
          </p15:clr>
        </p15:guide>
        <p15:guide id="57" pos="10441" userDrawn="1">
          <p15:clr>
            <a:srgbClr val="3B4154"/>
          </p15:clr>
        </p15:guide>
        <p15:guide id="58" pos="10632" userDrawn="1">
          <p15:clr>
            <a:srgbClr val="3B4154"/>
          </p15:clr>
        </p15:guide>
        <p15:guide id="59" pos="11016" userDrawn="1">
          <p15:clr>
            <a:srgbClr val="C35EA4"/>
          </p15:clr>
        </p15:guide>
        <p15:guide id="61" pos="11205" userDrawn="1">
          <p15:clr>
            <a:srgbClr val="C35EA4"/>
          </p15:clr>
        </p15:guide>
        <p15:guide id="62" pos="11398" userDrawn="1">
          <p15:clr>
            <a:srgbClr val="3B4154"/>
          </p15:clr>
        </p15:guide>
        <p15:guide id="63" pos="11587" userDrawn="1">
          <p15:clr>
            <a:srgbClr val="3B4154"/>
          </p15:clr>
        </p15:guide>
        <p15:guide id="64" pos="11778" userDrawn="1">
          <p15:clr>
            <a:srgbClr val="3B4154"/>
          </p15:clr>
        </p15:guide>
        <p15:guide id="65" pos="12160" userDrawn="1">
          <p15:clr>
            <a:srgbClr val="C35EA4"/>
          </p15:clr>
        </p15:guide>
        <p15:guide id="67" pos="12349" userDrawn="1">
          <p15:clr>
            <a:srgbClr val="C35EA4"/>
          </p15:clr>
        </p15:guide>
        <p15:guide id="68" pos="12542" userDrawn="1">
          <p15:clr>
            <a:srgbClr val="3B4154"/>
          </p15:clr>
        </p15:guide>
        <p15:guide id="69" pos="12731" userDrawn="1">
          <p15:clr>
            <a:srgbClr val="3B4154"/>
          </p15:clr>
        </p15:guide>
        <p15:guide id="70" pos="12922" userDrawn="1">
          <p15:clr>
            <a:srgbClr val="3B4154"/>
          </p15:clr>
        </p15:guide>
        <p15:guide id="71" pos="13304" userDrawn="1">
          <p15:clr>
            <a:srgbClr val="C35EA4"/>
          </p15:clr>
        </p15:guide>
        <p15:guide id="73" pos="13495" userDrawn="1">
          <p15:clr>
            <a:srgbClr val="C35EA4"/>
          </p15:clr>
        </p15:guide>
        <p15:guide id="74" pos="13690" userDrawn="1">
          <p15:clr>
            <a:srgbClr val="3B4154"/>
          </p15:clr>
        </p15:guide>
        <p15:guide id="75" pos="13876" userDrawn="1">
          <p15:clr>
            <a:srgbClr val="3B4154"/>
          </p15:clr>
        </p15:guide>
        <p15:guide id="76" pos="14066" userDrawn="1">
          <p15:clr>
            <a:srgbClr val="3B4154"/>
          </p15:clr>
        </p15:guide>
        <p15:guide id="77" pos="14446" userDrawn="1">
          <p15:clr>
            <a:srgbClr val="C35EA4"/>
          </p15:clr>
        </p15:guide>
        <p15:guide id="80" pos="15166" userDrawn="1">
          <p15:clr>
            <a:srgbClr val="3B4154"/>
          </p15:clr>
        </p15:guide>
        <p15:guide id="84" orient="horz" pos="191" userDrawn="1">
          <p15:clr>
            <a:srgbClr val="3B4154"/>
          </p15:clr>
        </p15:guide>
        <p15:guide id="89" orient="horz" pos="1149" userDrawn="1">
          <p15:clr>
            <a:srgbClr val="3B4154"/>
          </p15:clr>
        </p15:guide>
        <p15:guide id="90" orient="horz" pos="1342" userDrawn="1">
          <p15:clr>
            <a:srgbClr val="3B4154"/>
          </p15:clr>
        </p15:guide>
        <p15:guide id="91" orient="horz" pos="1533" userDrawn="1">
          <p15:clr>
            <a:srgbClr val="3B4154"/>
          </p15:clr>
        </p15:guide>
        <p15:guide id="92" orient="horz" pos="1726" userDrawn="1">
          <p15:clr>
            <a:srgbClr val="3B4154"/>
          </p15:clr>
        </p15:guide>
        <p15:guide id="93" orient="horz" pos="1916" userDrawn="1">
          <p15:clr>
            <a:srgbClr val="3B4154"/>
          </p15:clr>
        </p15:guide>
        <p15:guide id="94" orient="horz" pos="2109" userDrawn="1">
          <p15:clr>
            <a:srgbClr val="3B4154"/>
          </p15:clr>
        </p15:guide>
        <p15:guide id="95" orient="horz" pos="2301" userDrawn="1">
          <p15:clr>
            <a:srgbClr val="3B4154"/>
          </p15:clr>
        </p15:guide>
        <p15:guide id="96" orient="horz" pos="2492" userDrawn="1">
          <p15:clr>
            <a:srgbClr val="3B4154"/>
          </p15:clr>
        </p15:guide>
        <p15:guide id="97" orient="horz" pos="2685" userDrawn="1">
          <p15:clr>
            <a:srgbClr val="3B4154"/>
          </p15:clr>
        </p15:guide>
        <p15:guide id="98" orient="horz" pos="2876" userDrawn="1">
          <p15:clr>
            <a:srgbClr val="3B4154"/>
          </p15:clr>
        </p15:guide>
        <p15:guide id="99" orient="horz" pos="3068" userDrawn="1">
          <p15:clr>
            <a:srgbClr val="3B4154"/>
          </p15:clr>
        </p15:guide>
        <p15:guide id="100" orient="horz" pos="3261" userDrawn="1">
          <p15:clr>
            <a:srgbClr val="3B4154"/>
          </p15:clr>
        </p15:guide>
        <p15:guide id="101" orient="horz" pos="3452" userDrawn="1">
          <p15:clr>
            <a:srgbClr val="3B4154"/>
          </p15:clr>
        </p15:guide>
        <p15:guide id="102" orient="horz" pos="3644" userDrawn="1">
          <p15:clr>
            <a:srgbClr val="3B4154"/>
          </p15:clr>
        </p15:guide>
        <p15:guide id="103" orient="horz" pos="3837" userDrawn="1">
          <p15:clr>
            <a:srgbClr val="3B4154"/>
          </p15:clr>
        </p15:guide>
        <p15:guide id="104" orient="horz" pos="4029" userDrawn="1">
          <p15:clr>
            <a:srgbClr val="3B4154"/>
          </p15:clr>
        </p15:guide>
        <p15:guide id="105" orient="horz" pos="4221" userDrawn="1">
          <p15:clr>
            <a:srgbClr val="3B4154"/>
          </p15:clr>
        </p15:guide>
        <p15:guide id="106" orient="horz" pos="4414" userDrawn="1">
          <p15:clr>
            <a:srgbClr val="3B4154"/>
          </p15:clr>
        </p15:guide>
        <p15:guide id="108" orient="horz" pos="4798" userDrawn="1">
          <p15:clr>
            <a:srgbClr val="3B4154"/>
          </p15:clr>
        </p15:guide>
        <p15:guide id="109" orient="horz" pos="4989" userDrawn="1">
          <p15:clr>
            <a:srgbClr val="3B4154"/>
          </p15:clr>
        </p15:guide>
        <p15:guide id="110" orient="horz" pos="5181" userDrawn="1">
          <p15:clr>
            <a:srgbClr val="3B4154"/>
          </p15:clr>
        </p15:guide>
        <p15:guide id="111" orient="horz" pos="5374" userDrawn="1">
          <p15:clr>
            <a:srgbClr val="3B4154"/>
          </p15:clr>
        </p15:guide>
        <p15:guide id="112" orient="horz" pos="5567" userDrawn="1">
          <p15:clr>
            <a:srgbClr val="3B4154"/>
          </p15:clr>
        </p15:guide>
        <p15:guide id="113" orient="horz" pos="5760" userDrawn="1">
          <p15:clr>
            <a:srgbClr val="3B4154"/>
          </p15:clr>
        </p15:guide>
        <p15:guide id="114" orient="horz" pos="5951" userDrawn="1">
          <p15:clr>
            <a:srgbClr val="3B4154"/>
          </p15:clr>
        </p15:guide>
        <p15:guide id="115" orient="horz" pos="6141" userDrawn="1">
          <p15:clr>
            <a:srgbClr val="3B4154"/>
          </p15:clr>
        </p15:guide>
        <p15:guide id="116" orient="horz" pos="6332" userDrawn="1">
          <p15:clr>
            <a:srgbClr val="3B4154"/>
          </p15:clr>
        </p15:guide>
        <p15:guide id="117" orient="horz" pos="6526" userDrawn="1">
          <p15:clr>
            <a:srgbClr val="3B4154"/>
          </p15:clr>
        </p15:guide>
        <p15:guide id="118" orient="horz" pos="6717" userDrawn="1">
          <p15:clr>
            <a:srgbClr val="3B4154"/>
          </p15:clr>
        </p15:guide>
        <p15:guide id="119" orient="horz" pos="6908" userDrawn="1">
          <p15:clr>
            <a:srgbClr val="3B4154"/>
          </p15:clr>
        </p15:guide>
        <p15:guide id="120" orient="horz" pos="7100" userDrawn="1">
          <p15:clr>
            <a:srgbClr val="3B4154"/>
          </p15:clr>
        </p15:guide>
        <p15:guide id="121" orient="horz" pos="7292" userDrawn="1">
          <p15:clr>
            <a:srgbClr val="3B4154"/>
          </p15:clr>
        </p15:guide>
        <p15:guide id="122" orient="horz" pos="7484" userDrawn="1">
          <p15:clr>
            <a:srgbClr val="3B4154"/>
          </p15:clr>
        </p15:guide>
        <p15:guide id="123" orient="horz" pos="7676" userDrawn="1">
          <p15:clr>
            <a:srgbClr val="3B4154"/>
          </p15:clr>
        </p15:guide>
        <p15:guide id="124" orient="horz" pos="7868" userDrawn="1">
          <p15:clr>
            <a:srgbClr val="C35EA4"/>
          </p15:clr>
        </p15:guide>
        <p15:guide id="127" orient="horz" pos="8446" userDrawn="1">
          <p15:clr>
            <a:srgbClr val="3B4154"/>
          </p15:clr>
        </p15:guide>
        <p15:guide id="128" orient="horz" pos="959" userDrawn="1">
          <p15:clr>
            <a:srgbClr val="3B4154"/>
          </p15:clr>
        </p15:guide>
        <p15:guide id="129" pos="190" userDrawn="1">
          <p15:clr>
            <a:srgbClr val="3B4154"/>
          </p15:clr>
        </p15:guide>
        <p15:guide id="130" pos="1290" userDrawn="1">
          <p15:clr>
            <a:srgbClr val="3B4154"/>
          </p15:clr>
        </p15:guide>
        <p15:guide id="131" pos="1482" userDrawn="1">
          <p15:clr>
            <a:srgbClr val="3B4154"/>
          </p15:clr>
        </p15:guide>
        <p15:guide id="132" pos="1672" userDrawn="1">
          <p15:clr>
            <a:srgbClr val="3B4154"/>
          </p15:clr>
        </p15:guide>
        <p15:guide id="133" pos="1862" userDrawn="1">
          <p15:clr>
            <a:srgbClr val="C35EA4"/>
          </p15:clr>
        </p15:guide>
        <p15:guide id="134" pos="1100" userDrawn="1">
          <p15:clr>
            <a:srgbClr val="3B4154"/>
          </p15:clr>
        </p15:guide>
        <p15:guide id="137" pos="2624" userDrawn="1">
          <p15:clr>
            <a:srgbClr val="3B4154"/>
          </p15:clr>
        </p15:guide>
        <p15:guide id="138" pos="2814" userDrawn="1">
          <p15:clr>
            <a:srgbClr val="3B4154"/>
          </p15:clr>
        </p15:guide>
        <p15:guide id="139" pos="2240" userDrawn="1">
          <p15:clr>
            <a:srgbClr val="3B4154"/>
          </p15:clr>
        </p15:guide>
        <p15:guide id="140" pos="3580" userDrawn="1">
          <p15:clr>
            <a:srgbClr val="3B4154"/>
          </p15:clr>
        </p15:guide>
        <p15:guide id="141" pos="3768" userDrawn="1">
          <p15:clr>
            <a:srgbClr val="3B4154"/>
          </p15:clr>
        </p15:guide>
        <p15:guide id="143" pos="4150" userDrawn="1">
          <p15:clr>
            <a:srgbClr val="C35EA4"/>
          </p15:clr>
        </p15:guide>
        <p15:guide id="144" pos="3960" userDrawn="1">
          <p15:clr>
            <a:srgbClr val="3B4154"/>
          </p15:clr>
        </p15:guide>
        <p15:guide id="145" pos="5100" userDrawn="1">
          <p15:clr>
            <a:srgbClr val="3B4154"/>
          </p15:clr>
        </p15:guide>
        <p15:guide id="146" pos="6244" userDrawn="1">
          <p15:clr>
            <a:srgbClr val="3B4154"/>
          </p15:clr>
        </p15:guide>
        <p15:guide id="147" pos="7391" userDrawn="1">
          <p15:clr>
            <a:srgbClr val="3B4154"/>
          </p15:clr>
        </p15:guide>
        <p15:guide id="148" pos="8154" userDrawn="1">
          <p15:clr>
            <a:srgbClr val="3B4154"/>
          </p15:clr>
        </p15:guide>
        <p15:guide id="149" pos="9675" userDrawn="1">
          <p15:clr>
            <a:srgbClr val="3B4154"/>
          </p15:clr>
        </p15:guide>
        <p15:guide id="150" pos="10823" userDrawn="1">
          <p15:clr>
            <a:srgbClr val="3B4154"/>
          </p15:clr>
        </p15:guide>
        <p15:guide id="151" pos="11967" userDrawn="1">
          <p15:clr>
            <a:srgbClr val="3B4154"/>
          </p15:clr>
        </p15:guide>
        <p15:guide id="152" pos="13113" userDrawn="1">
          <p15:clr>
            <a:srgbClr val="3B4154"/>
          </p15:clr>
        </p15:guide>
        <p15:guide id="153" pos="14256" userDrawn="1">
          <p15:clr>
            <a:srgbClr val="3B4154"/>
          </p15:clr>
        </p15:guide>
        <p15:guide id="155" orient="horz" pos="767" userDrawn="1">
          <p15:clr>
            <a:srgbClr val="C35EA4"/>
          </p15:clr>
        </p15:guide>
        <p15:guide id="156" pos="380" userDrawn="1">
          <p15:clr>
            <a:srgbClr val="3B4154"/>
          </p15:clr>
        </p15:guide>
        <p15:guide id="160" pos="570" userDrawn="1">
          <p15:clr>
            <a:srgbClr val="3B4154"/>
          </p15:clr>
        </p15:guide>
        <p15:guide id="161" orient="horz" pos="4608" userDrawn="1">
          <p15:clr>
            <a:srgbClr val="3B4154"/>
          </p15:clr>
        </p15:guide>
        <p15:guide id="162" pos="6053" userDrawn="1">
          <p15:clr>
            <a:srgbClr val="3B415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microsoft.com/office/2018/10/relationships/comments" Target="../comments/modernComment_7FFFFFFD_B1331F8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tags" Target="../tags/tag119.xml"/><Relationship Id="rId18" Type="http://schemas.openxmlformats.org/officeDocument/2006/relationships/tags" Target="../tags/tag124.xml"/><Relationship Id="rId26" Type="http://schemas.openxmlformats.org/officeDocument/2006/relationships/image" Target="../media/image20.svg"/><Relationship Id="rId3" Type="http://schemas.openxmlformats.org/officeDocument/2006/relationships/tags" Target="../tags/tag109.xml"/><Relationship Id="rId21" Type="http://schemas.openxmlformats.org/officeDocument/2006/relationships/tags" Target="../tags/tag127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17" Type="http://schemas.openxmlformats.org/officeDocument/2006/relationships/tags" Target="../tags/tag123.xml"/><Relationship Id="rId25" Type="http://schemas.openxmlformats.org/officeDocument/2006/relationships/image" Target="../media/image19.svg"/><Relationship Id="rId2" Type="http://schemas.openxmlformats.org/officeDocument/2006/relationships/tags" Target="../tags/tag108.xml"/><Relationship Id="rId16" Type="http://schemas.openxmlformats.org/officeDocument/2006/relationships/tags" Target="../tags/tag122.xml"/><Relationship Id="rId20" Type="http://schemas.openxmlformats.org/officeDocument/2006/relationships/tags" Target="../tags/tag126.xml"/><Relationship Id="rId29" Type="http://schemas.openxmlformats.org/officeDocument/2006/relationships/image" Target="../media/image23.png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24" Type="http://schemas.openxmlformats.org/officeDocument/2006/relationships/slideLayout" Target="../slideLayouts/slideLayout10.xml"/><Relationship Id="rId5" Type="http://schemas.openxmlformats.org/officeDocument/2006/relationships/tags" Target="../tags/tag111.xml"/><Relationship Id="rId15" Type="http://schemas.openxmlformats.org/officeDocument/2006/relationships/tags" Target="../tags/tag121.xml"/><Relationship Id="rId23" Type="http://schemas.openxmlformats.org/officeDocument/2006/relationships/tags" Target="../tags/tag129.xml"/><Relationship Id="rId28" Type="http://schemas.openxmlformats.org/officeDocument/2006/relationships/image" Target="../media/image22.svg"/><Relationship Id="rId10" Type="http://schemas.openxmlformats.org/officeDocument/2006/relationships/tags" Target="../tags/tag116.xml"/><Relationship Id="rId19" Type="http://schemas.openxmlformats.org/officeDocument/2006/relationships/tags" Target="../tags/tag125.xml"/><Relationship Id="rId31" Type="http://schemas.openxmlformats.org/officeDocument/2006/relationships/image" Target="../media/image25.png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tags" Target="../tags/tag120.xml"/><Relationship Id="rId22" Type="http://schemas.openxmlformats.org/officeDocument/2006/relationships/tags" Target="../tags/tag128.xml"/><Relationship Id="rId27" Type="http://schemas.openxmlformats.org/officeDocument/2006/relationships/image" Target="../media/image21.svg"/><Relationship Id="rId30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42.xml"/><Relationship Id="rId18" Type="http://schemas.openxmlformats.org/officeDocument/2006/relationships/tags" Target="../tags/tag147.xml"/><Relationship Id="rId26" Type="http://schemas.openxmlformats.org/officeDocument/2006/relationships/image" Target="../media/image20.svg"/><Relationship Id="rId3" Type="http://schemas.openxmlformats.org/officeDocument/2006/relationships/tags" Target="../tags/tag132.xml"/><Relationship Id="rId21" Type="http://schemas.openxmlformats.org/officeDocument/2006/relationships/tags" Target="../tags/tag150.xml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17" Type="http://schemas.openxmlformats.org/officeDocument/2006/relationships/tags" Target="../tags/tag146.xml"/><Relationship Id="rId25" Type="http://schemas.openxmlformats.org/officeDocument/2006/relationships/image" Target="../media/image19.svg"/><Relationship Id="rId2" Type="http://schemas.openxmlformats.org/officeDocument/2006/relationships/tags" Target="../tags/tag131.xml"/><Relationship Id="rId16" Type="http://schemas.openxmlformats.org/officeDocument/2006/relationships/tags" Target="../tags/tag145.xml"/><Relationship Id="rId20" Type="http://schemas.openxmlformats.org/officeDocument/2006/relationships/tags" Target="../tags/tag149.xml"/><Relationship Id="rId29" Type="http://schemas.openxmlformats.org/officeDocument/2006/relationships/image" Target="../media/image23.png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24" Type="http://schemas.openxmlformats.org/officeDocument/2006/relationships/slideLayout" Target="../slideLayouts/slideLayout10.xml"/><Relationship Id="rId5" Type="http://schemas.openxmlformats.org/officeDocument/2006/relationships/tags" Target="../tags/tag134.xml"/><Relationship Id="rId15" Type="http://schemas.openxmlformats.org/officeDocument/2006/relationships/tags" Target="../tags/tag144.xml"/><Relationship Id="rId23" Type="http://schemas.openxmlformats.org/officeDocument/2006/relationships/tags" Target="../tags/tag152.xml"/><Relationship Id="rId28" Type="http://schemas.openxmlformats.org/officeDocument/2006/relationships/image" Target="../media/image22.svg"/><Relationship Id="rId10" Type="http://schemas.openxmlformats.org/officeDocument/2006/relationships/tags" Target="../tags/tag139.xml"/><Relationship Id="rId19" Type="http://schemas.openxmlformats.org/officeDocument/2006/relationships/tags" Target="../tags/tag148.xml"/><Relationship Id="rId31" Type="http://schemas.openxmlformats.org/officeDocument/2006/relationships/image" Target="../media/image25.png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tags" Target="../tags/tag143.xml"/><Relationship Id="rId22" Type="http://schemas.openxmlformats.org/officeDocument/2006/relationships/tags" Target="../tags/tag151.xml"/><Relationship Id="rId27" Type="http://schemas.openxmlformats.org/officeDocument/2006/relationships/image" Target="../media/image21.svg"/><Relationship Id="rId30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microsoft.com/office/2018/10/relationships/comments" Target="../comments/modernComment_12F_E1833287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microsoft.com/office/2018/10/relationships/comments" Target="../comments/modernComment_100_15BD607B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0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9.jp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microsoft.com/office/2018/10/relationships/comments" Target="../comments/modernComment_137_1240ED4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sv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sv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20_28A2661F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21_8EFAD4B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6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84" Type="http://schemas.openxmlformats.org/officeDocument/2006/relationships/tags" Target="../tags/tag87.xml"/><Relationship Id="rId89" Type="http://schemas.openxmlformats.org/officeDocument/2006/relationships/tags" Target="../tags/tag92.xml"/><Relationship Id="rId16" Type="http://schemas.openxmlformats.org/officeDocument/2006/relationships/tags" Target="../tags/tag19.xml"/><Relationship Id="rId107" Type="http://schemas.openxmlformats.org/officeDocument/2006/relationships/image" Target="../media/image18.emf"/><Relationship Id="rId11" Type="http://schemas.openxmlformats.org/officeDocument/2006/relationships/tags" Target="../tags/tag14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74" Type="http://schemas.openxmlformats.org/officeDocument/2006/relationships/tags" Target="../tags/tag77.xml"/><Relationship Id="rId79" Type="http://schemas.openxmlformats.org/officeDocument/2006/relationships/tags" Target="../tags/tag82.xml"/><Relationship Id="rId102" Type="http://schemas.openxmlformats.org/officeDocument/2006/relationships/tags" Target="../tags/tag105.xml"/><Relationship Id="rId5" Type="http://schemas.openxmlformats.org/officeDocument/2006/relationships/tags" Target="../tags/tag8.xml"/><Relationship Id="rId90" Type="http://schemas.openxmlformats.org/officeDocument/2006/relationships/tags" Target="../tags/tag93.xml"/><Relationship Id="rId95" Type="http://schemas.openxmlformats.org/officeDocument/2006/relationships/tags" Target="../tags/tag98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80" Type="http://schemas.openxmlformats.org/officeDocument/2006/relationships/tags" Target="../tags/tag83.xml"/><Relationship Id="rId85" Type="http://schemas.openxmlformats.org/officeDocument/2006/relationships/tags" Target="../tags/tag88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59" Type="http://schemas.openxmlformats.org/officeDocument/2006/relationships/tags" Target="../tags/tag62.xml"/><Relationship Id="rId103" Type="http://schemas.openxmlformats.org/officeDocument/2006/relationships/tags" Target="../tags/tag106.xml"/><Relationship Id="rId108" Type="http://schemas.openxmlformats.org/officeDocument/2006/relationships/chart" Target="../charts/chart1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tags" Target="../tags/tag78.xml"/><Relationship Id="rId83" Type="http://schemas.openxmlformats.org/officeDocument/2006/relationships/tags" Target="../tags/tag86.xml"/><Relationship Id="rId88" Type="http://schemas.openxmlformats.org/officeDocument/2006/relationships/tags" Target="../tags/tag91.xml"/><Relationship Id="rId91" Type="http://schemas.openxmlformats.org/officeDocument/2006/relationships/tags" Target="../tags/tag94.xml"/><Relationship Id="rId96" Type="http://schemas.openxmlformats.org/officeDocument/2006/relationships/tags" Target="../tags/tag99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6" Type="http://schemas.openxmlformats.org/officeDocument/2006/relationships/oleObject" Target="../embeddings/oleObject3.bin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78" Type="http://schemas.openxmlformats.org/officeDocument/2006/relationships/tags" Target="../tags/tag81.xml"/><Relationship Id="rId81" Type="http://schemas.openxmlformats.org/officeDocument/2006/relationships/tags" Target="../tags/tag84.xml"/><Relationship Id="rId86" Type="http://schemas.openxmlformats.org/officeDocument/2006/relationships/tags" Target="../tags/tag89.xml"/><Relationship Id="rId94" Type="http://schemas.openxmlformats.org/officeDocument/2006/relationships/tags" Target="../tags/tag97.xml"/><Relationship Id="rId99" Type="http://schemas.openxmlformats.org/officeDocument/2006/relationships/tags" Target="../tags/tag102.xml"/><Relationship Id="rId101" Type="http://schemas.openxmlformats.org/officeDocument/2006/relationships/tags" Target="../tags/tag10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Relationship Id="rId34" Type="http://schemas.openxmlformats.org/officeDocument/2006/relationships/tags" Target="../tags/tag37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76" Type="http://schemas.openxmlformats.org/officeDocument/2006/relationships/tags" Target="../tags/tag79.xml"/><Relationship Id="rId97" Type="http://schemas.openxmlformats.org/officeDocument/2006/relationships/tags" Target="../tags/tag100.xml"/><Relationship Id="rId104" Type="http://schemas.openxmlformats.org/officeDocument/2006/relationships/slideLayout" Target="../slideLayouts/slideLayout10.xml"/><Relationship Id="rId7" Type="http://schemas.openxmlformats.org/officeDocument/2006/relationships/tags" Target="../tags/tag10.xml"/><Relationship Id="rId71" Type="http://schemas.openxmlformats.org/officeDocument/2006/relationships/tags" Target="../tags/tag74.xml"/><Relationship Id="rId92" Type="http://schemas.openxmlformats.org/officeDocument/2006/relationships/tags" Target="../tags/tag95.xml"/><Relationship Id="rId2" Type="http://schemas.openxmlformats.org/officeDocument/2006/relationships/tags" Target="../tags/tag5.xml"/><Relationship Id="rId29" Type="http://schemas.openxmlformats.org/officeDocument/2006/relationships/tags" Target="../tags/tag32.xml"/><Relationship Id="rId24" Type="http://schemas.openxmlformats.org/officeDocument/2006/relationships/tags" Target="../tags/tag27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66" Type="http://schemas.openxmlformats.org/officeDocument/2006/relationships/tags" Target="../tags/tag69.xml"/><Relationship Id="rId87" Type="http://schemas.openxmlformats.org/officeDocument/2006/relationships/tags" Target="../tags/tag90.xml"/><Relationship Id="rId61" Type="http://schemas.openxmlformats.org/officeDocument/2006/relationships/tags" Target="../tags/tag64.xml"/><Relationship Id="rId82" Type="http://schemas.openxmlformats.org/officeDocument/2006/relationships/tags" Target="../tags/tag85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56" Type="http://schemas.openxmlformats.org/officeDocument/2006/relationships/tags" Target="../tags/tag59.xml"/><Relationship Id="rId77" Type="http://schemas.openxmlformats.org/officeDocument/2006/relationships/tags" Target="../tags/tag80.xml"/><Relationship Id="rId100" Type="http://schemas.openxmlformats.org/officeDocument/2006/relationships/tags" Target="../tags/tag103.xml"/><Relationship Id="rId105" Type="http://schemas.openxmlformats.org/officeDocument/2006/relationships/notesSlide" Target="../notesSlides/notesSlide4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93" Type="http://schemas.openxmlformats.org/officeDocument/2006/relationships/tags" Target="../tags/tag96.xml"/><Relationship Id="rId98" Type="http://schemas.openxmlformats.org/officeDocument/2006/relationships/tags" Target="../tags/tag101.xml"/><Relationship Id="rId3" Type="http://schemas.openxmlformats.org/officeDocument/2006/relationships/tags" Target="../tags/tag6.xml"/><Relationship Id="rId25" Type="http://schemas.openxmlformats.org/officeDocument/2006/relationships/tags" Target="../tags/tag28.xml"/><Relationship Id="rId46" Type="http://schemas.openxmlformats.org/officeDocument/2006/relationships/tags" Target="../tags/tag49.xml"/><Relationship Id="rId67" Type="http://schemas.openxmlformats.org/officeDocument/2006/relationships/tags" Target="../tags/tag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CBC7ED-B818-951D-2B56-2594B8C8E5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DE9D306-8830-1602-9FDF-C0738F8E0CF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" r="4"/>
          <a:stretch/>
        </p:blipFill>
        <p:spPr>
          <a:xfrm>
            <a:off x="0" y="0"/>
            <a:ext cx="24382412" cy="13716000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588C5-2252-4F54-94EF-988F69C64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D025FD-A7FC-18D1-1BE4-EDD26305E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>
            <a:extLst>
              <a:ext uri="{FF2B5EF4-FFF2-40B4-BE49-F238E27FC236}">
                <a16:creationId xmlns:a16="http://schemas.microsoft.com/office/drawing/2014/main" id="{1CB0D57B-3FC1-0C67-0FAF-1A6AA31E3B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40000" y="11695886"/>
            <a:ext cx="14205137" cy="615553"/>
          </a:xfrm>
        </p:spPr>
        <p:txBody>
          <a:bodyPr/>
          <a:lstStyle/>
          <a:p>
            <a:r>
              <a:rPr lang="en-001" dirty="0">
                <a:latin typeface="YS Text Regular" pitchFamily="2" charset="0"/>
              </a:rPr>
              <a:t>Руководитель направления СTV-рекламы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6BCD7A1-3FA1-E319-44CE-23C8A45B9D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39863" y="11062065"/>
            <a:ext cx="14204950" cy="615553"/>
          </a:xfrm>
        </p:spPr>
        <p:txBody>
          <a:bodyPr/>
          <a:lstStyle/>
          <a:p>
            <a:r>
              <a:rPr lang="ru-RU" dirty="0"/>
              <a:t>Надира </a:t>
            </a:r>
            <a:r>
              <a:rPr lang="ru-RU" dirty="0" err="1"/>
              <a:t>Элоян</a:t>
            </a:r>
            <a:endParaRPr lang="ru-RU" dirty="0"/>
          </a:p>
        </p:txBody>
      </p:sp>
      <p:sp>
        <p:nvSpPr>
          <p:cNvPr id="14" name="Заголовок 13">
            <a:extLst>
              <a:ext uri="{FF2B5EF4-FFF2-40B4-BE49-F238E27FC236}">
                <a16:creationId xmlns:a16="http://schemas.microsoft.com/office/drawing/2014/main" id="{09AC2EED-FA2C-AC33-100D-B228ED97A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49" y="1144194"/>
            <a:ext cx="19072225" cy="6568208"/>
          </a:xfrm>
        </p:spPr>
        <p:txBody>
          <a:bodyPr wrap="square">
            <a:spAutoFit/>
          </a:bodyPr>
          <a:lstStyle/>
          <a:p>
            <a:r>
              <a:rPr lang="ru-RU" sz="13000" dirty="0"/>
              <a:t>Большой экран будущего: прогноз рынка, тренды </a:t>
            </a:r>
            <a:br>
              <a:rPr lang="ru-RU" sz="13000" dirty="0"/>
            </a:br>
            <a:r>
              <a:rPr lang="ru-RU" sz="13000" dirty="0"/>
              <a:t>и возможности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0687DD7-7A32-070A-5F38-C550071E5A0B}"/>
              </a:ext>
            </a:extLst>
          </p:cNvPr>
          <p:cNvSpPr txBox="1"/>
          <p:nvPr/>
        </p:nvSpPr>
        <p:spPr>
          <a:xfrm>
            <a:off x="1439863" y="7943432"/>
            <a:ext cx="14866937" cy="7670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defTabSz="1828709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alvar Breit CY Rg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defRPr/>
            </a:pPr>
            <a:r>
              <a:rPr lang="ru-RU" sz="56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Где сегодня выигрывают бренды 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51F4EC4-0600-4E58-2523-C0C3AD0DDEA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708481" y="1032328"/>
            <a:ext cx="3240000" cy="727182"/>
          </a:xfrm>
          <a:prstGeom prst="rect">
            <a:avLst/>
          </a:prstGeom>
        </p:spPr>
      </p:pic>
      <p:pic>
        <p:nvPicPr>
          <p:cNvPr id="6" name="Google Shape;19;p1" title="logo 1.png">
            <a:extLst>
              <a:ext uri="{FF2B5EF4-FFF2-40B4-BE49-F238E27FC236}">
                <a16:creationId xmlns:a16="http://schemas.microsoft.com/office/drawing/2014/main" id="{43BA9E8A-0897-0096-2029-693ED6D78CCA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9708481" y="2433637"/>
            <a:ext cx="3240000" cy="347774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80735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0D988D10-E007-446E-68CF-434B68B84203}"/>
              </a:ext>
            </a:extLst>
          </p:cNvPr>
          <p:cNvGrpSpPr/>
          <p:nvPr/>
        </p:nvGrpSpPr>
        <p:grpSpPr>
          <a:xfrm>
            <a:off x="5136057" y="3578384"/>
            <a:ext cx="12726979" cy="8918416"/>
            <a:chOff x="4760921" y="4262438"/>
            <a:chExt cx="12726979" cy="8228012"/>
          </a:xfrm>
        </p:grpSpPr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FB0F29F3-6537-8BB1-622B-BFBD38A3533F}"/>
                </a:ext>
              </a:extLst>
            </p:cNvPr>
            <p:cNvCxnSpPr>
              <a:cxnSpLocks/>
            </p:cNvCxnSpPr>
            <p:nvPr/>
          </p:nvCxnSpPr>
          <p:spPr>
            <a:xfrm>
              <a:off x="4760921" y="4262438"/>
              <a:ext cx="0" cy="8228012"/>
            </a:xfrm>
            <a:prstGeom prst="line">
              <a:avLst/>
            </a:prstGeom>
            <a:ln w="12700" cap="rnd">
              <a:solidFill>
                <a:srgbClr val="324164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4CD130BF-AFEA-5E6B-22B2-57500137EC76}"/>
                </a:ext>
              </a:extLst>
            </p:cNvPr>
            <p:cNvCxnSpPr>
              <a:cxnSpLocks/>
            </p:cNvCxnSpPr>
            <p:nvPr/>
          </p:nvCxnSpPr>
          <p:spPr>
            <a:xfrm>
              <a:off x="6351793" y="4262438"/>
              <a:ext cx="0" cy="8228012"/>
            </a:xfrm>
            <a:prstGeom prst="line">
              <a:avLst/>
            </a:prstGeom>
            <a:ln w="12700" cap="rnd">
              <a:solidFill>
                <a:srgbClr val="324164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5362A8CB-0ACD-4142-0C6D-970369BD2009}"/>
                </a:ext>
              </a:extLst>
            </p:cNvPr>
            <p:cNvCxnSpPr>
              <a:cxnSpLocks/>
            </p:cNvCxnSpPr>
            <p:nvPr/>
          </p:nvCxnSpPr>
          <p:spPr>
            <a:xfrm>
              <a:off x="7942665" y="4262438"/>
              <a:ext cx="0" cy="8228012"/>
            </a:xfrm>
            <a:prstGeom prst="line">
              <a:avLst/>
            </a:prstGeom>
            <a:ln w="12700" cap="rnd">
              <a:solidFill>
                <a:srgbClr val="324164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DE232A19-6178-B933-BE4A-39A7459FFF63}"/>
                </a:ext>
              </a:extLst>
            </p:cNvPr>
            <p:cNvCxnSpPr>
              <a:cxnSpLocks/>
            </p:cNvCxnSpPr>
            <p:nvPr/>
          </p:nvCxnSpPr>
          <p:spPr>
            <a:xfrm>
              <a:off x="9533537" y="4262438"/>
              <a:ext cx="0" cy="8228012"/>
            </a:xfrm>
            <a:prstGeom prst="line">
              <a:avLst/>
            </a:prstGeom>
            <a:ln w="12700" cap="rnd">
              <a:solidFill>
                <a:srgbClr val="324164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980F23AF-7206-C998-C1DA-362EC83DC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24409" y="4262438"/>
              <a:ext cx="0" cy="8228012"/>
            </a:xfrm>
            <a:prstGeom prst="line">
              <a:avLst/>
            </a:prstGeom>
            <a:ln w="12700" cap="rnd">
              <a:solidFill>
                <a:srgbClr val="324164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35D9D110-E2D1-FF53-A611-393E7C333FAC}"/>
                </a:ext>
              </a:extLst>
            </p:cNvPr>
            <p:cNvCxnSpPr>
              <a:cxnSpLocks/>
            </p:cNvCxnSpPr>
            <p:nvPr/>
          </p:nvCxnSpPr>
          <p:spPr>
            <a:xfrm>
              <a:off x="12715281" y="4262438"/>
              <a:ext cx="0" cy="8228012"/>
            </a:xfrm>
            <a:prstGeom prst="line">
              <a:avLst/>
            </a:prstGeom>
            <a:ln w="12700" cap="rnd">
              <a:solidFill>
                <a:srgbClr val="324164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3352EAD2-73F7-D3E7-F1CE-70362DB16C15}"/>
                </a:ext>
              </a:extLst>
            </p:cNvPr>
            <p:cNvCxnSpPr>
              <a:cxnSpLocks/>
            </p:cNvCxnSpPr>
            <p:nvPr/>
          </p:nvCxnSpPr>
          <p:spPr>
            <a:xfrm>
              <a:off x="14306153" y="4262438"/>
              <a:ext cx="0" cy="8228012"/>
            </a:xfrm>
            <a:prstGeom prst="line">
              <a:avLst/>
            </a:prstGeom>
            <a:ln w="12700" cap="rnd">
              <a:solidFill>
                <a:srgbClr val="324164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B8843DA1-FFCF-CAFF-8D95-47C6962F53B9}"/>
                </a:ext>
              </a:extLst>
            </p:cNvPr>
            <p:cNvCxnSpPr>
              <a:cxnSpLocks/>
            </p:cNvCxnSpPr>
            <p:nvPr/>
          </p:nvCxnSpPr>
          <p:spPr>
            <a:xfrm>
              <a:off x="15897025" y="4262438"/>
              <a:ext cx="0" cy="8228012"/>
            </a:xfrm>
            <a:prstGeom prst="line">
              <a:avLst/>
            </a:prstGeom>
            <a:ln w="12700" cap="rnd">
              <a:solidFill>
                <a:srgbClr val="324164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4BF7FD0B-845B-C27F-1B4D-CC0520488993}"/>
                </a:ext>
              </a:extLst>
            </p:cNvPr>
            <p:cNvCxnSpPr>
              <a:cxnSpLocks/>
            </p:cNvCxnSpPr>
            <p:nvPr/>
          </p:nvCxnSpPr>
          <p:spPr>
            <a:xfrm>
              <a:off x="17487900" y="4262438"/>
              <a:ext cx="0" cy="8228012"/>
            </a:xfrm>
            <a:prstGeom prst="line">
              <a:avLst/>
            </a:prstGeom>
            <a:ln w="12700" cap="rnd">
              <a:solidFill>
                <a:srgbClr val="324164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D99A20F-A52E-6AB6-5D83-9F9BF0350C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1000800"/>
            <a:ext cx="21492000" cy="767005"/>
          </a:xfrm>
        </p:spPr>
        <p:txBody>
          <a:bodyPr/>
          <a:lstStyle/>
          <a:p>
            <a:r>
              <a:rPr lang="ru-RU" dirty="0"/>
              <a:t>Годовой рост 35% — а не слишком ли быстро?</a:t>
            </a:r>
          </a:p>
        </p:txBody>
      </p:sp>
      <p:sp>
        <p:nvSpPr>
          <p:cNvPr id="14" name="Текст 5">
            <a:extLst>
              <a:ext uri="{FF2B5EF4-FFF2-40B4-BE49-F238E27FC236}">
                <a16:creationId xmlns:a16="http://schemas.microsoft.com/office/drawing/2014/main" id="{0CC17AAC-06E4-3341-DA27-1E73345F6994}"/>
              </a:ext>
            </a:extLst>
          </p:cNvPr>
          <p:cNvSpPr txBox="1">
            <a:spLocks/>
          </p:cNvSpPr>
          <p:nvPr/>
        </p:nvSpPr>
        <p:spPr>
          <a:xfrm>
            <a:off x="1440001" y="1919257"/>
            <a:ext cx="18164038" cy="6155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Как достигали целевых значений другие страны и как быстро росли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236466F-2D18-3261-8A5A-58DAC6ED8BF4}"/>
              </a:ext>
            </a:extLst>
          </p:cNvPr>
          <p:cNvSpPr txBox="1"/>
          <p:nvPr/>
        </p:nvSpPr>
        <p:spPr>
          <a:xfrm>
            <a:off x="5248298" y="3578383"/>
            <a:ext cx="788677" cy="4258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800" dirty="0"/>
              <a:t>2017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5A54873-9965-E5A6-114E-F5896B2899CB}"/>
              </a:ext>
            </a:extLst>
          </p:cNvPr>
          <p:cNvSpPr txBox="1"/>
          <p:nvPr/>
        </p:nvSpPr>
        <p:spPr>
          <a:xfrm>
            <a:off x="6837981" y="3578383"/>
            <a:ext cx="788677" cy="4258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800" dirty="0"/>
              <a:t>2018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EF9798D-43D2-82F5-0953-27949919EA3C}"/>
              </a:ext>
            </a:extLst>
          </p:cNvPr>
          <p:cNvSpPr txBox="1"/>
          <p:nvPr/>
        </p:nvSpPr>
        <p:spPr>
          <a:xfrm>
            <a:off x="8427664" y="3578383"/>
            <a:ext cx="788677" cy="4258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800" dirty="0"/>
              <a:t>2019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EFA76E5-5F4D-B1C1-3069-635C31938C0D}"/>
              </a:ext>
            </a:extLst>
          </p:cNvPr>
          <p:cNvSpPr txBox="1"/>
          <p:nvPr/>
        </p:nvSpPr>
        <p:spPr>
          <a:xfrm>
            <a:off x="10017347" y="3578383"/>
            <a:ext cx="788677" cy="4258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800" dirty="0"/>
              <a:t>202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297C218-F1E3-ED7B-073D-3D1D77B9B750}"/>
              </a:ext>
            </a:extLst>
          </p:cNvPr>
          <p:cNvSpPr txBox="1"/>
          <p:nvPr/>
        </p:nvSpPr>
        <p:spPr>
          <a:xfrm>
            <a:off x="11607030" y="3578383"/>
            <a:ext cx="788677" cy="4258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800" dirty="0"/>
              <a:t>202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5ED9DFD-0627-2D6B-1742-C01D92A9C522}"/>
              </a:ext>
            </a:extLst>
          </p:cNvPr>
          <p:cNvSpPr txBox="1"/>
          <p:nvPr/>
        </p:nvSpPr>
        <p:spPr>
          <a:xfrm>
            <a:off x="13196713" y="3578383"/>
            <a:ext cx="788677" cy="4258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800" dirty="0"/>
              <a:t>202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F0CD31B-C287-388C-E779-E1B030D91550}"/>
              </a:ext>
            </a:extLst>
          </p:cNvPr>
          <p:cNvSpPr txBox="1"/>
          <p:nvPr/>
        </p:nvSpPr>
        <p:spPr>
          <a:xfrm>
            <a:off x="14786396" y="3578383"/>
            <a:ext cx="788677" cy="4258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800" dirty="0"/>
              <a:t>2023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B3FA633-F099-2A42-C863-EF226F9A3A1D}"/>
              </a:ext>
            </a:extLst>
          </p:cNvPr>
          <p:cNvSpPr txBox="1"/>
          <p:nvPr/>
        </p:nvSpPr>
        <p:spPr>
          <a:xfrm>
            <a:off x="16376079" y="3578383"/>
            <a:ext cx="788677" cy="4258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800" dirty="0"/>
              <a:t>2024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C40F520-5D47-1114-2B46-61D52E07BD3E}"/>
              </a:ext>
            </a:extLst>
          </p:cNvPr>
          <p:cNvSpPr txBox="1"/>
          <p:nvPr/>
        </p:nvSpPr>
        <p:spPr>
          <a:xfrm>
            <a:off x="17965760" y="3578383"/>
            <a:ext cx="788677" cy="4258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800" dirty="0"/>
              <a:t>2025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2591C1C3-522A-2432-8B42-D768EBB2223D}"/>
              </a:ext>
            </a:extLst>
          </p:cNvPr>
          <p:cNvSpPr/>
          <p:nvPr/>
        </p:nvSpPr>
        <p:spPr>
          <a:xfrm>
            <a:off x="8317801" y="4910336"/>
            <a:ext cx="6363485" cy="792000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36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7" name="Rectangle 6">
            <a:extLst>
              <a:ext uri="{FF2B5EF4-FFF2-40B4-BE49-F238E27FC236}">
                <a16:creationId xmlns:a16="http://schemas.microsoft.com/office/drawing/2014/main" id="{675EFAF6-D46B-B55A-9F62-1C8448A703A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219670" y="5051036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tx1"/>
                </a:solidFill>
                <a:latin typeface="YS Text Regular"/>
              </a:rPr>
              <a:t>Австралия</a:t>
            </a:r>
            <a:endParaRPr lang="en-US" sz="2400" baseline="30000" dirty="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38" name="Rectangle 31">
            <a:extLst>
              <a:ext uri="{FF2B5EF4-FFF2-40B4-BE49-F238E27FC236}">
                <a16:creationId xmlns:a16="http://schemas.microsoft.com/office/drawing/2014/main" id="{A0AC06A7-0644-4F5E-ADE9-470EE35D01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415374" y="5081078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8%</a:t>
            </a:r>
            <a:endParaRPr lang="en-US" sz="28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48" name="Rectangle 31">
            <a:extLst>
              <a:ext uri="{FF2B5EF4-FFF2-40B4-BE49-F238E27FC236}">
                <a16:creationId xmlns:a16="http://schemas.microsoft.com/office/drawing/2014/main" id="{33A61825-C56A-B5DD-A321-1C73ECF37A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778862" y="5081078"/>
            <a:ext cx="1473647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26%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5E37B31-F4F6-185F-79D3-161649E2EA8E}"/>
              </a:ext>
            </a:extLst>
          </p:cNvPr>
          <p:cNvSpPr/>
          <p:nvPr/>
        </p:nvSpPr>
        <p:spPr>
          <a:xfrm>
            <a:off x="6721337" y="5830190"/>
            <a:ext cx="7959950" cy="792000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36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9" name="Rectangle 6">
            <a:extLst>
              <a:ext uri="{FF2B5EF4-FFF2-40B4-BE49-F238E27FC236}">
                <a16:creationId xmlns:a16="http://schemas.microsoft.com/office/drawing/2014/main" id="{886D1C8D-0C10-BC3D-ECBE-F9F19A9F3A0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218222" y="5970890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tx1"/>
                </a:solidFill>
                <a:latin typeface="YS Text Regular"/>
              </a:rPr>
              <a:t>США</a:t>
            </a:r>
            <a:endParaRPr lang="en-US" sz="2400" baseline="30000" dirty="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40" name="Rectangle 31">
            <a:extLst>
              <a:ext uri="{FF2B5EF4-FFF2-40B4-BE49-F238E27FC236}">
                <a16:creationId xmlns:a16="http://schemas.microsoft.com/office/drawing/2014/main" id="{7CB337D7-B106-A462-9AA6-C233BD4B79E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833242" y="6000932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6%</a:t>
            </a:r>
            <a:endParaRPr lang="en-US" sz="4000" b="1" dirty="0">
              <a:solidFill>
                <a:schemeClr val="bg1"/>
              </a:solidFill>
              <a:latin typeface="YS Display Bold"/>
            </a:endParaRPr>
          </a:p>
        </p:txBody>
      </p:sp>
      <p:sp>
        <p:nvSpPr>
          <p:cNvPr id="49" name="Rectangle 31">
            <a:extLst>
              <a:ext uri="{FF2B5EF4-FFF2-40B4-BE49-F238E27FC236}">
                <a16:creationId xmlns:a16="http://schemas.microsoft.com/office/drawing/2014/main" id="{926EB016-0D3E-EB6D-39F3-0E297C56582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778862" y="6000932"/>
            <a:ext cx="1277881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28%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BFE4B613-80B1-6184-2BCB-33464B19600C}"/>
              </a:ext>
            </a:extLst>
          </p:cNvPr>
          <p:cNvSpPr/>
          <p:nvPr/>
        </p:nvSpPr>
        <p:spPr>
          <a:xfrm>
            <a:off x="5147387" y="6750044"/>
            <a:ext cx="7946803" cy="792000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36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id="{0E5709F1-C620-BB46-30DE-14F36549A19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214174" y="6890744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tx1"/>
                </a:solidFill>
                <a:latin typeface="YS Text Regular"/>
              </a:rPr>
              <a:t>Канада</a:t>
            </a:r>
            <a:endParaRPr lang="en-US" sz="2400" baseline="30000" dirty="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42" name="Rectangle 31">
            <a:extLst>
              <a:ext uri="{FF2B5EF4-FFF2-40B4-BE49-F238E27FC236}">
                <a16:creationId xmlns:a16="http://schemas.microsoft.com/office/drawing/2014/main" id="{0179545F-112A-7B08-390F-358DB7D6208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241927" y="6920786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5%</a:t>
            </a:r>
          </a:p>
        </p:txBody>
      </p:sp>
      <p:sp>
        <p:nvSpPr>
          <p:cNvPr id="50" name="Rectangle 31">
            <a:extLst>
              <a:ext uri="{FF2B5EF4-FFF2-40B4-BE49-F238E27FC236}">
                <a16:creationId xmlns:a16="http://schemas.microsoft.com/office/drawing/2014/main" id="{274DF1CC-4BE5-7500-9CF5-71FBF809643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3193582" y="6920786"/>
            <a:ext cx="1370481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26%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3578AB5B-8A8A-ACD9-5939-3A39B458FE03}"/>
              </a:ext>
            </a:extLst>
          </p:cNvPr>
          <p:cNvSpPr/>
          <p:nvPr/>
        </p:nvSpPr>
        <p:spPr>
          <a:xfrm>
            <a:off x="5147387" y="7669898"/>
            <a:ext cx="7946805" cy="792000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36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2532A883-6177-28F3-A9F2-70A6BF8F391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225779" y="7810598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tx1"/>
                </a:solidFill>
                <a:latin typeface="YS Text Regular"/>
              </a:rPr>
              <a:t>Великобритания</a:t>
            </a:r>
            <a:endParaRPr lang="en-US" sz="2400" baseline="30000" dirty="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44" name="Rectangle 31">
            <a:extLst>
              <a:ext uri="{FF2B5EF4-FFF2-40B4-BE49-F238E27FC236}">
                <a16:creationId xmlns:a16="http://schemas.microsoft.com/office/drawing/2014/main" id="{C25F5C4D-66BE-8425-73B7-6923796FCDE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243281" y="7840640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6%</a:t>
            </a:r>
          </a:p>
        </p:txBody>
      </p:sp>
      <p:sp>
        <p:nvSpPr>
          <p:cNvPr id="51" name="Rectangle 31">
            <a:extLst>
              <a:ext uri="{FF2B5EF4-FFF2-40B4-BE49-F238E27FC236}">
                <a16:creationId xmlns:a16="http://schemas.microsoft.com/office/drawing/2014/main" id="{B642C98D-0E7C-EA7B-5DFF-18F8B79A8CB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3193582" y="7840640"/>
            <a:ext cx="126573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26%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50F7563C-CFA0-EB91-093C-25707A97BB41}"/>
              </a:ext>
            </a:extLst>
          </p:cNvPr>
          <p:cNvSpPr/>
          <p:nvPr/>
        </p:nvSpPr>
        <p:spPr>
          <a:xfrm>
            <a:off x="8317800" y="8589751"/>
            <a:ext cx="4778210" cy="792000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36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ED44F072-202C-EDFA-388A-790F23445DE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2215452" y="8730451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tx1"/>
                </a:solidFill>
                <a:latin typeface="YS Text Regular"/>
              </a:rPr>
              <a:t>Китай</a:t>
            </a:r>
            <a:endParaRPr lang="en-US" sz="2400" baseline="30000" dirty="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46" name="Rectangle 31">
            <a:extLst>
              <a:ext uri="{FF2B5EF4-FFF2-40B4-BE49-F238E27FC236}">
                <a16:creationId xmlns:a16="http://schemas.microsoft.com/office/drawing/2014/main" id="{3D673AD1-9562-183F-37EA-0FA991779D3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406549" y="8760493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11%</a:t>
            </a:r>
            <a:endParaRPr lang="en-US" sz="4000" b="1" dirty="0">
              <a:solidFill>
                <a:schemeClr val="bg1"/>
              </a:solidFill>
              <a:latin typeface="YS Display Bold"/>
            </a:endParaRPr>
          </a:p>
        </p:txBody>
      </p:sp>
      <p:sp>
        <p:nvSpPr>
          <p:cNvPr id="52" name="Rectangle 31">
            <a:extLst>
              <a:ext uri="{FF2B5EF4-FFF2-40B4-BE49-F238E27FC236}">
                <a16:creationId xmlns:a16="http://schemas.microsoft.com/office/drawing/2014/main" id="{8931A48C-4A97-0E7C-C2CE-C3C564783C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3193582" y="8760493"/>
            <a:ext cx="1156634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26%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3515ADD4-BCE0-F9F2-1A85-F9BBCBA0958F}"/>
              </a:ext>
            </a:extLst>
          </p:cNvPr>
          <p:cNvSpPr/>
          <p:nvPr/>
        </p:nvSpPr>
        <p:spPr>
          <a:xfrm>
            <a:off x="8312204" y="10611509"/>
            <a:ext cx="6369082" cy="792000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36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8" name="Rectangle 6">
            <a:extLst>
              <a:ext uri="{FF2B5EF4-FFF2-40B4-BE49-F238E27FC236}">
                <a16:creationId xmlns:a16="http://schemas.microsoft.com/office/drawing/2014/main" id="{6EEBE2E3-1A3D-D762-A698-68D17326240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2251452" y="10752209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tx1"/>
                </a:solidFill>
                <a:latin typeface="YS Text Regular"/>
              </a:rPr>
              <a:t>Южная Корея</a:t>
            </a:r>
            <a:endParaRPr lang="en-US" sz="2400" baseline="30000" dirty="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59" name="Rectangle 31">
            <a:extLst>
              <a:ext uri="{FF2B5EF4-FFF2-40B4-BE49-F238E27FC236}">
                <a16:creationId xmlns:a16="http://schemas.microsoft.com/office/drawing/2014/main" id="{A7F0077E-29DA-48FD-585F-500A08BECC1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420426" y="10782251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3%</a:t>
            </a:r>
          </a:p>
        </p:txBody>
      </p:sp>
      <p:sp>
        <p:nvSpPr>
          <p:cNvPr id="60" name="Rectangle 31">
            <a:extLst>
              <a:ext uri="{FF2B5EF4-FFF2-40B4-BE49-F238E27FC236}">
                <a16:creationId xmlns:a16="http://schemas.microsoft.com/office/drawing/2014/main" id="{4CDC5DDA-A8AC-023E-AE6B-EC3E354424C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4778861" y="10782251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5%</a:t>
            </a:r>
            <a:endParaRPr lang="en-US" sz="28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CD156D22-F199-583C-BC96-119E2F8FF433}"/>
              </a:ext>
            </a:extLst>
          </p:cNvPr>
          <p:cNvSpPr/>
          <p:nvPr/>
        </p:nvSpPr>
        <p:spPr>
          <a:xfrm>
            <a:off x="9908673" y="11513779"/>
            <a:ext cx="7954359" cy="792000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36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61" name="Rectangle 6">
            <a:extLst>
              <a:ext uri="{FF2B5EF4-FFF2-40B4-BE49-F238E27FC236}">
                <a16:creationId xmlns:a16="http://schemas.microsoft.com/office/drawing/2014/main" id="{74C3D815-837B-37CE-E627-18AEF89E6BF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2214174" y="11654479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tx1"/>
                </a:solidFill>
                <a:latin typeface="YS Text Regular"/>
              </a:rPr>
              <a:t>Франция</a:t>
            </a:r>
            <a:endParaRPr lang="en-US" sz="2400" baseline="30000" dirty="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62" name="Rectangle 31">
            <a:extLst>
              <a:ext uri="{FF2B5EF4-FFF2-40B4-BE49-F238E27FC236}">
                <a16:creationId xmlns:a16="http://schemas.microsoft.com/office/drawing/2014/main" id="{BE88F1FC-EAE3-E8CD-BBEA-6D894CDA3710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0025604" y="11684521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3%</a:t>
            </a:r>
          </a:p>
        </p:txBody>
      </p:sp>
      <p:sp>
        <p:nvSpPr>
          <p:cNvPr id="63" name="Rectangle 31">
            <a:extLst>
              <a:ext uri="{FF2B5EF4-FFF2-40B4-BE49-F238E27FC236}">
                <a16:creationId xmlns:a16="http://schemas.microsoft.com/office/drawing/2014/main" id="{814D848B-BDA2-987D-F8C1-017E423A386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7980263" y="11684521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4000" b="1" dirty="0">
                <a:solidFill>
                  <a:schemeClr val="bg1"/>
                </a:solidFill>
                <a:latin typeface="YS Display Bold"/>
              </a:rPr>
              <a:t>5%</a:t>
            </a:r>
            <a:endParaRPr lang="en-US" sz="2800" baseline="30000" dirty="0">
              <a:solidFill>
                <a:schemeClr val="bg1"/>
              </a:solidFill>
              <a:latin typeface="YS Text Regular"/>
            </a:endParaRPr>
          </a:p>
        </p:txBody>
      </p:sp>
      <p:sp useBgFill="1">
        <p:nvSpPr>
          <p:cNvPr id="66" name="Rectangle 185">
            <a:extLst>
              <a:ext uri="{FF2B5EF4-FFF2-40B4-BE49-F238E27FC236}">
                <a16:creationId xmlns:a16="http://schemas.microsoft.com/office/drawing/2014/main" id="{4570D24F-840D-C7C0-D4AC-455A5ACFBE2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462770" y="4205301"/>
            <a:ext cx="18266071" cy="4308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defTabSz="457177">
              <a:defRPr/>
            </a:pPr>
            <a:r>
              <a:rPr lang="ru-RU" sz="2800" dirty="0" err="1">
                <a:solidFill>
                  <a:schemeClr val="bg1"/>
                </a:solidFill>
                <a:latin typeface="YS Text Medium" pitchFamily="2" charset="-52"/>
              </a:rPr>
              <a:t>Milestone</a:t>
            </a:r>
            <a:r>
              <a:rPr lang="ru-RU" sz="2800" dirty="0">
                <a:solidFill>
                  <a:schemeClr val="bg1"/>
                </a:solidFill>
                <a:latin typeface="YS Text Medium" pitchFamily="2" charset="-52"/>
              </a:rPr>
              <a:t>: &gt;25% от </a:t>
            </a:r>
            <a:r>
              <a:rPr lang="ru-RU" sz="2800" dirty="0" err="1">
                <a:solidFill>
                  <a:schemeClr val="bg1"/>
                </a:solidFill>
                <a:latin typeface="YS Text Medium" pitchFamily="2" charset="-52"/>
              </a:rPr>
              <a:t>тотал</a:t>
            </a:r>
            <a:r>
              <a:rPr lang="ru-RU" sz="2800" dirty="0">
                <a:solidFill>
                  <a:schemeClr val="bg1"/>
                </a:solidFill>
                <a:latin typeface="YS Text Medium" pitchFamily="2" charset="-52"/>
              </a:rPr>
              <a:t>-рынка ТВ-рекламы</a:t>
            </a:r>
          </a:p>
        </p:txBody>
      </p:sp>
      <p:sp useBgFill="1">
        <p:nvSpPr>
          <p:cNvPr id="67" name="Rectangle 185">
            <a:extLst>
              <a:ext uri="{FF2B5EF4-FFF2-40B4-BE49-F238E27FC236}">
                <a16:creationId xmlns:a16="http://schemas.microsoft.com/office/drawing/2014/main" id="{04E3619A-67D7-64F4-8099-9C6BD058DFDE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462770" y="10005414"/>
            <a:ext cx="18266071" cy="4308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defTabSz="457177">
              <a:defRPr/>
            </a:pPr>
            <a:r>
              <a:rPr lang="ru-RU" sz="2800" dirty="0" err="1">
                <a:solidFill>
                  <a:schemeClr val="bg1"/>
                </a:solidFill>
                <a:latin typeface="YS Text Medium" pitchFamily="2" charset="-52"/>
              </a:rPr>
              <a:t>Milestone</a:t>
            </a:r>
            <a:r>
              <a:rPr lang="ru-RU" sz="2800" dirty="0">
                <a:solidFill>
                  <a:schemeClr val="bg1"/>
                </a:solidFill>
                <a:latin typeface="YS Text Medium" pitchFamily="2" charset="-52"/>
              </a:rPr>
              <a:t>: &gt;5% от </a:t>
            </a:r>
            <a:r>
              <a:rPr lang="ru-RU" sz="2800" dirty="0" err="1">
                <a:solidFill>
                  <a:schemeClr val="bg1"/>
                </a:solidFill>
                <a:latin typeface="YS Text Medium" pitchFamily="2" charset="-52"/>
              </a:rPr>
              <a:t>digital</a:t>
            </a:r>
            <a:r>
              <a:rPr lang="ru-RU" sz="2800" dirty="0">
                <a:solidFill>
                  <a:schemeClr val="bg1"/>
                </a:solidFill>
                <a:latin typeface="YS Text Medium" pitchFamily="2" charset="-52"/>
              </a:rPr>
              <a:t>-рынка рекламы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F0D5F9E-A747-AC5E-5F2F-0681B6DE0FAB}"/>
              </a:ext>
            </a:extLst>
          </p:cNvPr>
          <p:cNvSpPr txBox="1"/>
          <p:nvPr/>
        </p:nvSpPr>
        <p:spPr>
          <a:xfrm>
            <a:off x="20206700" y="4990052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39% </a:t>
            </a:r>
            <a:endParaRPr lang="en-US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E26F6E2-AF26-3EAD-4437-6285C41CA979}"/>
              </a:ext>
            </a:extLst>
          </p:cNvPr>
          <p:cNvSpPr txBox="1"/>
          <p:nvPr/>
        </p:nvSpPr>
        <p:spPr>
          <a:xfrm>
            <a:off x="20206700" y="3582047"/>
            <a:ext cx="2385383" cy="65652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defTabSz="457177">
              <a:lnSpc>
                <a:spcPct val="110000"/>
              </a:lnSpc>
              <a:defRPr/>
            </a:pPr>
            <a:r>
              <a:rPr lang="en-US" sz="2000" dirty="0">
                <a:latin typeface="YS Text Regular"/>
              </a:rPr>
              <a:t>CAGR CTV </a:t>
            </a:r>
            <a:br>
              <a:rPr lang="ru-RU" sz="2000" dirty="0">
                <a:latin typeface="YS Text Regular"/>
              </a:rPr>
            </a:br>
            <a:r>
              <a:rPr lang="ru-RU" sz="2000" dirty="0">
                <a:latin typeface="YS Text Regular"/>
              </a:rPr>
              <a:t>рекламы за период</a:t>
            </a:r>
            <a:endParaRPr lang="en-US" sz="2000" dirty="0">
              <a:latin typeface="YS Text Regular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3FC0BB4-516E-DF91-65F9-03FAA44EDBDC}"/>
              </a:ext>
            </a:extLst>
          </p:cNvPr>
          <p:cNvSpPr txBox="1"/>
          <p:nvPr/>
        </p:nvSpPr>
        <p:spPr>
          <a:xfrm>
            <a:off x="20206700" y="5915215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39% 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75F9209-515E-F617-A565-FA79F800DCF1}"/>
              </a:ext>
            </a:extLst>
          </p:cNvPr>
          <p:cNvSpPr txBox="1"/>
          <p:nvPr/>
        </p:nvSpPr>
        <p:spPr>
          <a:xfrm>
            <a:off x="20206700" y="6861070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45% </a:t>
            </a:r>
            <a:endParaRPr lang="en-US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81E3DBB-8069-4BCE-FF71-20D61AC01FE9}"/>
              </a:ext>
            </a:extLst>
          </p:cNvPr>
          <p:cNvSpPr txBox="1"/>
          <p:nvPr/>
        </p:nvSpPr>
        <p:spPr>
          <a:xfrm>
            <a:off x="20206700" y="7810598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40% </a:t>
            </a:r>
            <a:endParaRPr lang="en-US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4358EDE-A467-79FB-2CEE-181E7236C653}"/>
              </a:ext>
            </a:extLst>
          </p:cNvPr>
          <p:cNvSpPr txBox="1"/>
          <p:nvPr/>
        </p:nvSpPr>
        <p:spPr>
          <a:xfrm>
            <a:off x="20206700" y="8779467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23% </a:t>
            </a:r>
            <a:endParaRPr lang="en-US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464E45A-00E6-751C-07B6-FD6822E9CFEE}"/>
              </a:ext>
            </a:extLst>
          </p:cNvPr>
          <p:cNvSpPr txBox="1"/>
          <p:nvPr/>
        </p:nvSpPr>
        <p:spPr>
          <a:xfrm>
            <a:off x="20206700" y="10714675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30% </a:t>
            </a:r>
            <a:endParaRPr lang="en-US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D8874FD-1054-8D4F-0ABB-D090676F549A}"/>
              </a:ext>
            </a:extLst>
          </p:cNvPr>
          <p:cNvSpPr txBox="1"/>
          <p:nvPr/>
        </p:nvSpPr>
        <p:spPr>
          <a:xfrm>
            <a:off x="20206700" y="11602002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25% </a:t>
            </a:r>
            <a:endParaRPr lang="en-US" dirty="0"/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5E2F4E3A-76E7-1E07-6E8D-70950ABFA858}"/>
              </a:ext>
            </a:extLst>
          </p:cNvPr>
          <p:cNvCxnSpPr/>
          <p:nvPr/>
        </p:nvCxnSpPr>
        <p:spPr>
          <a:xfrm>
            <a:off x="19741659" y="3578383"/>
            <a:ext cx="0" cy="8918417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BB76E3FF-3A91-7CDF-C102-6D3E0B3B0D99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rcRect l="16595" r="33405"/>
          <a:stretch>
            <a:fillRect/>
          </a:stretch>
        </p:blipFill>
        <p:spPr>
          <a:xfrm>
            <a:off x="1484244" y="5081078"/>
            <a:ext cx="510601" cy="510601"/>
          </a:xfrm>
          <a:prstGeom prst="ellipse">
            <a:avLst/>
          </a:prstGeom>
        </p:spPr>
      </p:pic>
      <p:pic>
        <p:nvPicPr>
          <p:cNvPr id="90" name="Рисунок 89">
            <a:extLst>
              <a:ext uri="{FF2B5EF4-FFF2-40B4-BE49-F238E27FC236}">
                <a16:creationId xmlns:a16="http://schemas.microsoft.com/office/drawing/2014/main" id="{6572BB00-F492-E802-F62F-E13BE3FD8388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rcRect l="16667" r="16667"/>
          <a:stretch>
            <a:fillRect/>
          </a:stretch>
        </p:blipFill>
        <p:spPr>
          <a:xfrm>
            <a:off x="1484244" y="8746012"/>
            <a:ext cx="510601" cy="510601"/>
          </a:xfrm>
          <a:prstGeom prst="ellipse">
            <a:avLst/>
          </a:prstGeom>
        </p:spPr>
      </p:pic>
      <p:pic>
        <p:nvPicPr>
          <p:cNvPr id="92" name="Рисунок 91">
            <a:extLst>
              <a:ext uri="{FF2B5EF4-FFF2-40B4-BE49-F238E27FC236}">
                <a16:creationId xmlns:a16="http://schemas.microsoft.com/office/drawing/2014/main" id="{CD9374A2-17BB-6353-37D4-C86327A4F1AD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rcRect l="20000" r="20000"/>
          <a:stretch>
            <a:fillRect/>
          </a:stretch>
        </p:blipFill>
        <p:spPr>
          <a:xfrm>
            <a:off x="1484244" y="7810597"/>
            <a:ext cx="510601" cy="510601"/>
          </a:xfrm>
          <a:prstGeom prst="ellipse">
            <a:avLst/>
          </a:prstGeom>
        </p:spPr>
      </p:pic>
      <p:pic>
        <p:nvPicPr>
          <p:cNvPr id="94" name="Рисунок 93">
            <a:extLst>
              <a:ext uri="{FF2B5EF4-FFF2-40B4-BE49-F238E27FC236}">
                <a16:creationId xmlns:a16="http://schemas.microsoft.com/office/drawing/2014/main" id="{51AA5869-1FA0-B708-EECB-C476CF5E5CCD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rcRect l="25000" r="25000"/>
          <a:stretch>
            <a:fillRect/>
          </a:stretch>
        </p:blipFill>
        <p:spPr>
          <a:xfrm>
            <a:off x="1484244" y="6913545"/>
            <a:ext cx="510601" cy="510601"/>
          </a:xfrm>
          <a:prstGeom prst="ellipse">
            <a:avLst/>
          </a:prstGeom>
        </p:spPr>
      </p:pic>
      <p:pic>
        <p:nvPicPr>
          <p:cNvPr id="96" name="Рисунок 95">
            <a:extLst>
              <a:ext uri="{FF2B5EF4-FFF2-40B4-BE49-F238E27FC236}">
                <a16:creationId xmlns:a16="http://schemas.microsoft.com/office/drawing/2014/main" id="{ED9E5821-6753-31F8-9239-1E15EDC74C0E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9" t="25425" r="46895" b="25427"/>
          <a:stretch>
            <a:fillRect/>
          </a:stretch>
        </p:blipFill>
        <p:spPr>
          <a:xfrm>
            <a:off x="1484244" y="5967690"/>
            <a:ext cx="510601" cy="510601"/>
          </a:xfrm>
          <a:prstGeom prst="ellipse">
            <a:avLst/>
          </a:prstGeom>
          <a:ln cap="flat">
            <a:prstDash val="solid"/>
            <a:miter/>
          </a:ln>
        </p:spPr>
      </p:pic>
      <p:pic>
        <p:nvPicPr>
          <p:cNvPr id="98" name="Рисунок 97">
            <a:extLst>
              <a:ext uri="{FF2B5EF4-FFF2-40B4-BE49-F238E27FC236}">
                <a16:creationId xmlns:a16="http://schemas.microsoft.com/office/drawing/2014/main" id="{BC0F08D0-09CE-A8CF-392C-7A3DF60CA514}"/>
              </a:ext>
            </a:extLst>
          </p:cNvPr>
          <p:cNvPicPr>
            <a:picLocks noChangeAspect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97" t="16797" r="16797" b="16797"/>
          <a:stretch>
            <a:fillRect/>
          </a:stretch>
        </p:blipFill>
        <p:spPr>
          <a:xfrm>
            <a:off x="1471698" y="11642664"/>
            <a:ext cx="510601" cy="510601"/>
          </a:xfrm>
          <a:prstGeom prst="ellipse">
            <a:avLst/>
          </a:prstGeom>
          <a:ln w="561" cap="flat">
            <a:noFill/>
            <a:prstDash val="solid"/>
            <a:miter/>
          </a:ln>
        </p:spPr>
      </p:pic>
      <p:pic>
        <p:nvPicPr>
          <p:cNvPr id="100" name="Рисунок 99">
            <a:extLst>
              <a:ext uri="{FF2B5EF4-FFF2-40B4-BE49-F238E27FC236}">
                <a16:creationId xmlns:a16="http://schemas.microsoft.com/office/drawing/2014/main" id="{13A7A4BF-D083-7CD8-B7E3-4274ED55EBB0}"/>
              </a:ext>
            </a:extLst>
          </p:cNvPr>
          <p:cNvPicPr>
            <a:picLocks noChangeAspect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6" r="16636"/>
          <a:stretch>
            <a:fillRect/>
          </a:stretch>
        </p:blipFill>
        <p:spPr>
          <a:xfrm>
            <a:off x="1477922" y="10767150"/>
            <a:ext cx="510601" cy="510601"/>
          </a:xfrm>
          <a:prstGeom prst="ellipse">
            <a:avLst/>
          </a:prstGeom>
          <a:ln w="561" cap="flat">
            <a:noFill/>
            <a:prstDash val="solid"/>
            <a:miter/>
          </a:ln>
        </p:spPr>
      </p:pic>
    </p:spTree>
    <p:extLst>
      <p:ext uri="{BB962C8B-B14F-4D97-AF65-F5344CB8AC3E}">
        <p14:creationId xmlns:p14="http://schemas.microsoft.com/office/powerpoint/2010/main" val="17951469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0664944-D787-0316-1CE1-DC041DD2A3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D72208E-FFA1-628F-9863-ACAF2A796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1" y="1000125"/>
            <a:ext cx="6749340" cy="3068019"/>
          </a:xfrm>
        </p:spPr>
        <p:txBody>
          <a:bodyPr/>
          <a:lstStyle/>
          <a:p>
            <a:r>
              <a:rPr lang="ru-RU" dirty="0"/>
              <a:t>Годовой рост </a:t>
            </a:r>
            <a:br>
              <a:rPr lang="ru-RU" dirty="0"/>
            </a:br>
            <a:r>
              <a:rPr lang="ru-RU" dirty="0"/>
              <a:t>35% — </a:t>
            </a:r>
            <a:br>
              <a:rPr lang="ru-RU" dirty="0"/>
            </a:br>
            <a:r>
              <a:rPr lang="ru-RU" dirty="0"/>
              <a:t>а не слишком ли </a:t>
            </a:r>
            <a:br>
              <a:rPr lang="ru-RU" dirty="0"/>
            </a:br>
            <a:r>
              <a:rPr lang="ru-RU" dirty="0"/>
              <a:t>быстро?</a:t>
            </a:r>
          </a:p>
        </p:txBody>
      </p:sp>
      <p:sp>
        <p:nvSpPr>
          <p:cNvPr id="9" name="Текст 5">
            <a:extLst>
              <a:ext uri="{FF2B5EF4-FFF2-40B4-BE49-F238E27FC236}">
                <a16:creationId xmlns:a16="http://schemas.microsoft.com/office/drawing/2014/main" id="{FE5DFAF6-EE3D-6544-FA77-6E57F242965B}"/>
              </a:ext>
            </a:extLst>
          </p:cNvPr>
          <p:cNvSpPr txBox="1">
            <a:spLocks/>
          </p:cNvSpPr>
          <p:nvPr/>
        </p:nvSpPr>
        <p:spPr>
          <a:xfrm>
            <a:off x="1440002" y="4790982"/>
            <a:ext cx="5722286" cy="178523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Как достигали целевых значений другие страны и как быстро росл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37B4DEF-EE80-2788-AF25-B63750578352}"/>
              </a:ext>
            </a:extLst>
          </p:cNvPr>
          <p:cNvSpPr/>
          <p:nvPr/>
        </p:nvSpPr>
        <p:spPr>
          <a:xfrm>
            <a:off x="14036232" y="9734731"/>
            <a:ext cx="3982403" cy="868101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18B8E06-5111-4733-D2A4-1D990B4D8DEB}"/>
              </a:ext>
            </a:extLst>
          </p:cNvPr>
          <p:cNvSpPr/>
          <p:nvPr/>
        </p:nvSpPr>
        <p:spPr>
          <a:xfrm>
            <a:off x="15042230" y="10730785"/>
            <a:ext cx="4960680" cy="868101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3E6DFC2-2CDD-2FD3-2814-866D36127163}"/>
              </a:ext>
            </a:extLst>
          </p:cNvPr>
          <p:cNvSpPr/>
          <p:nvPr/>
        </p:nvSpPr>
        <p:spPr>
          <a:xfrm>
            <a:off x="13057959" y="4202709"/>
            <a:ext cx="4960676" cy="868101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1FE366B-4F4C-26FD-43AA-6D1C50E91D63}"/>
              </a:ext>
            </a:extLst>
          </p:cNvPr>
          <p:cNvSpPr/>
          <p:nvPr/>
        </p:nvSpPr>
        <p:spPr>
          <a:xfrm>
            <a:off x="12077153" y="5198762"/>
            <a:ext cx="4960676" cy="868101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DD84527-6250-7B90-D6FA-AA85BF6509EC}"/>
              </a:ext>
            </a:extLst>
          </p:cNvPr>
          <p:cNvSpPr/>
          <p:nvPr/>
        </p:nvSpPr>
        <p:spPr>
          <a:xfrm>
            <a:off x="12077152" y="6194815"/>
            <a:ext cx="4960677" cy="868101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1BFEEB5-468F-32DC-5377-08C0EAF16F4E}"/>
              </a:ext>
            </a:extLst>
          </p:cNvPr>
          <p:cNvSpPr/>
          <p:nvPr/>
        </p:nvSpPr>
        <p:spPr>
          <a:xfrm>
            <a:off x="14050095" y="7190869"/>
            <a:ext cx="2976406" cy="868101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E063721-3372-38D1-4304-D8F3E3A16DD2}"/>
              </a:ext>
            </a:extLst>
          </p:cNvPr>
          <p:cNvSpPr/>
          <p:nvPr/>
        </p:nvSpPr>
        <p:spPr>
          <a:xfrm>
            <a:off x="14050095" y="3206656"/>
            <a:ext cx="3968542" cy="868101"/>
          </a:xfrm>
          <a:prstGeom prst="rect">
            <a:avLst/>
          </a:prstGeom>
          <a:solidFill>
            <a:srgbClr val="3241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85B35B74-BF25-A071-B200-70F45508CFF1}"/>
              </a:ext>
            </a:extLst>
          </p:cNvPr>
          <p:cNvGrpSpPr/>
          <p:nvPr/>
        </p:nvGrpSpPr>
        <p:grpSpPr>
          <a:xfrm>
            <a:off x="12065823" y="1222046"/>
            <a:ext cx="7937086" cy="10852723"/>
            <a:chOff x="4760921" y="4262438"/>
            <a:chExt cx="12726979" cy="8228012"/>
          </a:xfrm>
        </p:grpSpPr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4217F0E4-88D8-7AA8-B67D-0D4752EEFA73}"/>
                </a:ext>
              </a:extLst>
            </p:cNvPr>
            <p:cNvCxnSpPr>
              <a:cxnSpLocks/>
            </p:cNvCxnSpPr>
            <p:nvPr/>
          </p:nvCxnSpPr>
          <p:spPr>
            <a:xfrm>
              <a:off x="4760921" y="4262438"/>
              <a:ext cx="0" cy="8228012"/>
            </a:xfrm>
            <a:prstGeom prst="line">
              <a:avLst/>
            </a:prstGeom>
            <a:ln w="12700" cap="rnd">
              <a:solidFill>
                <a:srgbClr val="46557D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0A023389-0D5F-F355-5859-C611FB06BC73}"/>
                </a:ext>
              </a:extLst>
            </p:cNvPr>
            <p:cNvCxnSpPr>
              <a:cxnSpLocks/>
            </p:cNvCxnSpPr>
            <p:nvPr/>
          </p:nvCxnSpPr>
          <p:spPr>
            <a:xfrm>
              <a:off x="6351793" y="4262438"/>
              <a:ext cx="0" cy="8228012"/>
            </a:xfrm>
            <a:prstGeom prst="line">
              <a:avLst/>
            </a:prstGeom>
            <a:ln w="12700" cap="rnd">
              <a:solidFill>
                <a:srgbClr val="46557D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DD277C63-2DFE-5F32-BD39-0DC088A44BE8}"/>
                </a:ext>
              </a:extLst>
            </p:cNvPr>
            <p:cNvCxnSpPr>
              <a:cxnSpLocks/>
            </p:cNvCxnSpPr>
            <p:nvPr/>
          </p:nvCxnSpPr>
          <p:spPr>
            <a:xfrm>
              <a:off x="7942665" y="4262438"/>
              <a:ext cx="0" cy="8228012"/>
            </a:xfrm>
            <a:prstGeom prst="line">
              <a:avLst/>
            </a:prstGeom>
            <a:ln w="12700" cap="rnd">
              <a:solidFill>
                <a:srgbClr val="46557D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8DB2EF4B-06C3-72D2-23FA-FBDC81D2B89E}"/>
                </a:ext>
              </a:extLst>
            </p:cNvPr>
            <p:cNvCxnSpPr>
              <a:cxnSpLocks/>
            </p:cNvCxnSpPr>
            <p:nvPr/>
          </p:nvCxnSpPr>
          <p:spPr>
            <a:xfrm>
              <a:off x="9533537" y="4262438"/>
              <a:ext cx="0" cy="8228012"/>
            </a:xfrm>
            <a:prstGeom prst="line">
              <a:avLst/>
            </a:prstGeom>
            <a:ln w="12700" cap="rnd">
              <a:solidFill>
                <a:srgbClr val="46557D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6B14271B-DD44-9AC7-2D92-4FB8C608CAB0}"/>
                </a:ext>
              </a:extLst>
            </p:cNvPr>
            <p:cNvCxnSpPr>
              <a:cxnSpLocks/>
            </p:cNvCxnSpPr>
            <p:nvPr/>
          </p:nvCxnSpPr>
          <p:spPr>
            <a:xfrm>
              <a:off x="11124409" y="4262438"/>
              <a:ext cx="0" cy="8228012"/>
            </a:xfrm>
            <a:prstGeom prst="line">
              <a:avLst/>
            </a:prstGeom>
            <a:ln w="12700" cap="rnd">
              <a:solidFill>
                <a:srgbClr val="46557D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2931E3B8-0C75-6239-F77B-21B53ADD3A94}"/>
                </a:ext>
              </a:extLst>
            </p:cNvPr>
            <p:cNvCxnSpPr>
              <a:cxnSpLocks/>
            </p:cNvCxnSpPr>
            <p:nvPr/>
          </p:nvCxnSpPr>
          <p:spPr>
            <a:xfrm>
              <a:off x="12715281" y="4262438"/>
              <a:ext cx="0" cy="8228012"/>
            </a:xfrm>
            <a:prstGeom prst="line">
              <a:avLst/>
            </a:prstGeom>
            <a:ln w="12700" cap="rnd">
              <a:solidFill>
                <a:srgbClr val="46557D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B67AAECD-6DD5-8F1D-DA3A-D966AB1E9FA8}"/>
                </a:ext>
              </a:extLst>
            </p:cNvPr>
            <p:cNvCxnSpPr>
              <a:cxnSpLocks/>
            </p:cNvCxnSpPr>
            <p:nvPr/>
          </p:nvCxnSpPr>
          <p:spPr>
            <a:xfrm>
              <a:off x="14306153" y="4262438"/>
              <a:ext cx="0" cy="8228012"/>
            </a:xfrm>
            <a:prstGeom prst="line">
              <a:avLst/>
            </a:prstGeom>
            <a:ln w="12700" cap="rnd">
              <a:solidFill>
                <a:srgbClr val="46557D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7E8EE7A5-63FC-1211-7673-38B59834B9C9}"/>
                </a:ext>
              </a:extLst>
            </p:cNvPr>
            <p:cNvCxnSpPr>
              <a:cxnSpLocks/>
            </p:cNvCxnSpPr>
            <p:nvPr/>
          </p:nvCxnSpPr>
          <p:spPr>
            <a:xfrm>
              <a:off x="15897025" y="4262438"/>
              <a:ext cx="0" cy="8228012"/>
            </a:xfrm>
            <a:prstGeom prst="line">
              <a:avLst/>
            </a:prstGeom>
            <a:ln w="12700" cap="rnd">
              <a:solidFill>
                <a:srgbClr val="46557D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3806ADFA-884D-16EA-34C0-39C3297AD573}"/>
                </a:ext>
              </a:extLst>
            </p:cNvPr>
            <p:cNvCxnSpPr>
              <a:cxnSpLocks/>
            </p:cNvCxnSpPr>
            <p:nvPr/>
          </p:nvCxnSpPr>
          <p:spPr>
            <a:xfrm>
              <a:off x="17487900" y="4262438"/>
              <a:ext cx="0" cy="8228012"/>
            </a:xfrm>
            <a:prstGeom prst="line">
              <a:avLst/>
            </a:prstGeom>
            <a:ln w="12700" cap="rnd">
              <a:solidFill>
                <a:srgbClr val="46557D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029733D8-BE2D-1491-E2AA-6CAC17A92FCD}"/>
              </a:ext>
            </a:extLst>
          </p:cNvPr>
          <p:cNvSpPr txBox="1"/>
          <p:nvPr/>
        </p:nvSpPr>
        <p:spPr>
          <a:xfrm>
            <a:off x="12145933" y="1222046"/>
            <a:ext cx="564257" cy="3041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000" dirty="0"/>
              <a:t>2017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982D528-0E0C-E2AF-5669-1941BCDA24AE}"/>
              </a:ext>
            </a:extLst>
          </p:cNvPr>
          <p:cNvSpPr txBox="1"/>
          <p:nvPr/>
        </p:nvSpPr>
        <p:spPr>
          <a:xfrm>
            <a:off x="13149398" y="1222046"/>
            <a:ext cx="564257" cy="3041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000" dirty="0"/>
              <a:t>2018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439CF63-CB21-C0E8-ADFD-AF25F3562BDB}"/>
              </a:ext>
            </a:extLst>
          </p:cNvPr>
          <p:cNvSpPr txBox="1"/>
          <p:nvPr/>
        </p:nvSpPr>
        <p:spPr>
          <a:xfrm>
            <a:off x="14146538" y="1222046"/>
            <a:ext cx="564257" cy="3041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000" dirty="0"/>
              <a:t>2019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1457F7F-72C2-1C4A-F69C-9D9417879B3A}"/>
              </a:ext>
            </a:extLst>
          </p:cNvPr>
          <p:cNvSpPr txBox="1"/>
          <p:nvPr/>
        </p:nvSpPr>
        <p:spPr>
          <a:xfrm>
            <a:off x="15131793" y="1222046"/>
            <a:ext cx="564257" cy="3041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000" dirty="0"/>
              <a:t>202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E01304B-FA9E-D408-7C76-2C6F5939D078}"/>
              </a:ext>
            </a:extLst>
          </p:cNvPr>
          <p:cNvSpPr txBox="1"/>
          <p:nvPr/>
        </p:nvSpPr>
        <p:spPr>
          <a:xfrm>
            <a:off x="16141993" y="1222046"/>
            <a:ext cx="564257" cy="3041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000" dirty="0"/>
              <a:t>202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39038F5-1A53-2EFA-5D89-0D8FF2D463E5}"/>
              </a:ext>
            </a:extLst>
          </p:cNvPr>
          <p:cNvSpPr txBox="1"/>
          <p:nvPr/>
        </p:nvSpPr>
        <p:spPr>
          <a:xfrm>
            <a:off x="17099731" y="1222046"/>
            <a:ext cx="564257" cy="3041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000" dirty="0"/>
              <a:t>202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309D6FF-7834-DF5B-3F05-2F5609CFB261}"/>
              </a:ext>
            </a:extLst>
          </p:cNvPr>
          <p:cNvSpPr txBox="1"/>
          <p:nvPr/>
        </p:nvSpPr>
        <p:spPr>
          <a:xfrm>
            <a:off x="18091866" y="1222046"/>
            <a:ext cx="564257" cy="3041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000" dirty="0"/>
              <a:t>2023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B4F3876-371D-54E0-23BF-FC97DD9D4556}"/>
              </a:ext>
            </a:extLst>
          </p:cNvPr>
          <p:cNvSpPr txBox="1"/>
          <p:nvPr/>
        </p:nvSpPr>
        <p:spPr>
          <a:xfrm>
            <a:off x="19102211" y="1222046"/>
            <a:ext cx="564257" cy="3041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000" dirty="0"/>
              <a:t>2024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ACBE18B-4C2C-474A-EA8D-0BFDADC79974}"/>
              </a:ext>
            </a:extLst>
          </p:cNvPr>
          <p:cNvSpPr txBox="1"/>
          <p:nvPr/>
        </p:nvSpPr>
        <p:spPr>
          <a:xfrm>
            <a:off x="20094346" y="1222046"/>
            <a:ext cx="564257" cy="3041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04000"/>
              </a:lnSpc>
              <a:spcAft>
                <a:spcPts val="2400"/>
              </a:spcAft>
            </a:pPr>
            <a:r>
              <a:rPr lang="ru-RU" sz="2000" dirty="0"/>
              <a:t>2025</a:t>
            </a:r>
          </a:p>
        </p:txBody>
      </p:sp>
      <p:sp>
        <p:nvSpPr>
          <p:cNvPr id="37" name="Rectangle 6">
            <a:extLst>
              <a:ext uri="{FF2B5EF4-FFF2-40B4-BE49-F238E27FC236}">
                <a16:creationId xmlns:a16="http://schemas.microsoft.com/office/drawing/2014/main" id="{4081D1CD-6685-43DA-1791-338258A48E9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400337" y="3385406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bg1"/>
                </a:solidFill>
                <a:latin typeface="YS Text Regular"/>
              </a:rPr>
              <a:t>Австралия</a:t>
            </a:r>
            <a:endParaRPr lang="en-US" sz="24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38" name="Rectangle 31">
            <a:extLst>
              <a:ext uri="{FF2B5EF4-FFF2-40B4-BE49-F238E27FC236}">
                <a16:creationId xmlns:a16="http://schemas.microsoft.com/office/drawing/2014/main" id="{D02B4023-D43A-B6B6-4AAA-847216D510D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192097" y="3419856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8%</a:t>
            </a:r>
            <a:endParaRPr lang="en-US" sz="20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39" name="Rectangle 6">
            <a:extLst>
              <a:ext uri="{FF2B5EF4-FFF2-40B4-BE49-F238E27FC236}">
                <a16:creationId xmlns:a16="http://schemas.microsoft.com/office/drawing/2014/main" id="{E80CA097-6BAB-B226-1392-BA9AD24C51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398889" y="4384767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bg1"/>
                </a:solidFill>
                <a:latin typeface="YS Text Regular"/>
              </a:rPr>
              <a:t>США</a:t>
            </a:r>
            <a:endParaRPr lang="en-US" sz="24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40" name="Rectangle 31">
            <a:extLst>
              <a:ext uri="{FF2B5EF4-FFF2-40B4-BE49-F238E27FC236}">
                <a16:creationId xmlns:a16="http://schemas.microsoft.com/office/drawing/2014/main" id="{8D25D2B1-3037-E768-B584-6B85858FF8D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3220161" y="4414807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6%</a:t>
            </a:r>
            <a:endParaRPr lang="en-US" sz="3400" b="1" dirty="0">
              <a:solidFill>
                <a:schemeClr val="bg1"/>
              </a:solidFill>
              <a:latin typeface="YS Display Bold"/>
            </a:endParaRPr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id="{5E40E950-D6E5-9135-C5A4-AC28BDD85B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394841" y="5379718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bg1"/>
                </a:solidFill>
                <a:latin typeface="YS Text Regular"/>
              </a:rPr>
              <a:t>Канада</a:t>
            </a:r>
            <a:endParaRPr lang="en-US" sz="24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42" name="Rectangle 31">
            <a:extLst>
              <a:ext uri="{FF2B5EF4-FFF2-40B4-BE49-F238E27FC236}">
                <a16:creationId xmlns:a16="http://schemas.microsoft.com/office/drawing/2014/main" id="{42BE5A61-5147-1FE1-85A8-7004F9A0DCC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171692" y="5409760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5%</a:t>
            </a:r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5DA9C36B-250F-BE10-71FC-51A1AA7F2A8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406446" y="6374671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bg1"/>
                </a:solidFill>
                <a:latin typeface="YS Text Regular"/>
              </a:rPr>
              <a:t>Великобритания</a:t>
            </a:r>
            <a:endParaRPr lang="en-US" sz="24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44" name="Rectangle 31">
            <a:extLst>
              <a:ext uri="{FF2B5EF4-FFF2-40B4-BE49-F238E27FC236}">
                <a16:creationId xmlns:a16="http://schemas.microsoft.com/office/drawing/2014/main" id="{A45CC662-61DA-1052-DEAD-6519E6B0192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173046" y="6404711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6%</a:t>
            </a: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EE93BECF-FD24-6DD2-491A-206EBE2EDC2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396119" y="7369620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bg1"/>
                </a:solidFill>
                <a:latin typeface="YS Text Regular"/>
              </a:rPr>
              <a:t>Китай</a:t>
            </a:r>
            <a:endParaRPr lang="en-US" sz="24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46" name="Rectangle 31">
            <a:extLst>
              <a:ext uri="{FF2B5EF4-FFF2-40B4-BE49-F238E27FC236}">
                <a16:creationId xmlns:a16="http://schemas.microsoft.com/office/drawing/2014/main" id="{6B97BBBA-DF41-D983-97A3-6AF7525AB43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165256" y="7399662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11%</a:t>
            </a:r>
            <a:endParaRPr lang="en-US" sz="3400" b="1" dirty="0">
              <a:solidFill>
                <a:schemeClr val="bg1"/>
              </a:solidFill>
              <a:latin typeface="YS Display Bold"/>
            </a:endParaRPr>
          </a:p>
        </p:txBody>
      </p:sp>
      <p:sp>
        <p:nvSpPr>
          <p:cNvPr id="47" name="Rectangle 31">
            <a:extLst>
              <a:ext uri="{FF2B5EF4-FFF2-40B4-BE49-F238E27FC236}">
                <a16:creationId xmlns:a16="http://schemas.microsoft.com/office/drawing/2014/main" id="{ADE64E47-5B99-8E84-BBD8-A38140A9D13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8148865" y="3419856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26%</a:t>
            </a:r>
          </a:p>
        </p:txBody>
      </p:sp>
      <p:sp>
        <p:nvSpPr>
          <p:cNvPr id="48" name="Rectangle 31">
            <a:extLst>
              <a:ext uri="{FF2B5EF4-FFF2-40B4-BE49-F238E27FC236}">
                <a16:creationId xmlns:a16="http://schemas.microsoft.com/office/drawing/2014/main" id="{301D4D06-5CD6-7F2E-C2C5-2BD1623BFA2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8148863" y="4414807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28%</a:t>
            </a:r>
          </a:p>
        </p:txBody>
      </p:sp>
      <p:sp>
        <p:nvSpPr>
          <p:cNvPr id="49" name="Rectangle 31">
            <a:extLst>
              <a:ext uri="{FF2B5EF4-FFF2-40B4-BE49-F238E27FC236}">
                <a16:creationId xmlns:a16="http://schemas.microsoft.com/office/drawing/2014/main" id="{7D5E8702-76C3-31C9-DB01-5BD83B0D6A18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7169160" y="5409760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26%</a:t>
            </a:r>
          </a:p>
        </p:txBody>
      </p:sp>
      <p:sp>
        <p:nvSpPr>
          <p:cNvPr id="50" name="Rectangle 31">
            <a:extLst>
              <a:ext uri="{FF2B5EF4-FFF2-40B4-BE49-F238E27FC236}">
                <a16:creationId xmlns:a16="http://schemas.microsoft.com/office/drawing/2014/main" id="{9AEBF9DE-4ADE-F821-BBDC-A6FD19333C4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7169160" y="6404711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26%</a:t>
            </a:r>
          </a:p>
        </p:txBody>
      </p:sp>
      <p:sp>
        <p:nvSpPr>
          <p:cNvPr id="51" name="Rectangle 31">
            <a:extLst>
              <a:ext uri="{FF2B5EF4-FFF2-40B4-BE49-F238E27FC236}">
                <a16:creationId xmlns:a16="http://schemas.microsoft.com/office/drawing/2014/main" id="{8737B0FD-E5B9-F047-76EF-84741824A98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7169160" y="7399662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/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26%</a:t>
            </a:r>
          </a:p>
        </p:txBody>
      </p:sp>
      <p:sp>
        <p:nvSpPr>
          <p:cNvPr id="52" name="Rectangle 6">
            <a:extLst>
              <a:ext uri="{FF2B5EF4-FFF2-40B4-BE49-F238E27FC236}">
                <a16:creationId xmlns:a16="http://schemas.microsoft.com/office/drawing/2014/main" id="{062EDE63-F37F-263E-9E5C-E6F48380071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432119" y="9903263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bg1"/>
                </a:solidFill>
                <a:latin typeface="YS Text Regular"/>
              </a:rPr>
              <a:t>Южная Корея</a:t>
            </a:r>
            <a:endParaRPr lang="en-US" sz="24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53" name="Rectangle 31">
            <a:extLst>
              <a:ext uri="{FF2B5EF4-FFF2-40B4-BE49-F238E27FC236}">
                <a16:creationId xmlns:a16="http://schemas.microsoft.com/office/drawing/2014/main" id="{B08CA68C-5A71-5759-D43B-604327F6D08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4179818" y="9933303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3%</a:t>
            </a:r>
          </a:p>
        </p:txBody>
      </p:sp>
      <p:sp>
        <p:nvSpPr>
          <p:cNvPr id="54" name="Rectangle 31">
            <a:extLst>
              <a:ext uri="{FF2B5EF4-FFF2-40B4-BE49-F238E27FC236}">
                <a16:creationId xmlns:a16="http://schemas.microsoft.com/office/drawing/2014/main" id="{0FDD7B38-433E-766F-9F52-C5CB75F911E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8170849" y="9933303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5%</a:t>
            </a:r>
            <a:endParaRPr lang="en-US" sz="20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55" name="Rectangle 6">
            <a:extLst>
              <a:ext uri="{FF2B5EF4-FFF2-40B4-BE49-F238E27FC236}">
                <a16:creationId xmlns:a16="http://schemas.microsoft.com/office/drawing/2014/main" id="{B309E930-2C0E-B18D-C237-95CFFE1B72B2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394841" y="10915258"/>
            <a:ext cx="3538404" cy="510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2400" dirty="0">
                <a:solidFill>
                  <a:schemeClr val="bg1"/>
                </a:solidFill>
                <a:latin typeface="YS Text Regular"/>
              </a:rPr>
              <a:t>Франция</a:t>
            </a:r>
            <a:endParaRPr lang="en-US" sz="24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56" name="Rectangle 31">
            <a:extLst>
              <a:ext uri="{FF2B5EF4-FFF2-40B4-BE49-F238E27FC236}">
                <a16:creationId xmlns:a16="http://schemas.microsoft.com/office/drawing/2014/main" id="{30153A1C-3318-C924-EDD1-9B77FA31AED6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5181214" y="10945300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3%</a:t>
            </a:r>
          </a:p>
        </p:txBody>
      </p:sp>
      <p:sp>
        <p:nvSpPr>
          <p:cNvPr id="57" name="Rectangle 31">
            <a:extLst>
              <a:ext uri="{FF2B5EF4-FFF2-40B4-BE49-F238E27FC236}">
                <a16:creationId xmlns:a16="http://schemas.microsoft.com/office/drawing/2014/main" id="{F6C4F4C4-2AF2-E34A-EFD1-A66D56955E89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0141893" y="10945300"/>
            <a:ext cx="1001689" cy="450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228579">
              <a:defRPr/>
            </a:pPr>
            <a:r>
              <a:rPr lang="ru-RU" sz="3400" b="1" dirty="0">
                <a:solidFill>
                  <a:schemeClr val="bg1"/>
                </a:solidFill>
                <a:latin typeface="YS Display Bold"/>
              </a:rPr>
              <a:t>5%</a:t>
            </a:r>
            <a:endParaRPr lang="en-US" sz="2000" baseline="30000" dirty="0">
              <a:solidFill>
                <a:schemeClr val="bg1"/>
              </a:solidFill>
              <a:latin typeface="YS Text Regular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B6CA6F2-30DB-09D1-01E0-9030643F0CCC}"/>
              </a:ext>
            </a:extLst>
          </p:cNvPr>
          <p:cNvSpPr txBox="1"/>
          <p:nvPr/>
        </p:nvSpPr>
        <p:spPr>
          <a:xfrm>
            <a:off x="21608623" y="3311156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39% </a:t>
            </a:r>
            <a:endParaRPr lang="en-US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BB80837-A8D0-6BF1-2E9E-032BFBFE9C60}"/>
              </a:ext>
            </a:extLst>
          </p:cNvPr>
          <p:cNvSpPr txBox="1"/>
          <p:nvPr/>
        </p:nvSpPr>
        <p:spPr>
          <a:xfrm>
            <a:off x="21608623" y="4304249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39% </a:t>
            </a:r>
            <a:endParaRPr lang="en-US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9C3C1FF-DB25-2FF2-9CAE-0E1646D94115}"/>
              </a:ext>
            </a:extLst>
          </p:cNvPr>
          <p:cNvSpPr txBox="1"/>
          <p:nvPr/>
        </p:nvSpPr>
        <p:spPr>
          <a:xfrm>
            <a:off x="21608623" y="5297342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45% </a:t>
            </a:r>
            <a:endParaRPr lang="en-US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3EEDB4D-D862-040A-456E-5E2B67F09480}"/>
              </a:ext>
            </a:extLst>
          </p:cNvPr>
          <p:cNvSpPr txBox="1"/>
          <p:nvPr/>
        </p:nvSpPr>
        <p:spPr>
          <a:xfrm>
            <a:off x="21608623" y="6322724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40% </a:t>
            </a:r>
            <a:endParaRPr lang="en-US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1AE9DF2-FB6E-9C9B-13B2-B005FF5BC88F}"/>
              </a:ext>
            </a:extLst>
          </p:cNvPr>
          <p:cNvSpPr txBox="1"/>
          <p:nvPr/>
        </p:nvSpPr>
        <p:spPr>
          <a:xfrm>
            <a:off x="21608623" y="7268579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23% </a:t>
            </a:r>
            <a:endParaRPr lang="en-US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D3F83B7-A0EC-3407-6733-78C68970621D}"/>
              </a:ext>
            </a:extLst>
          </p:cNvPr>
          <p:cNvSpPr txBox="1"/>
          <p:nvPr/>
        </p:nvSpPr>
        <p:spPr>
          <a:xfrm>
            <a:off x="21608623" y="9850784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30% </a:t>
            </a:r>
            <a:endParaRPr lang="en-US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6B36B89-099E-AE1A-D508-7F93E8D5DBE0}"/>
              </a:ext>
            </a:extLst>
          </p:cNvPr>
          <p:cNvSpPr txBox="1"/>
          <p:nvPr/>
        </p:nvSpPr>
        <p:spPr>
          <a:xfrm>
            <a:off x="21608623" y="10857058"/>
            <a:ext cx="1523053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defTabSz="228579">
              <a:defRPr sz="4000" b="1">
                <a:solidFill>
                  <a:schemeClr val="bg1"/>
                </a:solidFill>
                <a:latin typeface="YS Display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25% </a:t>
            </a:r>
            <a:endParaRPr lang="en-US" dirty="0"/>
          </a:p>
        </p:txBody>
      </p: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24C61E74-A193-1F15-3ED1-136C6F7FCE54}"/>
              </a:ext>
            </a:extLst>
          </p:cNvPr>
          <p:cNvCxnSpPr>
            <a:cxnSpLocks/>
          </p:cNvCxnSpPr>
          <p:nvPr/>
        </p:nvCxnSpPr>
        <p:spPr>
          <a:xfrm>
            <a:off x="21291865" y="1222046"/>
            <a:ext cx="0" cy="10852723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D26DEFFE-5C95-8CA8-A7BA-CD96EEB09A55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rcRect l="16595" r="33405"/>
          <a:stretch>
            <a:fillRect/>
          </a:stretch>
        </p:blipFill>
        <p:spPr>
          <a:xfrm>
            <a:off x="8699942" y="3404143"/>
            <a:ext cx="510601" cy="510601"/>
          </a:xfrm>
          <a:prstGeom prst="ellipse">
            <a:avLst/>
          </a:prstGeom>
        </p:spPr>
      </p:pic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4559414B-7629-2E0C-015C-4CF6AFE7AD3E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rcRect l="16667" r="16667"/>
          <a:stretch>
            <a:fillRect/>
          </a:stretch>
        </p:blipFill>
        <p:spPr>
          <a:xfrm>
            <a:off x="8699942" y="7364353"/>
            <a:ext cx="510601" cy="510601"/>
          </a:xfrm>
          <a:prstGeom prst="ellipse">
            <a:avLst/>
          </a:prstGeom>
        </p:spPr>
      </p:pic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AD1753A8-546A-FFE9-322B-F179806D61BA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rcRect l="20000" r="20000"/>
          <a:stretch>
            <a:fillRect/>
          </a:stretch>
        </p:blipFill>
        <p:spPr>
          <a:xfrm>
            <a:off x="8699942" y="6374302"/>
            <a:ext cx="510601" cy="510601"/>
          </a:xfrm>
          <a:prstGeom prst="ellipse">
            <a:avLst/>
          </a:prstGeom>
        </p:spPr>
      </p:pic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DB5F95DD-C990-8787-03E9-CF360195E5B2}"/>
              </a:ext>
            </a:extLst>
          </p:cNvPr>
          <p:cNvPicPr>
            <a:picLocks noChangeAspect="1"/>
          </p:cNvPicPr>
          <p:nvPr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rcRect l="25000" r="25000"/>
          <a:stretch>
            <a:fillRect/>
          </a:stretch>
        </p:blipFill>
        <p:spPr>
          <a:xfrm>
            <a:off x="8699942" y="5384249"/>
            <a:ext cx="510601" cy="510601"/>
          </a:xfrm>
          <a:prstGeom prst="ellipse">
            <a:avLst/>
          </a:prstGeom>
        </p:spPr>
      </p:pic>
      <p:pic>
        <p:nvPicPr>
          <p:cNvPr id="74" name="Рисунок 73">
            <a:extLst>
              <a:ext uri="{FF2B5EF4-FFF2-40B4-BE49-F238E27FC236}">
                <a16:creationId xmlns:a16="http://schemas.microsoft.com/office/drawing/2014/main" id="{AF754261-A69D-FF54-1694-DFFC14EE445C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9" t="25425" r="46895" b="25427"/>
          <a:stretch>
            <a:fillRect/>
          </a:stretch>
        </p:blipFill>
        <p:spPr>
          <a:xfrm>
            <a:off x="8699942" y="4394196"/>
            <a:ext cx="510601" cy="510601"/>
          </a:xfrm>
          <a:prstGeom prst="ellipse">
            <a:avLst/>
          </a:prstGeom>
          <a:ln cap="flat">
            <a:prstDash val="solid"/>
            <a:miter/>
          </a:ln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E39D5AA7-A52F-EB48-4C07-D8BAB1781F32}"/>
              </a:ext>
            </a:extLst>
          </p:cNvPr>
          <p:cNvPicPr>
            <a:picLocks noChangeAspect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97" t="16797" r="16797" b="16797"/>
          <a:stretch>
            <a:fillRect/>
          </a:stretch>
        </p:blipFill>
        <p:spPr>
          <a:xfrm>
            <a:off x="8687396" y="10896258"/>
            <a:ext cx="510601" cy="510601"/>
          </a:xfrm>
          <a:prstGeom prst="ellipse">
            <a:avLst/>
          </a:prstGeom>
          <a:ln w="561" cap="flat">
            <a:noFill/>
            <a:prstDash val="solid"/>
            <a:miter/>
          </a:ln>
        </p:spPr>
      </p:pic>
      <p:pic>
        <p:nvPicPr>
          <p:cNvPr id="76" name="Рисунок 75">
            <a:extLst>
              <a:ext uri="{FF2B5EF4-FFF2-40B4-BE49-F238E27FC236}">
                <a16:creationId xmlns:a16="http://schemas.microsoft.com/office/drawing/2014/main" id="{3833055B-4B19-4BDF-E3F8-DC38DEAC0F37}"/>
              </a:ext>
            </a:extLst>
          </p:cNvPr>
          <p:cNvPicPr>
            <a:picLocks noChangeAspect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6" r="16636"/>
          <a:stretch>
            <a:fillRect/>
          </a:stretch>
        </p:blipFill>
        <p:spPr>
          <a:xfrm>
            <a:off x="8693620" y="9893539"/>
            <a:ext cx="510601" cy="510601"/>
          </a:xfrm>
          <a:prstGeom prst="ellipse">
            <a:avLst/>
          </a:prstGeom>
          <a:ln w="561" cap="flat">
            <a:noFill/>
            <a:prstDash val="solid"/>
            <a:miter/>
          </a:ln>
        </p:spPr>
      </p:pic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85781AC2-384C-2570-033C-A9EE607CDBB7}"/>
              </a:ext>
            </a:extLst>
          </p:cNvPr>
          <p:cNvSpPr/>
          <p:nvPr/>
        </p:nvSpPr>
        <p:spPr>
          <a:xfrm>
            <a:off x="8687396" y="8507418"/>
            <a:ext cx="14444276" cy="10901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9" name="Rectangle 185">
            <a:extLst>
              <a:ext uri="{FF2B5EF4-FFF2-40B4-BE49-F238E27FC236}">
                <a16:creationId xmlns:a16="http://schemas.microsoft.com/office/drawing/2014/main" id="{6E3F45B4-5ADD-5030-C64C-38B06624D41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8767672" y="8955640"/>
            <a:ext cx="8462290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defTabSz="457177">
              <a:defRPr/>
            </a:pPr>
            <a:r>
              <a:rPr lang="ru-RU" sz="2800" dirty="0" err="1">
                <a:solidFill>
                  <a:schemeClr val="bg1"/>
                </a:solidFill>
                <a:latin typeface="YS Text Medium" pitchFamily="2" charset="-52"/>
              </a:rPr>
              <a:t>Milestone</a:t>
            </a:r>
            <a:r>
              <a:rPr lang="ru-RU" sz="2800" dirty="0">
                <a:solidFill>
                  <a:schemeClr val="bg1"/>
                </a:solidFill>
                <a:latin typeface="YS Text Medium" pitchFamily="2" charset="-52"/>
              </a:rPr>
              <a:t>: &gt;5% от Digital рынка рекламы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03139D66-0F7C-26D8-7787-855F2D37DC0F}"/>
              </a:ext>
            </a:extLst>
          </p:cNvPr>
          <p:cNvSpPr/>
          <p:nvPr/>
        </p:nvSpPr>
        <p:spPr>
          <a:xfrm>
            <a:off x="8701088" y="2196497"/>
            <a:ext cx="14430583" cy="8360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8" name="Rectangle 185">
            <a:extLst>
              <a:ext uri="{FF2B5EF4-FFF2-40B4-BE49-F238E27FC236}">
                <a16:creationId xmlns:a16="http://schemas.microsoft.com/office/drawing/2014/main" id="{0AEFA1E8-C5E5-FF14-9B46-55C8D1CDED24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8806796" y="2328625"/>
            <a:ext cx="8595834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defTabSz="457177">
              <a:defRPr/>
            </a:pPr>
            <a:r>
              <a:rPr lang="ru-RU" sz="2800" dirty="0" err="1">
                <a:solidFill>
                  <a:schemeClr val="bg1"/>
                </a:solidFill>
                <a:latin typeface="YS Text Medium" pitchFamily="2" charset="-52"/>
              </a:rPr>
              <a:t>Milestone</a:t>
            </a:r>
            <a:r>
              <a:rPr lang="ru-RU" sz="2800" dirty="0">
                <a:solidFill>
                  <a:schemeClr val="bg1"/>
                </a:solidFill>
                <a:latin typeface="YS Text Medium" pitchFamily="2" charset="-52"/>
              </a:rPr>
              <a:t>: &gt;25% от </a:t>
            </a:r>
            <a:r>
              <a:rPr lang="ru-RU" sz="2800" dirty="0" err="1">
                <a:solidFill>
                  <a:schemeClr val="bg1"/>
                </a:solidFill>
                <a:latin typeface="YS Text Medium" pitchFamily="2" charset="-52"/>
              </a:rPr>
              <a:t>Тотал</a:t>
            </a:r>
            <a:r>
              <a:rPr lang="ru-RU" sz="2800" dirty="0">
                <a:solidFill>
                  <a:schemeClr val="bg1"/>
                </a:solidFill>
                <a:latin typeface="YS Text Medium" pitchFamily="2" charset="-52"/>
              </a:rPr>
              <a:t> ТВ рынка рекламы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8A6583B-43D2-76F7-00A7-BF7FBC19C699}"/>
              </a:ext>
            </a:extLst>
          </p:cNvPr>
          <p:cNvSpPr txBox="1"/>
          <p:nvPr/>
        </p:nvSpPr>
        <p:spPr>
          <a:xfrm>
            <a:off x="21608624" y="1222046"/>
            <a:ext cx="1523052" cy="99508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457177">
              <a:lnSpc>
                <a:spcPct val="110000"/>
              </a:lnSpc>
              <a:defRPr/>
            </a:pPr>
            <a:r>
              <a:rPr lang="en-US" sz="2000" dirty="0">
                <a:latin typeface="YS Text Regular"/>
              </a:rPr>
              <a:t>CAGR CTV </a:t>
            </a:r>
            <a:br>
              <a:rPr lang="ru-RU" sz="2000" dirty="0">
                <a:latin typeface="YS Text Regular"/>
              </a:rPr>
            </a:br>
            <a:r>
              <a:rPr lang="ru-RU" sz="2000" dirty="0">
                <a:latin typeface="YS Text Regular"/>
              </a:rPr>
              <a:t>рекламы </a:t>
            </a:r>
            <a:br>
              <a:rPr lang="ru-RU" sz="2000" dirty="0">
                <a:latin typeface="YS Text Regular"/>
              </a:rPr>
            </a:br>
            <a:r>
              <a:rPr lang="ru-RU" sz="2000" dirty="0">
                <a:latin typeface="YS Text Regular"/>
              </a:rPr>
              <a:t>за период</a:t>
            </a:r>
            <a:endParaRPr lang="en-US" sz="2000" dirty="0">
              <a:latin typeface="YS T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206678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2BF9D0-5B04-D132-FFC2-C4C3C42270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C8C05F0-09B5-32E2-4C70-72698608F4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" r="5"/>
          <a:stretch/>
        </p:blipFill>
        <p:spPr>
          <a:xfrm>
            <a:off x="2538" y="0"/>
            <a:ext cx="24379875" cy="1371510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9981FEF-34FF-9F20-843D-2734578547BE}"/>
              </a:ext>
            </a:extLst>
          </p:cNvPr>
          <p:cNvSpPr txBox="1"/>
          <p:nvPr/>
        </p:nvSpPr>
        <p:spPr>
          <a:xfrm>
            <a:off x="2354261" y="4791504"/>
            <a:ext cx="19673890" cy="366273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algn="ctr">
              <a:lnSpc>
                <a:spcPct val="80000"/>
              </a:lnSpc>
              <a:spcBef>
                <a:spcPct val="0"/>
              </a:spcBef>
              <a:buNone/>
              <a:defRPr sz="1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За счёт чего будет расти рынок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8436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C2851-A499-2696-0375-9269005B90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7C63D159-DE3C-BDCD-654D-298AF8F05095}"/>
              </a:ext>
            </a:extLst>
          </p:cNvPr>
          <p:cNvSpPr/>
          <p:nvPr/>
        </p:nvSpPr>
        <p:spPr>
          <a:xfrm rot="21308670">
            <a:off x="14522119" y="776782"/>
            <a:ext cx="5412260" cy="114960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144000" rtlCol="0" anchor="ctr" anchorCtr="0">
            <a:noAutofit/>
          </a:bodyPr>
          <a:lstStyle/>
          <a:p>
            <a:pPr algn="ctr">
              <a:lnSpc>
                <a:spcPct val="104000"/>
              </a:lnSpc>
              <a:spcAft>
                <a:spcPts val="2400"/>
              </a:spcAft>
            </a:pPr>
            <a:r>
              <a:rPr lang="ru-RU" sz="7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инвентарь</a:t>
            </a:r>
            <a:endParaRPr lang="ru-RU" sz="7200" dirty="0">
              <a:solidFill>
                <a:schemeClr val="bg1"/>
              </a:solidFill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53C0DC5-6D25-4D73-DE34-57E072F321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997200"/>
            <a:ext cx="21492000" cy="930704"/>
          </a:xfrm>
        </p:spPr>
        <p:txBody>
          <a:bodyPr/>
          <a:lstStyle/>
          <a:p>
            <a:r>
              <a:rPr lang="ru-RU" dirty="0"/>
              <a:t>Где показывать </a:t>
            </a:r>
            <a:r>
              <a:rPr lang="en-US" dirty="0"/>
              <a:t>CTV </a:t>
            </a:r>
            <a:r>
              <a:rPr lang="ru-RU" dirty="0"/>
              <a:t>рекламу =</a:t>
            </a:r>
            <a:endParaRPr lang="ru-RU" dirty="0">
              <a:solidFill>
                <a:schemeClr val="accent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E47FDE-2C14-8CB3-CDC5-5C2CDBEB4854}"/>
              </a:ext>
            </a:extLst>
          </p:cNvPr>
          <p:cNvSpPr txBox="1"/>
          <p:nvPr/>
        </p:nvSpPr>
        <p:spPr>
          <a:xfrm>
            <a:off x="2113314" y="3720152"/>
            <a:ext cx="10281586" cy="17543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4000" dirty="0">
                <a:solidFill>
                  <a:srgbClr val="FFFFFF"/>
                </a:solidFill>
                <a:latin typeface="YS Text Medium" pitchFamily="2" charset="-52"/>
              </a:rPr>
              <a:t>Smart TV </a:t>
            </a:r>
            <a:r>
              <a:rPr lang="ru-RU" sz="4000" dirty="0">
                <a:solidFill>
                  <a:srgbClr val="FFFFFF"/>
                </a:solidFill>
                <a:latin typeface="YS Text Medium" pitchFamily="2" charset="-52"/>
              </a:rPr>
              <a:t>в каждый дом </a:t>
            </a:r>
            <a:endParaRPr lang="ru-RU" sz="3200" dirty="0">
              <a:solidFill>
                <a:schemeClr val="bg1"/>
              </a:solidFill>
              <a:latin typeface="YS Text Medium" pitchFamily="2" charset="-52"/>
            </a:endParaRPr>
          </a:p>
          <a:p>
            <a:r>
              <a:rPr lang="ru-RU" sz="3200" dirty="0">
                <a:solidFill>
                  <a:srgbClr val="A0AFC8"/>
                </a:solidFill>
              </a:rPr>
              <a:t>Почти все ТВ, которые продаются в РФ, —</a:t>
            </a:r>
            <a:r>
              <a:rPr lang="en-US" sz="3200" dirty="0">
                <a:solidFill>
                  <a:srgbClr val="A0AFC8"/>
                </a:solidFill>
              </a:rPr>
              <a:t> </a:t>
            </a:r>
            <a:r>
              <a:rPr lang="ru-RU" sz="3200" dirty="0">
                <a:solidFill>
                  <a:srgbClr val="A0AFC8"/>
                </a:solidFill>
              </a:rPr>
              <a:t>умные, проникновение уже до 70% (в США до 90%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E3B762-6E7D-EC7A-EE0F-51318C3C4B4A}"/>
              </a:ext>
            </a:extLst>
          </p:cNvPr>
          <p:cNvSpPr txBox="1"/>
          <p:nvPr/>
        </p:nvSpPr>
        <p:spPr>
          <a:xfrm>
            <a:off x="2113313" y="8840331"/>
            <a:ext cx="9730509" cy="22467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Aft>
                <a:spcPts val="1200"/>
              </a:spcAft>
              <a:defRPr sz="4800">
                <a:solidFill>
                  <a:srgbClr val="FFFFFF"/>
                </a:solidFill>
                <a:latin typeface="YS Text Medium" pitchFamily="2" charset="-52"/>
              </a:defRPr>
            </a:lvl1pPr>
          </a:lstStyle>
          <a:p>
            <a:r>
              <a:rPr lang="ru-RU" sz="4000" dirty="0"/>
              <a:t>Новая главная</a:t>
            </a:r>
          </a:p>
          <a:p>
            <a:r>
              <a:rPr lang="ru-RU" sz="3200" dirty="0">
                <a:solidFill>
                  <a:srgbClr val="A0AFC8"/>
                </a:solidFill>
                <a:latin typeface="+mn-lt"/>
              </a:rPr>
              <a:t>Первые страницы при включении </a:t>
            </a:r>
            <a:r>
              <a:rPr lang="en-US" sz="3200" dirty="0">
                <a:solidFill>
                  <a:srgbClr val="A0AFC8"/>
                </a:solidFill>
                <a:latin typeface="+mn-lt"/>
              </a:rPr>
              <a:t>Smart TV </a:t>
            </a:r>
            <a:r>
              <a:rPr lang="ru-RU" sz="3200" dirty="0">
                <a:solidFill>
                  <a:srgbClr val="A0AFC8"/>
                </a:solidFill>
              </a:rPr>
              <a:t>—</a:t>
            </a:r>
            <a:r>
              <a:rPr lang="en-US" sz="3200" dirty="0">
                <a:solidFill>
                  <a:srgbClr val="A0AFC8"/>
                </a:solidFill>
                <a:latin typeface="+mn-lt"/>
              </a:rPr>
              <a:t> </a:t>
            </a:r>
            <a:r>
              <a:rPr lang="ru-RU" sz="3200" dirty="0">
                <a:solidFill>
                  <a:srgbClr val="A0AFC8"/>
                </a:solidFill>
                <a:latin typeface="+mn-lt"/>
              </a:rPr>
              <a:t>первые секунды внимания и премиальные красивые форматы </a:t>
            </a:r>
            <a:endParaRPr lang="en-001" sz="3200" dirty="0">
              <a:solidFill>
                <a:srgbClr val="A0AFC8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2ACDD7-32FD-3739-8D6B-D7783477D590}"/>
              </a:ext>
            </a:extLst>
          </p:cNvPr>
          <p:cNvSpPr txBox="1"/>
          <p:nvPr/>
        </p:nvSpPr>
        <p:spPr>
          <a:xfrm>
            <a:off x="2113313" y="6034020"/>
            <a:ext cx="10281586" cy="2739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Aft>
                <a:spcPts val="1200"/>
              </a:spcAft>
              <a:defRPr sz="4800">
                <a:solidFill>
                  <a:srgbClr val="FFFFFF"/>
                </a:solidFill>
                <a:latin typeface="YS Text Medium" pitchFamily="2" charset="-52"/>
              </a:defRPr>
            </a:lvl1pPr>
          </a:lstStyle>
          <a:p>
            <a:r>
              <a:rPr lang="ru-RU" sz="4000" dirty="0"/>
              <a:t>Больше</a:t>
            </a:r>
            <a:r>
              <a:rPr lang="en-US" sz="4000" dirty="0"/>
              <a:t> </a:t>
            </a:r>
            <a:r>
              <a:rPr lang="ru-RU" sz="4000" dirty="0"/>
              <a:t>времени в </a:t>
            </a:r>
            <a:r>
              <a:rPr lang="en-US" sz="4000" dirty="0"/>
              <a:t>Smart TV</a:t>
            </a:r>
            <a:r>
              <a:rPr lang="ru-RU" sz="4000" dirty="0"/>
              <a:t> </a:t>
            </a:r>
          </a:p>
          <a:p>
            <a:r>
              <a:rPr lang="ru-RU" sz="3200" dirty="0">
                <a:solidFill>
                  <a:srgbClr val="A0AFC8"/>
                </a:solidFill>
                <a:latin typeface="+mn-lt"/>
              </a:rPr>
              <a:t>Видео с рекламой — подписки с рекламой (</a:t>
            </a:r>
            <a:r>
              <a:rPr lang="en-US" sz="3200" dirty="0">
                <a:solidFill>
                  <a:srgbClr val="A0AFC8"/>
                </a:solidFill>
                <a:latin typeface="+mn-lt"/>
              </a:rPr>
              <a:t>Ad</a:t>
            </a:r>
            <a:r>
              <a:rPr lang="ru-RU" sz="3200" dirty="0">
                <a:solidFill>
                  <a:srgbClr val="A0AFC8"/>
                </a:solidFill>
                <a:latin typeface="+mn-lt"/>
              </a:rPr>
              <a:t> </a:t>
            </a:r>
            <a:r>
              <a:rPr lang="en-US" sz="3200" dirty="0">
                <a:solidFill>
                  <a:srgbClr val="A0AFC8"/>
                </a:solidFill>
                <a:latin typeface="+mn-lt"/>
              </a:rPr>
              <a:t>SVOD)</a:t>
            </a:r>
            <a:r>
              <a:rPr lang="ru-RU" sz="3200" dirty="0">
                <a:solidFill>
                  <a:srgbClr val="A0AFC8"/>
                </a:solidFill>
                <a:latin typeface="+mn-lt"/>
              </a:rPr>
              <a:t>, </a:t>
            </a:r>
            <a:r>
              <a:rPr lang="en-US" sz="3200" dirty="0">
                <a:solidFill>
                  <a:srgbClr val="A0AFC8"/>
                </a:solidFill>
                <a:latin typeface="+mn-lt"/>
              </a:rPr>
              <a:t>FAST</a:t>
            </a:r>
            <a:r>
              <a:rPr lang="ru-RU" sz="3200" dirty="0">
                <a:solidFill>
                  <a:srgbClr val="A0AFC8"/>
                </a:solidFill>
                <a:latin typeface="+mn-lt"/>
              </a:rPr>
              <a:t>-каналы (рост 1 600 </a:t>
            </a:r>
            <a:r>
              <a:rPr lang="en-US" sz="3200" dirty="0">
                <a:solidFill>
                  <a:srgbClr val="A0AFC8"/>
                </a:solidFill>
                <a:latin typeface="+mn-lt"/>
              </a:rPr>
              <a:t>vs </a:t>
            </a:r>
            <a:r>
              <a:rPr lang="ru-RU" sz="3200" dirty="0">
                <a:solidFill>
                  <a:srgbClr val="A0AFC8"/>
                </a:solidFill>
                <a:latin typeface="+mn-lt"/>
              </a:rPr>
              <a:t>300</a:t>
            </a:r>
            <a:r>
              <a:rPr lang="en-US" sz="3200" dirty="0">
                <a:solidFill>
                  <a:srgbClr val="A0AFC8"/>
                </a:solidFill>
                <a:latin typeface="+mn-lt"/>
              </a:rPr>
              <a:t> </a:t>
            </a:r>
            <a:r>
              <a:rPr lang="ru-RU" sz="3200" dirty="0">
                <a:solidFill>
                  <a:srgbClr val="A0AFC8"/>
                </a:solidFill>
                <a:latin typeface="+mn-lt"/>
              </a:rPr>
              <a:t>в США за 4 года) и другие сценарии (гейминг, фитнес, музыка и т. д.)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0B13E21-3D45-021D-D7DE-8EF0BAFEFC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1206" y="1514823"/>
            <a:ext cx="12191207" cy="10686353"/>
          </a:xfrm>
          <a:prstGeom prst="rect">
            <a:avLst/>
          </a:prstGeom>
        </p:spPr>
      </p:pic>
      <p:sp>
        <p:nvSpPr>
          <p:cNvPr id="10" name="Рисунок 1226">
            <a:extLst>
              <a:ext uri="{FF2B5EF4-FFF2-40B4-BE49-F238E27FC236}">
                <a16:creationId xmlns:a16="http://schemas.microsoft.com/office/drawing/2014/main" id="{A7104B03-67CD-8977-0283-B67E0E68F94B}"/>
              </a:ext>
            </a:extLst>
          </p:cNvPr>
          <p:cNvSpPr/>
          <p:nvPr/>
        </p:nvSpPr>
        <p:spPr>
          <a:xfrm>
            <a:off x="1440000" y="3801175"/>
            <a:ext cx="407383" cy="366645"/>
          </a:xfrm>
          <a:custGeom>
            <a:avLst/>
            <a:gdLst>
              <a:gd name="connsiteX0" fmla="*/ 76648 w 190500"/>
              <a:gd name="connsiteY0" fmla="*/ 38100 h 171450"/>
              <a:gd name="connsiteX1" fmla="*/ 38547 w 190500"/>
              <a:gd name="connsiteY1" fmla="*/ 0 h 171450"/>
              <a:gd name="connsiteX2" fmla="*/ 65488 w 190500"/>
              <a:gd name="connsiteY2" fmla="*/ 0 h 171450"/>
              <a:gd name="connsiteX3" fmla="*/ 95215 w 190500"/>
              <a:gd name="connsiteY3" fmla="*/ 29726 h 171450"/>
              <a:gd name="connsiteX4" fmla="*/ 124941 w 190500"/>
              <a:gd name="connsiteY4" fmla="*/ 0 h 171450"/>
              <a:gd name="connsiteX5" fmla="*/ 151883 w 190500"/>
              <a:gd name="connsiteY5" fmla="*/ 0 h 171450"/>
              <a:gd name="connsiteX6" fmla="*/ 113782 w 190500"/>
              <a:gd name="connsiteY6" fmla="*/ 38100 h 171450"/>
              <a:gd name="connsiteX7" fmla="*/ 133350 w 190500"/>
              <a:gd name="connsiteY7" fmla="*/ 38100 h 171450"/>
              <a:gd name="connsiteX8" fmla="*/ 166980 w 190500"/>
              <a:gd name="connsiteY8" fmla="*/ 41000 h 171450"/>
              <a:gd name="connsiteX9" fmla="*/ 187600 w 190500"/>
              <a:gd name="connsiteY9" fmla="*/ 61620 h 171450"/>
              <a:gd name="connsiteX10" fmla="*/ 190500 w 190500"/>
              <a:gd name="connsiteY10" fmla="*/ 95250 h 171450"/>
              <a:gd name="connsiteX11" fmla="*/ 190500 w 190500"/>
              <a:gd name="connsiteY11" fmla="*/ 114300 h 171450"/>
              <a:gd name="connsiteX12" fmla="*/ 187600 w 190500"/>
              <a:gd name="connsiteY12" fmla="*/ 147930 h 171450"/>
              <a:gd name="connsiteX13" fmla="*/ 166980 w 190500"/>
              <a:gd name="connsiteY13" fmla="*/ 168550 h 171450"/>
              <a:gd name="connsiteX14" fmla="*/ 133350 w 190500"/>
              <a:gd name="connsiteY14" fmla="*/ 171450 h 171450"/>
              <a:gd name="connsiteX15" fmla="*/ 57150 w 190500"/>
              <a:gd name="connsiteY15" fmla="*/ 171450 h 171450"/>
              <a:gd name="connsiteX16" fmla="*/ 23520 w 190500"/>
              <a:gd name="connsiteY16" fmla="*/ 168550 h 171450"/>
              <a:gd name="connsiteX17" fmla="*/ 2900 w 190500"/>
              <a:gd name="connsiteY17" fmla="*/ 147930 h 171450"/>
              <a:gd name="connsiteX18" fmla="*/ 0 w 190500"/>
              <a:gd name="connsiteY18" fmla="*/ 114300 h 171450"/>
              <a:gd name="connsiteX19" fmla="*/ 0 w 190500"/>
              <a:gd name="connsiteY19" fmla="*/ 95250 h 171450"/>
              <a:gd name="connsiteX20" fmla="*/ 2900 w 190500"/>
              <a:gd name="connsiteY20" fmla="*/ 61620 h 171450"/>
              <a:gd name="connsiteX21" fmla="*/ 23520 w 190500"/>
              <a:gd name="connsiteY21" fmla="*/ 41000 h 171450"/>
              <a:gd name="connsiteX22" fmla="*/ 57150 w 190500"/>
              <a:gd name="connsiteY22" fmla="*/ 38100 h 171450"/>
              <a:gd name="connsiteX23" fmla="*/ 76648 w 190500"/>
              <a:gd name="connsiteY23" fmla="*/ 3810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90500" h="171450">
                <a:moveTo>
                  <a:pt x="76648" y="38100"/>
                </a:moveTo>
                <a:lnTo>
                  <a:pt x="38547" y="0"/>
                </a:lnTo>
                <a:lnTo>
                  <a:pt x="65488" y="0"/>
                </a:lnTo>
                <a:lnTo>
                  <a:pt x="95215" y="29726"/>
                </a:lnTo>
                <a:lnTo>
                  <a:pt x="124941" y="0"/>
                </a:lnTo>
                <a:lnTo>
                  <a:pt x="151883" y="0"/>
                </a:lnTo>
                <a:lnTo>
                  <a:pt x="113782" y="38100"/>
                </a:lnTo>
                <a:lnTo>
                  <a:pt x="133350" y="38100"/>
                </a:lnTo>
                <a:cubicBezTo>
                  <a:pt x="151103" y="38100"/>
                  <a:pt x="159978" y="38100"/>
                  <a:pt x="166980" y="41000"/>
                </a:cubicBezTo>
                <a:cubicBezTo>
                  <a:pt x="176315" y="44867"/>
                  <a:pt x="183732" y="52284"/>
                  <a:pt x="187600" y="61620"/>
                </a:cubicBezTo>
                <a:cubicBezTo>
                  <a:pt x="190500" y="68622"/>
                  <a:pt x="190500" y="77497"/>
                  <a:pt x="190500" y="95250"/>
                </a:cubicBezTo>
                <a:lnTo>
                  <a:pt x="190500" y="114300"/>
                </a:lnTo>
                <a:cubicBezTo>
                  <a:pt x="190500" y="132053"/>
                  <a:pt x="190500" y="140928"/>
                  <a:pt x="187600" y="147930"/>
                </a:cubicBezTo>
                <a:cubicBezTo>
                  <a:pt x="183732" y="157265"/>
                  <a:pt x="176315" y="164682"/>
                  <a:pt x="166980" y="168550"/>
                </a:cubicBezTo>
                <a:cubicBezTo>
                  <a:pt x="159978" y="171450"/>
                  <a:pt x="151103" y="171450"/>
                  <a:pt x="133350" y="171450"/>
                </a:cubicBezTo>
                <a:lnTo>
                  <a:pt x="57150" y="171450"/>
                </a:lnTo>
                <a:cubicBezTo>
                  <a:pt x="39398" y="171450"/>
                  <a:pt x="30521" y="171450"/>
                  <a:pt x="23520" y="168550"/>
                </a:cubicBezTo>
                <a:cubicBezTo>
                  <a:pt x="14184" y="164682"/>
                  <a:pt x="6767" y="157265"/>
                  <a:pt x="2900" y="147930"/>
                </a:cubicBezTo>
                <a:cubicBezTo>
                  <a:pt x="0" y="140928"/>
                  <a:pt x="0" y="132053"/>
                  <a:pt x="0" y="114300"/>
                </a:cubicBezTo>
                <a:lnTo>
                  <a:pt x="0" y="95250"/>
                </a:lnTo>
                <a:cubicBezTo>
                  <a:pt x="0" y="77497"/>
                  <a:pt x="0" y="68622"/>
                  <a:pt x="2900" y="61620"/>
                </a:cubicBezTo>
                <a:cubicBezTo>
                  <a:pt x="6767" y="52284"/>
                  <a:pt x="14184" y="44867"/>
                  <a:pt x="23520" y="41000"/>
                </a:cubicBezTo>
                <a:cubicBezTo>
                  <a:pt x="30521" y="38100"/>
                  <a:pt x="39398" y="38100"/>
                  <a:pt x="57150" y="38100"/>
                </a:cubicBezTo>
                <a:lnTo>
                  <a:pt x="76648" y="3810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Рисунок 1160">
            <a:extLst>
              <a:ext uri="{FF2B5EF4-FFF2-40B4-BE49-F238E27FC236}">
                <a16:creationId xmlns:a16="http://schemas.microsoft.com/office/drawing/2014/main" id="{8D61ECA1-E71B-F519-65F0-7F61551F39EE}"/>
              </a:ext>
            </a:extLst>
          </p:cNvPr>
          <p:cNvSpPr/>
          <p:nvPr/>
        </p:nvSpPr>
        <p:spPr>
          <a:xfrm>
            <a:off x="1467824" y="6111930"/>
            <a:ext cx="366645" cy="427754"/>
          </a:xfrm>
          <a:custGeom>
            <a:avLst/>
            <a:gdLst>
              <a:gd name="connsiteX0" fmla="*/ 47625 w 171450"/>
              <a:gd name="connsiteY0" fmla="*/ 0 h 200025"/>
              <a:gd name="connsiteX1" fmla="*/ 123825 w 171450"/>
              <a:gd name="connsiteY1" fmla="*/ 0 h 200025"/>
              <a:gd name="connsiteX2" fmla="*/ 123825 w 171450"/>
              <a:gd name="connsiteY2" fmla="*/ 19050 h 200025"/>
              <a:gd name="connsiteX3" fmla="*/ 95250 w 171450"/>
              <a:gd name="connsiteY3" fmla="*/ 19050 h 200025"/>
              <a:gd name="connsiteX4" fmla="*/ 95250 w 171450"/>
              <a:gd name="connsiteY4" fmla="*/ 29098 h 200025"/>
              <a:gd name="connsiteX5" fmla="*/ 138778 w 171450"/>
              <a:gd name="connsiteY5" fmla="*/ 46959 h 200025"/>
              <a:gd name="connsiteX6" fmla="*/ 157164 w 171450"/>
              <a:gd name="connsiteY6" fmla="*/ 28573 h 200025"/>
              <a:gd name="connsiteX7" fmla="*/ 171450 w 171450"/>
              <a:gd name="connsiteY7" fmla="*/ 42863 h 200025"/>
              <a:gd name="connsiteX8" fmla="*/ 153066 w 171450"/>
              <a:gd name="connsiteY8" fmla="*/ 61247 h 200025"/>
              <a:gd name="connsiteX9" fmla="*/ 171450 w 171450"/>
              <a:gd name="connsiteY9" fmla="*/ 114300 h 200025"/>
              <a:gd name="connsiteX10" fmla="*/ 85725 w 171450"/>
              <a:gd name="connsiteY10" fmla="*/ 200025 h 200025"/>
              <a:gd name="connsiteX11" fmla="*/ 0 w 171450"/>
              <a:gd name="connsiteY11" fmla="*/ 114300 h 200025"/>
              <a:gd name="connsiteX12" fmla="*/ 76200 w 171450"/>
              <a:gd name="connsiteY12" fmla="*/ 29098 h 200025"/>
              <a:gd name="connsiteX13" fmla="*/ 76200 w 171450"/>
              <a:gd name="connsiteY13" fmla="*/ 19050 h 200025"/>
              <a:gd name="connsiteX14" fmla="*/ 47625 w 171450"/>
              <a:gd name="connsiteY14" fmla="*/ 19050 h 200025"/>
              <a:gd name="connsiteX15" fmla="*/ 47625 w 171450"/>
              <a:gd name="connsiteY15" fmla="*/ 0 h 200025"/>
              <a:gd name="connsiteX16" fmla="*/ 95249 w 171450"/>
              <a:gd name="connsiteY16" fmla="*/ 57163 h 200025"/>
              <a:gd name="connsiteX17" fmla="*/ 76199 w 171450"/>
              <a:gd name="connsiteY17" fmla="*/ 57080 h 200025"/>
              <a:gd name="connsiteX18" fmla="*/ 73819 w 171450"/>
              <a:gd name="connsiteY18" fmla="*/ 133350 h 200025"/>
              <a:gd name="connsiteX19" fmla="*/ 97631 w 171450"/>
              <a:gd name="connsiteY19" fmla="*/ 133350 h 200025"/>
              <a:gd name="connsiteX20" fmla="*/ 95249 w 171450"/>
              <a:gd name="connsiteY20" fmla="*/ 57163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1450" h="200025">
                <a:moveTo>
                  <a:pt x="47625" y="0"/>
                </a:moveTo>
                <a:lnTo>
                  <a:pt x="123825" y="0"/>
                </a:lnTo>
                <a:lnTo>
                  <a:pt x="123825" y="19050"/>
                </a:lnTo>
                <a:lnTo>
                  <a:pt x="95250" y="19050"/>
                </a:lnTo>
                <a:lnTo>
                  <a:pt x="95250" y="29098"/>
                </a:lnTo>
                <a:cubicBezTo>
                  <a:pt x="111581" y="30903"/>
                  <a:pt x="126529" y="37296"/>
                  <a:pt x="138778" y="46959"/>
                </a:cubicBezTo>
                <a:lnTo>
                  <a:pt x="157164" y="28573"/>
                </a:lnTo>
                <a:lnTo>
                  <a:pt x="171450" y="42863"/>
                </a:lnTo>
                <a:lnTo>
                  <a:pt x="153066" y="61247"/>
                </a:lnTo>
                <a:cubicBezTo>
                  <a:pt x="164580" y="75841"/>
                  <a:pt x="171450" y="94268"/>
                  <a:pt x="171450" y="114300"/>
                </a:cubicBezTo>
                <a:cubicBezTo>
                  <a:pt x="171450" y="161645"/>
                  <a:pt x="133070" y="200025"/>
                  <a:pt x="85725" y="200025"/>
                </a:cubicBezTo>
                <a:cubicBezTo>
                  <a:pt x="38380" y="200025"/>
                  <a:pt x="0" y="161645"/>
                  <a:pt x="0" y="114300"/>
                </a:cubicBezTo>
                <a:cubicBezTo>
                  <a:pt x="0" y="70175"/>
                  <a:pt x="33338" y="33836"/>
                  <a:pt x="76200" y="29098"/>
                </a:cubicBezTo>
                <a:lnTo>
                  <a:pt x="76200" y="19050"/>
                </a:lnTo>
                <a:lnTo>
                  <a:pt x="47625" y="19050"/>
                </a:lnTo>
                <a:lnTo>
                  <a:pt x="47625" y="0"/>
                </a:lnTo>
                <a:close/>
                <a:moveTo>
                  <a:pt x="95249" y="57163"/>
                </a:moveTo>
                <a:lnTo>
                  <a:pt x="76199" y="57080"/>
                </a:lnTo>
                <a:lnTo>
                  <a:pt x="73819" y="133350"/>
                </a:lnTo>
                <a:lnTo>
                  <a:pt x="97631" y="133350"/>
                </a:lnTo>
                <a:lnTo>
                  <a:pt x="95249" y="57163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" name="Рисунок 1071">
            <a:extLst>
              <a:ext uri="{FF2B5EF4-FFF2-40B4-BE49-F238E27FC236}">
                <a16:creationId xmlns:a16="http://schemas.microsoft.com/office/drawing/2014/main" id="{DE98439C-960D-DFFA-1EAE-31DDBAF7DC2C}"/>
              </a:ext>
            </a:extLst>
          </p:cNvPr>
          <p:cNvSpPr/>
          <p:nvPr/>
        </p:nvSpPr>
        <p:spPr>
          <a:xfrm>
            <a:off x="1495649" y="8967654"/>
            <a:ext cx="366645" cy="366645"/>
          </a:xfrm>
          <a:custGeom>
            <a:avLst/>
            <a:gdLst>
              <a:gd name="connsiteX0" fmla="*/ 0 w 171450"/>
              <a:gd name="connsiteY0" fmla="*/ 57150 h 171450"/>
              <a:gd name="connsiteX1" fmla="*/ 2900 w 171450"/>
              <a:gd name="connsiteY1" fmla="*/ 23520 h 171450"/>
              <a:gd name="connsiteX2" fmla="*/ 23520 w 171450"/>
              <a:gd name="connsiteY2" fmla="*/ 2900 h 171450"/>
              <a:gd name="connsiteX3" fmla="*/ 57150 w 171450"/>
              <a:gd name="connsiteY3" fmla="*/ 0 h 171450"/>
              <a:gd name="connsiteX4" fmla="*/ 114300 w 171450"/>
              <a:gd name="connsiteY4" fmla="*/ 0 h 171450"/>
              <a:gd name="connsiteX5" fmla="*/ 147930 w 171450"/>
              <a:gd name="connsiteY5" fmla="*/ 2900 h 171450"/>
              <a:gd name="connsiteX6" fmla="*/ 168550 w 171450"/>
              <a:gd name="connsiteY6" fmla="*/ 23520 h 171450"/>
              <a:gd name="connsiteX7" fmla="*/ 171450 w 171450"/>
              <a:gd name="connsiteY7" fmla="*/ 57150 h 171450"/>
              <a:gd name="connsiteX8" fmla="*/ 171450 w 171450"/>
              <a:gd name="connsiteY8" fmla="*/ 114300 h 171450"/>
              <a:gd name="connsiteX9" fmla="*/ 168550 w 171450"/>
              <a:gd name="connsiteY9" fmla="*/ 147930 h 171450"/>
              <a:gd name="connsiteX10" fmla="*/ 147930 w 171450"/>
              <a:gd name="connsiteY10" fmla="*/ 168550 h 171450"/>
              <a:gd name="connsiteX11" fmla="*/ 114300 w 171450"/>
              <a:gd name="connsiteY11" fmla="*/ 171450 h 171450"/>
              <a:gd name="connsiteX12" fmla="*/ 57150 w 171450"/>
              <a:gd name="connsiteY12" fmla="*/ 171450 h 171450"/>
              <a:gd name="connsiteX13" fmla="*/ 23520 w 171450"/>
              <a:gd name="connsiteY13" fmla="*/ 168550 h 171450"/>
              <a:gd name="connsiteX14" fmla="*/ 2900 w 171450"/>
              <a:gd name="connsiteY14" fmla="*/ 147930 h 171450"/>
              <a:gd name="connsiteX15" fmla="*/ 0 w 171450"/>
              <a:gd name="connsiteY15" fmla="*/ 114300 h 171450"/>
              <a:gd name="connsiteX16" fmla="*/ 0 w 171450"/>
              <a:gd name="connsiteY16" fmla="*/ 57150 h 171450"/>
              <a:gd name="connsiteX17" fmla="*/ 61913 w 171450"/>
              <a:gd name="connsiteY17" fmla="*/ 86209 h 171450"/>
              <a:gd name="connsiteX18" fmla="*/ 85725 w 171450"/>
              <a:gd name="connsiteY18" fmla="*/ 62396 h 171450"/>
              <a:gd name="connsiteX19" fmla="*/ 61913 w 171450"/>
              <a:gd name="connsiteY19" fmla="*/ 38584 h 171450"/>
              <a:gd name="connsiteX20" fmla="*/ 38100 w 171450"/>
              <a:gd name="connsiteY20" fmla="*/ 62396 h 171450"/>
              <a:gd name="connsiteX21" fmla="*/ 61913 w 171450"/>
              <a:gd name="connsiteY21" fmla="*/ 86209 h 171450"/>
              <a:gd name="connsiteX22" fmla="*/ 152390 w 171450"/>
              <a:gd name="connsiteY22" fmla="*/ 112144 h 171450"/>
              <a:gd name="connsiteX23" fmla="*/ 119052 w 171450"/>
              <a:gd name="connsiteY23" fmla="*/ 100034 h 171450"/>
              <a:gd name="connsiteX24" fmla="*/ 80952 w 171450"/>
              <a:gd name="connsiteY24" fmla="*/ 128609 h 171450"/>
              <a:gd name="connsiteX25" fmla="*/ 42852 w 171450"/>
              <a:gd name="connsiteY25" fmla="*/ 119084 h 171450"/>
              <a:gd name="connsiteX26" fmla="*/ 19794 w 171450"/>
              <a:gd name="connsiteY26" fmla="*/ 137938 h 171450"/>
              <a:gd name="connsiteX27" fmla="*/ 20489 w 171450"/>
              <a:gd name="connsiteY27" fmla="*/ 140661 h 171450"/>
              <a:gd name="connsiteX28" fmla="*/ 30799 w 171450"/>
              <a:gd name="connsiteY28" fmla="*/ 150971 h 171450"/>
              <a:gd name="connsiteX29" fmla="*/ 37589 w 171450"/>
              <a:gd name="connsiteY29" fmla="*/ 152104 h 171450"/>
              <a:gd name="connsiteX30" fmla="*/ 57139 w 171450"/>
              <a:gd name="connsiteY30" fmla="*/ 152422 h 171450"/>
              <a:gd name="connsiteX31" fmla="*/ 114290 w 171450"/>
              <a:gd name="connsiteY31" fmla="*/ 152422 h 171450"/>
              <a:gd name="connsiteX32" fmla="*/ 133840 w 171450"/>
              <a:gd name="connsiteY32" fmla="*/ 152104 h 171450"/>
              <a:gd name="connsiteX33" fmla="*/ 140629 w 171450"/>
              <a:gd name="connsiteY33" fmla="*/ 150971 h 171450"/>
              <a:gd name="connsiteX34" fmla="*/ 150939 w 171450"/>
              <a:gd name="connsiteY34" fmla="*/ 140661 h 171450"/>
              <a:gd name="connsiteX35" fmla="*/ 152071 w 171450"/>
              <a:gd name="connsiteY35" fmla="*/ 133872 h 171450"/>
              <a:gd name="connsiteX36" fmla="*/ 152390 w 171450"/>
              <a:gd name="connsiteY36" fmla="*/ 114321 h 171450"/>
              <a:gd name="connsiteX37" fmla="*/ 152390 w 171450"/>
              <a:gd name="connsiteY37" fmla="*/ 112144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71450" h="171450">
                <a:moveTo>
                  <a:pt x="0" y="57150"/>
                </a:moveTo>
                <a:cubicBezTo>
                  <a:pt x="0" y="39398"/>
                  <a:pt x="0" y="30521"/>
                  <a:pt x="2900" y="23520"/>
                </a:cubicBezTo>
                <a:cubicBezTo>
                  <a:pt x="6767" y="14184"/>
                  <a:pt x="14184" y="6767"/>
                  <a:pt x="23520" y="2900"/>
                </a:cubicBezTo>
                <a:cubicBezTo>
                  <a:pt x="30521" y="0"/>
                  <a:pt x="39398" y="0"/>
                  <a:pt x="57150" y="0"/>
                </a:cubicBezTo>
                <a:lnTo>
                  <a:pt x="114300" y="0"/>
                </a:lnTo>
                <a:cubicBezTo>
                  <a:pt x="132053" y="0"/>
                  <a:pt x="140928" y="0"/>
                  <a:pt x="147930" y="2900"/>
                </a:cubicBezTo>
                <a:cubicBezTo>
                  <a:pt x="157265" y="6767"/>
                  <a:pt x="164682" y="14184"/>
                  <a:pt x="168550" y="23520"/>
                </a:cubicBezTo>
                <a:cubicBezTo>
                  <a:pt x="171450" y="30521"/>
                  <a:pt x="171450" y="39398"/>
                  <a:pt x="171450" y="57150"/>
                </a:cubicBezTo>
                <a:lnTo>
                  <a:pt x="171450" y="114300"/>
                </a:lnTo>
                <a:cubicBezTo>
                  <a:pt x="171450" y="132053"/>
                  <a:pt x="171450" y="140928"/>
                  <a:pt x="168550" y="147930"/>
                </a:cubicBezTo>
                <a:cubicBezTo>
                  <a:pt x="164682" y="157265"/>
                  <a:pt x="157265" y="164682"/>
                  <a:pt x="147930" y="168550"/>
                </a:cubicBezTo>
                <a:cubicBezTo>
                  <a:pt x="140928" y="171450"/>
                  <a:pt x="132053" y="171450"/>
                  <a:pt x="114300" y="171450"/>
                </a:cubicBezTo>
                <a:lnTo>
                  <a:pt x="57150" y="171450"/>
                </a:lnTo>
                <a:cubicBezTo>
                  <a:pt x="39398" y="171450"/>
                  <a:pt x="30521" y="171450"/>
                  <a:pt x="23520" y="168550"/>
                </a:cubicBezTo>
                <a:cubicBezTo>
                  <a:pt x="14184" y="164682"/>
                  <a:pt x="6767" y="157265"/>
                  <a:pt x="2900" y="147930"/>
                </a:cubicBezTo>
                <a:cubicBezTo>
                  <a:pt x="0" y="140928"/>
                  <a:pt x="0" y="132053"/>
                  <a:pt x="0" y="114300"/>
                </a:cubicBezTo>
                <a:lnTo>
                  <a:pt x="0" y="57150"/>
                </a:lnTo>
                <a:close/>
                <a:moveTo>
                  <a:pt x="61913" y="86209"/>
                </a:moveTo>
                <a:cubicBezTo>
                  <a:pt x="75064" y="86209"/>
                  <a:pt x="85725" y="75547"/>
                  <a:pt x="85725" y="62396"/>
                </a:cubicBezTo>
                <a:cubicBezTo>
                  <a:pt x="85725" y="49245"/>
                  <a:pt x="75064" y="38584"/>
                  <a:pt x="61913" y="38584"/>
                </a:cubicBezTo>
                <a:cubicBezTo>
                  <a:pt x="48761" y="38584"/>
                  <a:pt x="38100" y="49245"/>
                  <a:pt x="38100" y="62396"/>
                </a:cubicBezTo>
                <a:cubicBezTo>
                  <a:pt x="38100" y="75547"/>
                  <a:pt x="48761" y="86209"/>
                  <a:pt x="61913" y="86209"/>
                </a:cubicBezTo>
                <a:close/>
                <a:moveTo>
                  <a:pt x="152390" y="112144"/>
                </a:moveTo>
                <a:lnTo>
                  <a:pt x="119052" y="100034"/>
                </a:lnTo>
                <a:lnTo>
                  <a:pt x="80952" y="128609"/>
                </a:lnTo>
                <a:lnTo>
                  <a:pt x="42852" y="119084"/>
                </a:lnTo>
                <a:lnTo>
                  <a:pt x="19794" y="137938"/>
                </a:lnTo>
                <a:cubicBezTo>
                  <a:pt x="20034" y="139411"/>
                  <a:pt x="20294" y="140189"/>
                  <a:pt x="20489" y="140661"/>
                </a:cubicBezTo>
                <a:cubicBezTo>
                  <a:pt x="22423" y="145330"/>
                  <a:pt x="26131" y="149039"/>
                  <a:pt x="30799" y="150971"/>
                </a:cubicBezTo>
                <a:cubicBezTo>
                  <a:pt x="31592" y="151300"/>
                  <a:pt x="33246" y="151807"/>
                  <a:pt x="37589" y="152104"/>
                </a:cubicBezTo>
                <a:cubicBezTo>
                  <a:pt x="42104" y="152411"/>
                  <a:pt x="48002" y="152422"/>
                  <a:pt x="57139" y="152422"/>
                </a:cubicBezTo>
                <a:lnTo>
                  <a:pt x="114290" y="152422"/>
                </a:lnTo>
                <a:cubicBezTo>
                  <a:pt x="123426" y="152422"/>
                  <a:pt x="129325" y="152411"/>
                  <a:pt x="133840" y="152104"/>
                </a:cubicBezTo>
                <a:cubicBezTo>
                  <a:pt x="138183" y="151807"/>
                  <a:pt x="139837" y="151300"/>
                  <a:pt x="140629" y="150971"/>
                </a:cubicBezTo>
                <a:cubicBezTo>
                  <a:pt x="145297" y="149039"/>
                  <a:pt x="149005" y="145330"/>
                  <a:pt x="150939" y="140661"/>
                </a:cubicBezTo>
                <a:cubicBezTo>
                  <a:pt x="151267" y="139869"/>
                  <a:pt x="151774" y="138215"/>
                  <a:pt x="152071" y="133872"/>
                </a:cubicBezTo>
                <a:cubicBezTo>
                  <a:pt x="152379" y="129357"/>
                  <a:pt x="152390" y="123458"/>
                  <a:pt x="152390" y="114321"/>
                </a:cubicBezTo>
                <a:lnTo>
                  <a:pt x="152390" y="112144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347175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D780A0-CEB3-90F9-C40D-75B12FCCFD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6FCF8F55-2967-F339-3A96-1A396121AB4C}"/>
              </a:ext>
            </a:extLst>
          </p:cNvPr>
          <p:cNvSpPr/>
          <p:nvPr/>
        </p:nvSpPr>
        <p:spPr>
          <a:xfrm>
            <a:off x="1440000" y="3064475"/>
            <a:ext cx="6973750" cy="4260850"/>
          </a:xfrm>
          <a:prstGeom prst="roundRect">
            <a:avLst>
              <a:gd name="adj" fmla="val 1011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404898A6-010C-CE4B-98F9-A81154CC723F}"/>
              </a:ext>
            </a:extLst>
          </p:cNvPr>
          <p:cNvSpPr/>
          <p:nvPr/>
        </p:nvSpPr>
        <p:spPr>
          <a:xfrm>
            <a:off x="8720431" y="3064475"/>
            <a:ext cx="6973750" cy="4260850"/>
          </a:xfrm>
          <a:prstGeom prst="roundRect">
            <a:avLst>
              <a:gd name="adj" fmla="val 1011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78AEC427-D56B-5459-8B39-D3A9E0A120FA}"/>
              </a:ext>
            </a:extLst>
          </p:cNvPr>
          <p:cNvSpPr/>
          <p:nvPr/>
        </p:nvSpPr>
        <p:spPr>
          <a:xfrm>
            <a:off x="15981564" y="3064475"/>
            <a:ext cx="6973750" cy="4260850"/>
          </a:xfrm>
          <a:prstGeom prst="roundRect">
            <a:avLst>
              <a:gd name="adj" fmla="val 1011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06CDAF23-C11D-B26A-C552-4AEA2AE94E4C}"/>
              </a:ext>
            </a:extLst>
          </p:cNvPr>
          <p:cNvSpPr/>
          <p:nvPr/>
        </p:nvSpPr>
        <p:spPr>
          <a:xfrm>
            <a:off x="1440000" y="7620000"/>
            <a:ext cx="6973750" cy="4260850"/>
          </a:xfrm>
          <a:prstGeom prst="roundRect">
            <a:avLst>
              <a:gd name="adj" fmla="val 1011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0261A499-CD8D-3237-A177-AFE06EBE8882}"/>
              </a:ext>
            </a:extLst>
          </p:cNvPr>
          <p:cNvSpPr/>
          <p:nvPr/>
        </p:nvSpPr>
        <p:spPr>
          <a:xfrm>
            <a:off x="8720431" y="7620000"/>
            <a:ext cx="6973750" cy="4260850"/>
          </a:xfrm>
          <a:prstGeom prst="roundRect">
            <a:avLst>
              <a:gd name="adj" fmla="val 1011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770C1611-EFEF-DA66-AFC9-41ED8EC7D905}"/>
              </a:ext>
            </a:extLst>
          </p:cNvPr>
          <p:cNvSpPr/>
          <p:nvPr/>
        </p:nvSpPr>
        <p:spPr>
          <a:xfrm>
            <a:off x="15981564" y="7620000"/>
            <a:ext cx="6973750" cy="4260850"/>
          </a:xfrm>
          <a:prstGeom prst="roundRect">
            <a:avLst>
              <a:gd name="adj" fmla="val 1011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0BCE6230-AA78-6B8F-4510-9D89F577C22A}"/>
              </a:ext>
            </a:extLst>
          </p:cNvPr>
          <p:cNvSpPr/>
          <p:nvPr/>
        </p:nvSpPr>
        <p:spPr>
          <a:xfrm rot="21308670">
            <a:off x="13866164" y="761805"/>
            <a:ext cx="5766164" cy="114960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144000" rtlCol="0" anchor="ctr" anchorCtr="0">
            <a:noAutofit/>
          </a:bodyPr>
          <a:lstStyle/>
          <a:p>
            <a:pPr algn="ctr">
              <a:lnSpc>
                <a:spcPct val="104000"/>
              </a:lnSpc>
              <a:spcAft>
                <a:spcPts val="2400"/>
              </a:spcAft>
            </a:pPr>
            <a:r>
              <a:rPr lang="ru-RU" sz="7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технология</a:t>
            </a:r>
            <a:endParaRPr lang="ru-RU" sz="7200" dirty="0">
              <a:solidFill>
                <a:schemeClr val="bg1"/>
              </a:solidFill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754C475D-7A51-D088-75AB-9F89AC7A29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997200"/>
            <a:ext cx="21492000" cy="930704"/>
          </a:xfrm>
        </p:spPr>
        <p:txBody>
          <a:bodyPr/>
          <a:lstStyle/>
          <a:p>
            <a:r>
              <a:rPr lang="ru-RU" dirty="0"/>
              <a:t>Как делать её эффективнее =</a:t>
            </a:r>
            <a:endParaRPr lang="ru-RU" dirty="0">
              <a:solidFill>
                <a:schemeClr val="accent3"/>
              </a:solidFill>
            </a:endParaRPr>
          </a:p>
        </p:txBody>
      </p:sp>
      <p:sp>
        <p:nvSpPr>
          <p:cNvPr id="3" name="TextBox 1, chunk 1">
            <a:extLst>
              <a:ext uri="{FF2B5EF4-FFF2-40B4-BE49-F238E27FC236}">
                <a16:creationId xmlns:a16="http://schemas.microsoft.com/office/drawing/2014/main" id="{4D27C37F-3E22-7684-FA64-9F7C63D84107}"/>
              </a:ext>
            </a:extLst>
          </p:cNvPr>
          <p:cNvSpPr txBox="1"/>
          <p:nvPr/>
        </p:nvSpPr>
        <p:spPr>
          <a:xfrm>
            <a:off x="2056093" y="3548488"/>
            <a:ext cx="6344756" cy="147732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marL="285750" indent="-285750">
              <a:buFontTx/>
              <a:buChar char="-"/>
              <a:defRPr sz="3600">
                <a:solidFill>
                  <a:schemeClr val="bg1"/>
                </a:solidFill>
              </a:defRPr>
            </a:lvl1pPr>
          </a:lstStyle>
          <a:p>
            <a:pPr marL="0" indent="0">
              <a:buNone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Повышение прозрачности инвентаря и стандартизации метрик на уровне рынка</a:t>
            </a:r>
          </a:p>
        </p:txBody>
      </p:sp>
      <p:sp>
        <p:nvSpPr>
          <p:cNvPr id="6" name="TextBox 1, chunk 2">
            <a:extLst>
              <a:ext uri="{FF2B5EF4-FFF2-40B4-BE49-F238E27FC236}">
                <a16:creationId xmlns:a16="http://schemas.microsoft.com/office/drawing/2014/main" id="{BE715068-344F-9FB0-4BEB-F302710D56A7}"/>
              </a:ext>
            </a:extLst>
          </p:cNvPr>
          <p:cNvSpPr txBox="1"/>
          <p:nvPr/>
        </p:nvSpPr>
        <p:spPr>
          <a:xfrm>
            <a:off x="9342364" y="3548488"/>
            <a:ext cx="5134571" cy="147732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marL="285750" indent="-285750">
              <a:buFontTx/>
              <a:buChar char="-"/>
              <a:defRPr sz="3600">
                <a:solidFill>
                  <a:schemeClr val="bg1"/>
                </a:solidFill>
              </a:defRPr>
            </a:lvl1pPr>
          </a:lstStyle>
          <a:p>
            <a:pPr marL="0" indent="0">
              <a:buNone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Post-campaign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 аналитика на уровне </a:t>
            </a:r>
            <a:r>
              <a:rPr lang="ru-RU" sz="3200" dirty="0" err="1">
                <a:solidFill>
                  <a:srgbClr val="A0AFC8"/>
                </a:solidFill>
                <a:latin typeface="YS Text Regular"/>
              </a:rPr>
              <a:t>диджитал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 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с ТВ особенностями </a:t>
            </a:r>
          </a:p>
        </p:txBody>
      </p:sp>
      <p:sp>
        <p:nvSpPr>
          <p:cNvPr id="8" name="TextBox 1, chunk 3">
            <a:extLst>
              <a:ext uri="{FF2B5EF4-FFF2-40B4-BE49-F238E27FC236}">
                <a16:creationId xmlns:a16="http://schemas.microsoft.com/office/drawing/2014/main" id="{CB16A516-A93D-798E-31A9-40A9F96F433A}"/>
              </a:ext>
            </a:extLst>
          </p:cNvPr>
          <p:cNvSpPr txBox="1"/>
          <p:nvPr/>
        </p:nvSpPr>
        <p:spPr>
          <a:xfrm>
            <a:off x="2056093" y="8118030"/>
            <a:ext cx="6149460" cy="29546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marL="285750" indent="-285750">
              <a:buFontTx/>
              <a:buChar char="-"/>
              <a:defRPr sz="3600">
                <a:solidFill>
                  <a:schemeClr val="bg1"/>
                </a:solidFill>
              </a:defRPr>
            </a:lvl1pPr>
          </a:lstStyle>
          <a:p>
            <a:pPr marL="0" indent="0">
              <a:buNone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Баланс между рекламой </a:t>
            </a:r>
            <a:b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</a:b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и пользовательским </a:t>
            </a:r>
            <a:b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</a:b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опытом </a:t>
            </a:r>
            <a:r>
              <a:rPr lang="ru-RU" sz="3200" dirty="0">
                <a:solidFill>
                  <a:srgbClr val="A0AFC8"/>
                </a:solidFill>
              </a:rPr>
              <a:t>—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 предсказуемость рекламы, контроль частоты, релевантность и </a:t>
            </a:r>
            <a:r>
              <a:rPr lang="ru-RU" sz="3200" dirty="0">
                <a:solidFill>
                  <a:srgbClr val="A0AFC8"/>
                </a:solidFill>
                <a:latin typeface="YS Text Regular"/>
              </a:rPr>
              <a:t>ИИ</a:t>
            </a:r>
            <a:r>
              <a:rPr kumimoji="0" lang="en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-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управление Ad </a:t>
            </a:r>
            <a:r>
              <a:rPr kumimoji="0" lang="ru-RU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Load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A0AFC8"/>
              </a:solidFill>
              <a:effectLst/>
              <a:uLnTx/>
              <a:uFillTx/>
              <a:latin typeface="YS Text Regular"/>
              <a:ea typeface="+mn-ea"/>
              <a:cs typeface="+mn-cs"/>
            </a:endParaRPr>
          </a:p>
        </p:txBody>
      </p:sp>
      <p:sp>
        <p:nvSpPr>
          <p:cNvPr id="9" name="TextBox 1, chunk 4">
            <a:extLst>
              <a:ext uri="{FF2B5EF4-FFF2-40B4-BE49-F238E27FC236}">
                <a16:creationId xmlns:a16="http://schemas.microsoft.com/office/drawing/2014/main" id="{C192F407-0701-1B69-B1D7-3AFF8A2DED14}"/>
              </a:ext>
            </a:extLst>
          </p:cNvPr>
          <p:cNvSpPr txBox="1"/>
          <p:nvPr/>
        </p:nvSpPr>
        <p:spPr>
          <a:xfrm>
            <a:off x="9336523" y="8118031"/>
            <a:ext cx="5420877" cy="147732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marL="285750" indent="-285750">
              <a:buFontTx/>
              <a:buChar char="-"/>
              <a:defRPr sz="3600">
                <a:solidFill>
                  <a:schemeClr val="bg1"/>
                </a:solidFill>
              </a:defRPr>
            </a:lvl1pPr>
          </a:lstStyle>
          <a:p>
            <a:pPr marL="0" indent="0">
              <a:buNone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Интерактивные и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shoppable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-форматы рекламы</a:t>
            </a:r>
          </a:p>
        </p:txBody>
      </p:sp>
      <p:sp>
        <p:nvSpPr>
          <p:cNvPr id="10" name="TextBox 1, chunk 5">
            <a:extLst>
              <a:ext uri="{FF2B5EF4-FFF2-40B4-BE49-F238E27FC236}">
                <a16:creationId xmlns:a16="http://schemas.microsoft.com/office/drawing/2014/main" id="{DE02ACAA-71FC-4BA9-4ADE-01DF2C614B7A}"/>
              </a:ext>
            </a:extLst>
          </p:cNvPr>
          <p:cNvSpPr txBox="1"/>
          <p:nvPr/>
        </p:nvSpPr>
        <p:spPr>
          <a:xfrm>
            <a:off x="16584757" y="8118031"/>
            <a:ext cx="6046644" cy="29546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marL="285750" indent="-285750">
              <a:buFontTx/>
              <a:buChar char="-"/>
              <a:defRPr sz="3600"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CTV 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как хаб для взаимодействия со зрителем на нескольких экранах </a:t>
            </a:r>
            <a:b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</a:b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(точка входа в многоканальную воронку </a:t>
            </a:r>
            <a:r>
              <a:rPr lang="ru-RU" sz="3200" dirty="0">
                <a:solidFill>
                  <a:srgbClr val="A0AFC8"/>
                </a:solidFill>
              </a:rPr>
              <a:t>—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 кросс-</a:t>
            </a:r>
            <a:r>
              <a:rPr kumimoji="0" lang="ru-RU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девайсные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 размещения)</a:t>
            </a:r>
            <a:endParaRPr lang="ru-RU" sz="5400" dirty="0"/>
          </a:p>
        </p:txBody>
      </p:sp>
      <p:sp>
        <p:nvSpPr>
          <p:cNvPr id="13" name="TextBox 1, chunk 2">
            <a:extLst>
              <a:ext uri="{FF2B5EF4-FFF2-40B4-BE49-F238E27FC236}">
                <a16:creationId xmlns:a16="http://schemas.microsoft.com/office/drawing/2014/main" id="{577AF1C9-4BFE-44E1-3F19-2275A9AA2118}"/>
              </a:ext>
            </a:extLst>
          </p:cNvPr>
          <p:cNvSpPr txBox="1"/>
          <p:nvPr/>
        </p:nvSpPr>
        <p:spPr>
          <a:xfrm>
            <a:off x="16584755" y="3548488"/>
            <a:ext cx="5443395" cy="196977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 marL="285750" indent="-285750">
              <a:buFontTx/>
              <a:buChar char="-"/>
              <a:defRPr sz="3600">
                <a:solidFill>
                  <a:schemeClr val="bg1"/>
                </a:solidFill>
              </a:defRPr>
            </a:lvl1pPr>
          </a:lstStyle>
          <a:p>
            <a:pPr marL="0" indent="0">
              <a:buNone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Усиление таргетинга</a:t>
            </a:r>
            <a:b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</a:b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на уровне контента, </a:t>
            </a:r>
            <a:b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</a:b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шоу и пользовательских сигналов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786C8E-34C9-E90E-B017-86EF54C37E23}"/>
              </a:ext>
            </a:extLst>
          </p:cNvPr>
          <p:cNvSpPr txBox="1"/>
          <p:nvPr/>
        </p:nvSpPr>
        <p:spPr>
          <a:xfrm>
            <a:off x="7333221" y="6290244"/>
            <a:ext cx="763029" cy="8211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r>
              <a:rPr lang="ru-RU" sz="5400" dirty="0">
                <a:solidFill>
                  <a:schemeClr val="accent3"/>
                </a:solidFill>
              </a:rPr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A963EDF-B2F4-0C46-DDBF-DE730CEBA797}"/>
              </a:ext>
            </a:extLst>
          </p:cNvPr>
          <p:cNvSpPr txBox="1"/>
          <p:nvPr/>
        </p:nvSpPr>
        <p:spPr>
          <a:xfrm>
            <a:off x="14503529" y="6290244"/>
            <a:ext cx="763029" cy="8211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r>
              <a:rPr lang="ru-RU" sz="5400" dirty="0">
                <a:solidFill>
                  <a:schemeClr val="accent3"/>
                </a:solidFill>
              </a:rPr>
              <a:t>0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E93672E-CD9F-AA82-5FC5-8A8DCEBFA7A9}"/>
              </a:ext>
            </a:extLst>
          </p:cNvPr>
          <p:cNvSpPr txBox="1"/>
          <p:nvPr/>
        </p:nvSpPr>
        <p:spPr>
          <a:xfrm>
            <a:off x="21732875" y="6290244"/>
            <a:ext cx="763029" cy="8211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r>
              <a:rPr lang="ru-RU" sz="5400" dirty="0">
                <a:solidFill>
                  <a:schemeClr val="accent3"/>
                </a:solidFill>
              </a:rPr>
              <a:t>0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8CAC7A-9065-0C1B-03D4-D1A43E4C349D}"/>
              </a:ext>
            </a:extLst>
          </p:cNvPr>
          <p:cNvSpPr txBox="1"/>
          <p:nvPr/>
        </p:nvSpPr>
        <p:spPr>
          <a:xfrm>
            <a:off x="7333221" y="10908550"/>
            <a:ext cx="763029" cy="8211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r>
              <a:rPr lang="ru-RU" sz="5400" dirty="0">
                <a:solidFill>
                  <a:schemeClr val="accent3"/>
                </a:solidFill>
              </a:rPr>
              <a:t>04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A6D06D5-594F-5BB4-AB54-CE320CF3803A}"/>
              </a:ext>
            </a:extLst>
          </p:cNvPr>
          <p:cNvSpPr txBox="1"/>
          <p:nvPr/>
        </p:nvSpPr>
        <p:spPr>
          <a:xfrm>
            <a:off x="14503529" y="10908550"/>
            <a:ext cx="763029" cy="8211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r>
              <a:rPr lang="ru-RU" sz="5400" dirty="0">
                <a:solidFill>
                  <a:schemeClr val="accent3"/>
                </a:solidFill>
              </a:rPr>
              <a:t>0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74CB97-46E4-4F8B-99C3-2EB84DA0D13F}"/>
              </a:ext>
            </a:extLst>
          </p:cNvPr>
          <p:cNvSpPr txBox="1"/>
          <p:nvPr/>
        </p:nvSpPr>
        <p:spPr>
          <a:xfrm>
            <a:off x="21732875" y="10908550"/>
            <a:ext cx="763029" cy="8211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r>
              <a:rPr lang="ru-RU" sz="5400" dirty="0">
                <a:solidFill>
                  <a:schemeClr val="accent3"/>
                </a:solidFill>
              </a:rPr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5072980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5E6E9A-1FE1-DEC1-75FE-B11B910E1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F3773A9-E52E-C426-1BD0-9D33F8FE4F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" r="4"/>
          <a:stretch/>
        </p:blipFill>
        <p:spPr>
          <a:xfrm>
            <a:off x="0" y="0"/>
            <a:ext cx="24382412" cy="1371600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34B2DD5-D259-DA21-8DDA-AD45CCE6E543}"/>
              </a:ext>
            </a:extLst>
          </p:cNvPr>
          <p:cNvSpPr/>
          <p:nvPr/>
        </p:nvSpPr>
        <p:spPr>
          <a:xfrm>
            <a:off x="8800739" y="4890905"/>
            <a:ext cx="12878593" cy="19941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6B57A53-F5CC-B7B9-4D3F-959CE0BBBA78}"/>
              </a:ext>
            </a:extLst>
          </p:cNvPr>
          <p:cNvSpPr txBox="1">
            <a:spLocks/>
          </p:cNvSpPr>
          <p:nvPr/>
        </p:nvSpPr>
        <p:spPr>
          <a:xfrm>
            <a:off x="2348695" y="5026633"/>
            <a:ext cx="19685022" cy="366273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lnSpc>
                <a:spcPct val="82000"/>
              </a:lnSpc>
              <a:spcBef>
                <a:spcPct val="0"/>
              </a:spcBef>
              <a:buNone/>
              <a:defRPr sz="12000">
                <a:solidFill>
                  <a:schemeClr val="bg2"/>
                </a:solidFill>
                <a:latin typeface="YS Display Regular" pitchFamily="2" charset="0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4800" dirty="0">
                <a:solidFill>
                  <a:schemeClr val="bg1"/>
                </a:solidFill>
                <a:latin typeface="+mj-lt"/>
              </a:rPr>
              <a:t>Какие  возможности есть уже сегодня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C9B656F7-4866-8522-EED8-B4BAB2E50644}"/>
              </a:ext>
            </a:extLst>
          </p:cNvPr>
          <p:cNvGrpSpPr/>
          <p:nvPr/>
        </p:nvGrpSpPr>
        <p:grpSpPr>
          <a:xfrm>
            <a:off x="21562395" y="4520305"/>
            <a:ext cx="233876" cy="2364796"/>
            <a:chOff x="18744803" y="5306312"/>
            <a:chExt cx="233876" cy="2364796"/>
          </a:xfrm>
        </p:grpSpPr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DB1411D3-B80F-B2AB-85FD-58328C553C66}"/>
                </a:ext>
              </a:extLst>
            </p:cNvPr>
            <p:cNvCxnSpPr>
              <a:cxnSpLocks/>
            </p:cNvCxnSpPr>
            <p:nvPr/>
          </p:nvCxnSpPr>
          <p:spPr>
            <a:xfrm>
              <a:off x="18861741" y="5540188"/>
              <a:ext cx="0" cy="2130920"/>
            </a:xfrm>
            <a:prstGeom prst="line">
              <a:avLst/>
            </a:prstGeom>
            <a:ln w="5715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CD9C64E4-DC57-B8B1-C079-173FFB52B5EC}"/>
                </a:ext>
              </a:extLst>
            </p:cNvPr>
            <p:cNvSpPr/>
            <p:nvPr/>
          </p:nvSpPr>
          <p:spPr>
            <a:xfrm>
              <a:off x="18744803" y="5306312"/>
              <a:ext cx="233876" cy="2338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>
                <a:lnSpc>
                  <a:spcPct val="104000"/>
                </a:lnSpc>
                <a:spcAft>
                  <a:spcPts val="2400"/>
                </a:spcAft>
              </a:pPr>
              <a:endParaRPr lang="ru-RU" sz="2800" dirty="0">
                <a:solidFill>
                  <a:schemeClr val="tx1"/>
                </a:solidFill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3883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C909E2-2042-166F-0B51-53D2D4788B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61">
            <a:extLst>
              <a:ext uri="{FF2B5EF4-FFF2-40B4-BE49-F238E27FC236}">
                <a16:creationId xmlns:a16="http://schemas.microsoft.com/office/drawing/2014/main" id="{42A94A71-6EC9-980B-611B-179F54A05A72}"/>
              </a:ext>
            </a:extLst>
          </p:cNvPr>
          <p:cNvSpPr/>
          <p:nvPr/>
        </p:nvSpPr>
        <p:spPr>
          <a:xfrm>
            <a:off x="11128375" y="310897"/>
            <a:ext cx="12947650" cy="13097128"/>
          </a:xfrm>
          <a:prstGeom prst="roundRect">
            <a:avLst>
              <a:gd name="adj" fmla="val 278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CA1E08E-8C94-180E-A49A-DF19FD3030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031046"/>
            <a:ext cx="19983600" cy="656526"/>
          </a:xfrm>
        </p:spPr>
        <p:txBody>
          <a:bodyPr/>
          <a:lstStyle/>
          <a:p>
            <a:r>
              <a:rPr lang="en-US" dirty="0"/>
              <a:t>*</a:t>
            </a:r>
            <a:r>
              <a:rPr lang="ru-RU" dirty="0"/>
              <a:t> Н1 2026 по сравнению с Н2 2025</a:t>
            </a:r>
            <a:endParaRPr lang="en-US" dirty="0"/>
          </a:p>
          <a:p>
            <a:r>
              <a:rPr lang="en-US" dirty="0"/>
              <a:t>**</a:t>
            </a:r>
            <a:r>
              <a:rPr lang="ru-RU" dirty="0"/>
              <a:t> По сравнению с февр. 2026 г.</a:t>
            </a:r>
          </a:p>
        </p:txBody>
      </p:sp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A90F652C-9B83-F1EE-8460-B657D1B40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1" y="1000125"/>
            <a:ext cx="9380538" cy="1535113"/>
          </a:xfrm>
        </p:spPr>
        <p:txBody>
          <a:bodyPr/>
          <a:lstStyle/>
          <a:p>
            <a:r>
              <a:rPr lang="ru-RU" dirty="0"/>
              <a:t>Реклама на </a:t>
            </a:r>
            <a:r>
              <a:rPr lang="en-US" dirty="0"/>
              <a:t>CTV </a:t>
            </a:r>
            <a:r>
              <a:rPr lang="ru-RU" dirty="0"/>
              <a:t>через Яндекс Директ </a:t>
            </a:r>
            <a:br>
              <a:rPr lang="ru-RU" dirty="0"/>
            </a:br>
            <a:r>
              <a:rPr lang="ru-RU" dirty="0"/>
              <a:t>кратко выросла в первом полугодии 2026 г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5B2C6F-D921-7377-B762-0F6D1169C531}"/>
              </a:ext>
            </a:extLst>
          </p:cNvPr>
          <p:cNvSpPr txBox="1"/>
          <p:nvPr/>
        </p:nvSpPr>
        <p:spPr>
          <a:xfrm>
            <a:off x="6955348" y="4947062"/>
            <a:ext cx="4005739" cy="20551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r>
              <a:rPr lang="ru-RU" sz="6600" dirty="0">
                <a:solidFill>
                  <a:schemeClr val="bg1"/>
                </a:solidFill>
                <a:latin typeface="+mj-lt"/>
              </a:rPr>
              <a:t>×2</a:t>
            </a:r>
            <a:br>
              <a:rPr lang="ru-RU" sz="6600" b="1" dirty="0">
                <a:solidFill>
                  <a:schemeClr val="bg1"/>
                </a:solidFill>
              </a:rPr>
            </a:br>
            <a:r>
              <a:rPr lang="ru-RU" sz="3200" dirty="0"/>
              <a:t>Количество кампаний</a:t>
            </a:r>
            <a:r>
              <a:rPr lang="en-US" sz="3200" dirty="0"/>
              <a:t>*</a:t>
            </a:r>
            <a:endParaRPr lang="ru-RU" sz="3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254EC1-9FA0-D3A5-A1F1-177FAB8A54F6}"/>
              </a:ext>
            </a:extLst>
          </p:cNvPr>
          <p:cNvSpPr txBox="1"/>
          <p:nvPr/>
        </p:nvSpPr>
        <p:spPr>
          <a:xfrm>
            <a:off x="1440000" y="4929809"/>
            <a:ext cx="4846500" cy="30793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r>
              <a:rPr lang="ru-RU" sz="6600" dirty="0">
                <a:solidFill>
                  <a:schemeClr val="bg1"/>
                </a:solidFill>
                <a:latin typeface="+mj-lt"/>
              </a:rPr>
              <a:t>×2</a:t>
            </a:r>
            <a:br>
              <a:rPr lang="ru-RU" sz="6600" b="1" dirty="0">
                <a:solidFill>
                  <a:schemeClr val="bg1"/>
                </a:solidFill>
              </a:rPr>
            </a:br>
            <a:r>
              <a:rPr lang="ru-RU" sz="3200" dirty="0"/>
              <a:t>Количество брендов, которые размещают рекламу на </a:t>
            </a:r>
            <a:r>
              <a:rPr lang="en-US" sz="3200" dirty="0"/>
              <a:t>CTV </a:t>
            </a:r>
            <a:r>
              <a:rPr lang="ru-RU" sz="3200" dirty="0"/>
              <a:t>через Яндекс Директ</a:t>
            </a:r>
            <a:r>
              <a:rPr lang="en-US" sz="3200" dirty="0"/>
              <a:t>*</a:t>
            </a:r>
            <a:endParaRPr lang="ru-RU" sz="3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84ACFE-F2E8-EABD-6040-B491489EC7D0}"/>
              </a:ext>
            </a:extLst>
          </p:cNvPr>
          <p:cNvSpPr txBox="1"/>
          <p:nvPr/>
        </p:nvSpPr>
        <p:spPr>
          <a:xfrm>
            <a:off x="1440001" y="8465217"/>
            <a:ext cx="5449750" cy="25672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r>
              <a:rPr lang="ru-RU" sz="6600" dirty="0">
                <a:solidFill>
                  <a:schemeClr val="bg1"/>
                </a:solidFill>
                <a:latin typeface="+mj-lt"/>
              </a:rPr>
              <a:t>+82%</a:t>
            </a:r>
            <a:br>
              <a:rPr lang="ru-RU" sz="6600" b="1" dirty="0">
                <a:solidFill>
                  <a:schemeClr val="bg1"/>
                </a:solidFill>
              </a:rPr>
            </a:br>
            <a:r>
              <a:rPr lang="ru-RU" sz="3200" dirty="0"/>
              <a:t>Количество тематических каналов в аукционной видеорекламе на </a:t>
            </a:r>
            <a:r>
              <a:rPr lang="en-US" sz="3200" dirty="0"/>
              <a:t>CTV**</a:t>
            </a:r>
            <a:endParaRPr lang="ru-RU" sz="3200" dirty="0"/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3246FADF-9598-A101-B8AF-9F652ACF238A}"/>
              </a:ext>
            </a:extLst>
          </p:cNvPr>
          <p:cNvSpPr txBox="1">
            <a:spLocks/>
          </p:cNvSpPr>
          <p:nvPr/>
        </p:nvSpPr>
        <p:spPr>
          <a:xfrm>
            <a:off x="12772292" y="1833236"/>
            <a:ext cx="4734838" cy="4290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40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  <a:spcAft>
                <a:spcPts val="1800"/>
              </a:spcAft>
            </a:pPr>
            <a:r>
              <a:rPr lang="ru-RU" sz="2800" dirty="0">
                <a:solidFill>
                  <a:schemeClr val="tx1"/>
                </a:solidFill>
              </a:rPr>
              <a:t>Уникальные КА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3DD6FBAC-2CDB-BFCD-DA0E-C2CBA0C58D56}"/>
              </a:ext>
            </a:extLst>
          </p:cNvPr>
          <p:cNvCxnSpPr>
            <a:cxnSpLocks/>
          </p:cNvCxnSpPr>
          <p:nvPr/>
        </p:nvCxnSpPr>
        <p:spPr>
          <a:xfrm flipH="1">
            <a:off x="12383996" y="2030495"/>
            <a:ext cx="247973" cy="0"/>
          </a:xfrm>
          <a:prstGeom prst="line">
            <a:avLst/>
          </a:prstGeom>
          <a:ln w="762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Текст 10">
            <a:extLst>
              <a:ext uri="{FF2B5EF4-FFF2-40B4-BE49-F238E27FC236}">
                <a16:creationId xmlns:a16="http://schemas.microsoft.com/office/drawing/2014/main" id="{C1CB76D2-01A2-8266-F0CB-45EE8B3DBB79}"/>
              </a:ext>
            </a:extLst>
          </p:cNvPr>
          <p:cNvSpPr txBox="1">
            <a:spLocks/>
          </p:cNvSpPr>
          <p:nvPr/>
        </p:nvSpPr>
        <p:spPr>
          <a:xfrm>
            <a:off x="12772292" y="1217613"/>
            <a:ext cx="4734838" cy="4290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40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4000"/>
              </a:lnSpc>
              <a:spcAft>
                <a:spcPts val="1800"/>
              </a:spcAft>
            </a:pPr>
            <a:r>
              <a:rPr lang="ru-RU" sz="2800" dirty="0">
                <a:solidFill>
                  <a:schemeClr val="tx1"/>
                </a:solidFill>
              </a:rPr>
              <a:t>Уникальные РК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B45FDF8A-F8D9-8538-7308-68E235A82E3A}"/>
              </a:ext>
            </a:extLst>
          </p:cNvPr>
          <p:cNvCxnSpPr>
            <a:cxnSpLocks/>
          </p:cNvCxnSpPr>
          <p:nvPr/>
        </p:nvCxnSpPr>
        <p:spPr>
          <a:xfrm flipH="1">
            <a:off x="12383996" y="1414872"/>
            <a:ext cx="247973" cy="0"/>
          </a:xfrm>
          <a:prstGeom prst="line">
            <a:avLst/>
          </a:prstGeom>
          <a:ln w="762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Диаграмма 1">
            <a:extLst>
              <a:ext uri="{FF2B5EF4-FFF2-40B4-BE49-F238E27FC236}">
                <a16:creationId xmlns:a16="http://schemas.microsoft.com/office/drawing/2014/main" id="{7E41534D-35CB-7CE5-9BF5-B1B512A4B0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7321514"/>
              </p:ext>
            </p:extLst>
          </p:nvPr>
        </p:nvGraphicFramePr>
        <p:xfrm>
          <a:off x="12036425" y="1217614"/>
          <a:ext cx="11179174" cy="11083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473253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502;p34">
            <a:extLst>
              <a:ext uri="{FF2B5EF4-FFF2-40B4-BE49-F238E27FC236}">
                <a16:creationId xmlns:a16="http://schemas.microsoft.com/office/drawing/2014/main" id="{77174BB3-42F9-2A34-10CD-F9001422B3CE}"/>
              </a:ext>
            </a:extLst>
          </p:cNvPr>
          <p:cNvSpPr>
            <a:spLocks/>
          </p:cNvSpPr>
          <p:nvPr/>
        </p:nvSpPr>
        <p:spPr>
          <a:xfrm>
            <a:off x="1440001" y="3956050"/>
            <a:ext cx="6942138" cy="8210550"/>
          </a:xfrm>
          <a:prstGeom prst="roundRect">
            <a:avLst>
              <a:gd name="adj" fmla="val 6048"/>
            </a:avLst>
          </a:prstGeom>
          <a:solidFill>
            <a:schemeClr val="bg2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roxima Nova Rg"/>
              <a:ea typeface="Proxima Nova Rg"/>
              <a:cs typeface="Proxima Nova Rg"/>
              <a:sym typeface="Proxima Nova"/>
            </a:endParaRPr>
          </a:p>
        </p:txBody>
      </p:sp>
      <p:sp>
        <p:nvSpPr>
          <p:cNvPr id="22" name="Google Shape;501;p34">
            <a:extLst>
              <a:ext uri="{FF2B5EF4-FFF2-40B4-BE49-F238E27FC236}">
                <a16:creationId xmlns:a16="http://schemas.microsoft.com/office/drawing/2014/main" id="{7794C5C9-3101-3A1D-64DC-CFACBD2CD86D}"/>
              </a:ext>
            </a:extLst>
          </p:cNvPr>
          <p:cNvSpPr/>
          <p:nvPr/>
        </p:nvSpPr>
        <p:spPr>
          <a:xfrm>
            <a:off x="15987213" y="3956050"/>
            <a:ext cx="6948000" cy="8210550"/>
          </a:xfrm>
          <a:prstGeom prst="roundRect">
            <a:avLst>
              <a:gd name="adj" fmla="val 6043"/>
            </a:avLst>
          </a:prstGeom>
          <a:solidFill>
            <a:schemeClr val="bg2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roxima Nova Rg"/>
              <a:ea typeface="Proxima Nova Rg"/>
              <a:cs typeface="Proxima Nova Rg"/>
              <a:sym typeface="Proxima Nova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9AEAB2CB-5C66-2574-2E78-C875743CB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997200"/>
            <a:ext cx="21492000" cy="1861407"/>
          </a:xfrm>
        </p:spPr>
        <p:txBody>
          <a:bodyPr/>
          <a:lstStyle/>
          <a:p>
            <a:r>
              <a:rPr lang="ru-RU" dirty="0"/>
              <a:t>Где показывается реклама на </a:t>
            </a:r>
            <a:r>
              <a:rPr lang="en-US" dirty="0"/>
              <a:t>Connected TV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через Яндекс Директ</a:t>
            </a:r>
          </a:p>
        </p:txBody>
      </p:sp>
      <p:sp>
        <p:nvSpPr>
          <p:cNvPr id="21" name="Google Shape;500;p34">
            <a:extLst>
              <a:ext uri="{FF2B5EF4-FFF2-40B4-BE49-F238E27FC236}">
                <a16:creationId xmlns:a16="http://schemas.microsoft.com/office/drawing/2014/main" id="{C20EB4BC-0A03-BE80-AF14-53369489221A}"/>
              </a:ext>
            </a:extLst>
          </p:cNvPr>
          <p:cNvSpPr/>
          <p:nvPr/>
        </p:nvSpPr>
        <p:spPr>
          <a:xfrm>
            <a:off x="8718538" y="3956050"/>
            <a:ext cx="6948000" cy="8210550"/>
          </a:xfrm>
          <a:prstGeom prst="roundRect">
            <a:avLst>
              <a:gd name="adj" fmla="val 6043"/>
            </a:avLst>
          </a:prstGeom>
          <a:solidFill>
            <a:schemeClr val="bg2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roxima Nova Rg"/>
              <a:ea typeface="Proxima Nova Rg"/>
              <a:cs typeface="Proxima Nova Rg"/>
              <a:sym typeface="Proxima Nova"/>
            </a:endParaRPr>
          </a:p>
        </p:txBody>
      </p:sp>
      <p:sp>
        <p:nvSpPr>
          <p:cNvPr id="24" name="Google Shape;504;p34">
            <a:extLst>
              <a:ext uri="{FF2B5EF4-FFF2-40B4-BE49-F238E27FC236}">
                <a16:creationId xmlns:a16="http://schemas.microsoft.com/office/drawing/2014/main" id="{F0D4F5D0-C152-A89A-62A6-5BB155495314}"/>
              </a:ext>
            </a:extLst>
          </p:cNvPr>
          <p:cNvSpPr txBox="1"/>
          <p:nvPr/>
        </p:nvSpPr>
        <p:spPr>
          <a:xfrm>
            <a:off x="2085651" y="4697008"/>
            <a:ext cx="5512204" cy="1300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6pPr marL="0" lvl="5" defTabSz="1507697" fontAlgn="ctr">
              <a:spcAft>
                <a:spcPts val="1484"/>
              </a:spcAft>
              <a:buClr>
                <a:srgbClr val="4B3CFF"/>
              </a:buClr>
              <a:buSzPct val="75000"/>
              <a:defRPr sz="3600">
                <a:solidFill>
                  <a:srgbClr val="FFFFFF"/>
                </a:solidFill>
                <a:latin typeface="YS Text Medium" pitchFamily="2" charset="-52"/>
              </a:defRPr>
            </a:lvl6pPr>
          </a:lstStyle>
          <a:p>
            <a:pPr lvl="5">
              <a:defRPr/>
            </a:pPr>
            <a:r>
              <a:rPr lang="ru-RU" dirty="0">
                <a:sym typeface="Proxima Nova Semibold"/>
              </a:rPr>
              <a:t>Аукционная видеореклама на СTV</a:t>
            </a:r>
            <a:endParaRPr lang="ru-RU" dirty="0"/>
          </a:p>
        </p:txBody>
      </p:sp>
      <p:pic>
        <p:nvPicPr>
          <p:cNvPr id="32" name="Google Shape;515;p34">
            <a:extLst>
              <a:ext uri="{FF2B5EF4-FFF2-40B4-BE49-F238E27FC236}">
                <a16:creationId xmlns:a16="http://schemas.microsoft.com/office/drawing/2014/main" id="{17CCCDAC-EF4B-40E8-12BF-7B2D9BA84DF5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4138392" y="3527501"/>
            <a:ext cx="904820" cy="904820"/>
          </a:xfrm>
          <a:prstGeom prst="ellipse">
            <a:avLst/>
          </a:prstGeom>
          <a:noFill/>
          <a:ln w="79375">
            <a:solidFill>
              <a:schemeClr val="tx2"/>
            </a:solidFill>
          </a:ln>
        </p:spPr>
      </p:pic>
      <p:pic>
        <p:nvPicPr>
          <p:cNvPr id="36" name="Рисунок 35" descr="Изображение выглядит как Шрифт, логотип, Графика, текст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2F33862F-8E01-42BA-CD6D-46ECD7CD720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13020" y="3527502"/>
            <a:ext cx="2262047" cy="904819"/>
          </a:xfrm>
          <a:prstGeom prst="roundRect">
            <a:avLst>
              <a:gd name="adj" fmla="val 50000"/>
            </a:avLst>
          </a:prstGeom>
          <a:noFill/>
          <a:ln w="79375">
            <a:solidFill>
              <a:schemeClr val="tx2"/>
            </a:solidFill>
          </a:ln>
        </p:spPr>
      </p:pic>
      <p:sp>
        <p:nvSpPr>
          <p:cNvPr id="50" name="Google Shape;504;p34">
            <a:extLst>
              <a:ext uri="{FF2B5EF4-FFF2-40B4-BE49-F238E27FC236}">
                <a16:creationId xmlns:a16="http://schemas.microsoft.com/office/drawing/2014/main" id="{BE89FD7C-F1BD-ED41-CB36-99628BD7F9E7}"/>
              </a:ext>
            </a:extLst>
          </p:cNvPr>
          <p:cNvSpPr txBox="1"/>
          <p:nvPr/>
        </p:nvSpPr>
        <p:spPr>
          <a:xfrm>
            <a:off x="9326140" y="4697008"/>
            <a:ext cx="5976064" cy="1300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6pPr marL="0" lvl="5" defTabSz="1507697" fontAlgn="ctr">
              <a:spcAft>
                <a:spcPts val="1484"/>
              </a:spcAft>
              <a:buClr>
                <a:srgbClr val="4B3CFF"/>
              </a:buClr>
              <a:buSzPct val="75000"/>
              <a:defRPr sz="3600">
                <a:solidFill>
                  <a:srgbClr val="FFFFFF"/>
                </a:solidFill>
                <a:latin typeface="YS Text Medium" pitchFamily="2" charset="-52"/>
              </a:defRPr>
            </a:lvl6pPr>
          </a:lstStyle>
          <a:p>
            <a:pPr lvl="5">
              <a:defRPr/>
            </a:pPr>
            <a:r>
              <a:rPr lang="ru-RU" dirty="0"/>
              <a:t>Размещения на площадках </a:t>
            </a:r>
            <a:br>
              <a:rPr lang="ru-RU" dirty="0"/>
            </a:br>
            <a:r>
              <a:rPr lang="ru-RU" dirty="0" err="1"/>
              <a:t>Кинопоиска</a:t>
            </a:r>
            <a:r>
              <a:rPr lang="ru-RU" dirty="0"/>
              <a:t> по </a:t>
            </a:r>
            <a:r>
              <a:rPr lang="ru-RU" dirty="0" err="1"/>
              <a:t>fixCPM</a:t>
            </a:r>
            <a:endParaRPr lang="ru-RU" dirty="0">
              <a:sym typeface="Proxima Nova Semibold"/>
            </a:endParaRPr>
          </a:p>
        </p:txBody>
      </p:sp>
      <p:sp>
        <p:nvSpPr>
          <p:cNvPr id="54" name="Google Shape;504;p34">
            <a:extLst>
              <a:ext uri="{FF2B5EF4-FFF2-40B4-BE49-F238E27FC236}">
                <a16:creationId xmlns:a16="http://schemas.microsoft.com/office/drawing/2014/main" id="{BC9AB604-99E0-9DD0-CB7F-858242AF2769}"/>
              </a:ext>
            </a:extLst>
          </p:cNvPr>
          <p:cNvSpPr txBox="1"/>
          <p:nvPr/>
        </p:nvSpPr>
        <p:spPr>
          <a:xfrm>
            <a:off x="16593030" y="4697008"/>
            <a:ext cx="3419990" cy="1300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6pPr marL="0" lvl="5" defTabSz="1507697" fontAlgn="ctr">
              <a:spcAft>
                <a:spcPts val="1484"/>
              </a:spcAft>
              <a:buClr>
                <a:srgbClr val="4B3CFF"/>
              </a:buClr>
              <a:buSzPct val="75000"/>
              <a:defRPr sz="3600">
                <a:solidFill>
                  <a:srgbClr val="FFFFFF"/>
                </a:solidFill>
                <a:latin typeface="YS Text Medium" pitchFamily="2" charset="-52"/>
              </a:defRPr>
            </a:lvl6pPr>
          </a:lstStyle>
          <a:p>
            <a:pPr lvl="5">
              <a:defRPr/>
            </a:pPr>
            <a:r>
              <a:rPr lang="ru-RU" dirty="0">
                <a:sym typeface="Proxima Nova Semibold"/>
              </a:rPr>
              <a:t>ТВ-билборд на СTV с </a:t>
            </a:r>
            <a:r>
              <a:rPr lang="ru-RU" dirty="0" err="1">
                <a:sym typeface="Proxima Nova Semibold"/>
              </a:rPr>
              <a:t>YaOS</a:t>
            </a:r>
            <a:endParaRPr lang="ru-RU" dirty="0">
              <a:sym typeface="Proxima Nova Semibold"/>
            </a:endParaRPr>
          </a:p>
        </p:txBody>
      </p:sp>
      <p:pic>
        <p:nvPicPr>
          <p:cNvPr id="8" name="Picture 2" descr="Picture background">
            <a:extLst>
              <a:ext uri="{FF2B5EF4-FFF2-40B4-BE49-F238E27FC236}">
                <a16:creationId xmlns:a16="http://schemas.microsoft.com/office/drawing/2014/main" id="{7E9972C3-9679-1EBE-2939-65F825C8D5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" t="-237" r="82760" b="692"/>
          <a:stretch>
            <a:fillRect/>
          </a:stretch>
        </p:blipFill>
        <p:spPr bwMode="auto">
          <a:xfrm>
            <a:off x="6860722" y="3527502"/>
            <a:ext cx="908327" cy="908327"/>
          </a:xfrm>
          <a:prstGeom prst="ellipse">
            <a:avLst/>
          </a:prstGeom>
          <a:solidFill>
            <a:schemeClr val="bg2"/>
          </a:solidFill>
          <a:ln w="79375">
            <a:solidFill>
              <a:schemeClr val="tx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2A5286B-8EB6-3947-1B6B-6A9AAFD6AD68}"/>
              </a:ext>
            </a:extLst>
          </p:cNvPr>
          <p:cNvSpPr txBox="1"/>
          <p:nvPr/>
        </p:nvSpPr>
        <p:spPr>
          <a:xfrm>
            <a:off x="2085651" y="9900832"/>
            <a:ext cx="5683398" cy="17235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ru-RU" sz="2800" dirty="0">
                <a:latin typeface="YS Text Regular"/>
              </a:rPr>
              <a:t>Для тех, кому важно самостоятельно определять бюджет и оптимизировать размещение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0A5975-73C0-DE74-32F9-B270D5B61B89}"/>
              </a:ext>
            </a:extLst>
          </p:cNvPr>
          <p:cNvSpPr txBox="1"/>
          <p:nvPr/>
        </p:nvSpPr>
        <p:spPr>
          <a:xfrm>
            <a:off x="9326140" y="9900832"/>
            <a:ext cx="4812252" cy="129266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latin typeface="YS Text Regular"/>
              </a:rPr>
              <a:t>Для тех, кому важно </a:t>
            </a:r>
            <a:r>
              <a:rPr lang="ru-RU" sz="2800" dirty="0"/>
              <a:t>контролировать места показа рекламы</a:t>
            </a: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7895E4C3-4487-24D4-56B4-3965C308713A}"/>
              </a:ext>
            </a:extLst>
          </p:cNvPr>
          <p:cNvSpPr/>
          <p:nvPr/>
        </p:nvSpPr>
        <p:spPr>
          <a:xfrm rot="21322691">
            <a:off x="1192708" y="3597528"/>
            <a:ext cx="3573800" cy="482253"/>
          </a:xfrm>
          <a:prstGeom prst="roundRect">
            <a:avLst>
              <a:gd name="adj" fmla="val 2315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ctr">
              <a:lnSpc>
                <a:spcPct val="104000"/>
              </a:lnSpc>
              <a:spcAft>
                <a:spcPts val="2400"/>
              </a:spcAft>
            </a:pPr>
            <a:r>
              <a:rPr lang="ru-RU" sz="2000" dirty="0">
                <a:solidFill>
                  <a:schemeClr val="bg2"/>
                </a:solidFill>
                <a:sym typeface="Arial"/>
              </a:rPr>
              <a:t>Без порога входа и наценок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6CAEF2-1BFE-8CAB-A373-53CFCFBAC990}"/>
              </a:ext>
            </a:extLst>
          </p:cNvPr>
          <p:cNvSpPr txBox="1"/>
          <p:nvPr/>
        </p:nvSpPr>
        <p:spPr>
          <a:xfrm>
            <a:off x="16613364" y="9900832"/>
            <a:ext cx="5683398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ru-RU" sz="2800" dirty="0">
                <a:latin typeface="YS Text Regular"/>
              </a:rPr>
              <a:t>Для тех, кому важна </a:t>
            </a:r>
            <a:br>
              <a:rPr lang="ru-RU" sz="2800" dirty="0">
                <a:latin typeface="YS Text Regular"/>
              </a:rPr>
            </a:br>
            <a:r>
              <a:rPr lang="ru-RU" sz="2800" dirty="0">
                <a:latin typeface="YS Text Regular"/>
              </a:rPr>
              <a:t>максимальная заметность</a:t>
            </a:r>
          </a:p>
        </p:txBody>
      </p:sp>
      <p:pic>
        <p:nvPicPr>
          <p:cNvPr id="18" name="Google Shape;953;p54">
            <a:extLst>
              <a:ext uri="{FF2B5EF4-FFF2-40B4-BE49-F238E27FC236}">
                <a16:creationId xmlns:a16="http://schemas.microsoft.com/office/drawing/2014/main" id="{BF1F3B75-E3AB-AE1F-5850-F5981AD53486}"/>
              </a:ext>
            </a:extLst>
          </p:cNvPr>
          <p:cNvPicPr preferRelativeResize="0"/>
          <p:nvPr/>
        </p:nvPicPr>
        <p:blipFill rotWithShape="1">
          <a:blip r:embed="rId8"/>
          <a:srcRect/>
          <a:stretch>
            <a:fillRect/>
          </a:stretch>
        </p:blipFill>
        <p:spPr>
          <a:xfrm>
            <a:off x="16613364" y="6410496"/>
            <a:ext cx="5385716" cy="3031400"/>
          </a:xfrm>
          <a:prstGeom prst="roundRect">
            <a:avLst>
              <a:gd name="adj" fmla="val 4329"/>
            </a:avLst>
          </a:prstGeom>
          <a:noFill/>
          <a:ln>
            <a:noFill/>
          </a:ln>
        </p:spPr>
      </p:pic>
      <p:pic>
        <p:nvPicPr>
          <p:cNvPr id="19" name="v2_advertising_films">
            <a:hlinkClick r:id="" action="ppaction://media"/>
            <a:extLst>
              <a:ext uri="{FF2B5EF4-FFF2-40B4-BE49-F238E27FC236}">
                <a16:creationId xmlns:a16="http://schemas.microsoft.com/office/drawing/2014/main" id="{51E930B8-B19C-D2CE-5868-D12EAEA62FF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rcRect r="369"/>
          <a:stretch>
            <a:fillRect/>
          </a:stretch>
        </p:blipFill>
        <p:spPr>
          <a:xfrm>
            <a:off x="9326140" y="6410496"/>
            <a:ext cx="5352636" cy="3028692"/>
          </a:xfrm>
          <a:prstGeom prst="roundRect">
            <a:avLst>
              <a:gd name="adj" fmla="val 5838"/>
            </a:avLst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54599A9F-7D0B-B60D-0AAF-FAAA2358059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4" t="3674" r="2784" b="4003"/>
          <a:stretch>
            <a:fillRect/>
          </a:stretch>
        </p:blipFill>
        <p:spPr>
          <a:xfrm>
            <a:off x="2085651" y="6410496"/>
            <a:ext cx="5385716" cy="3031400"/>
          </a:xfrm>
          <a:prstGeom prst="roundRect">
            <a:avLst>
              <a:gd name="adj" fmla="val 4329"/>
            </a:avLst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08557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9"/>
                </p:tgtEl>
              </p:cMediaNode>
            </p:vide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E59368-D0A1-EC7D-051A-4A22F3579F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Скругленный прямоугольник 12">
            <a:extLst>
              <a:ext uri="{FF2B5EF4-FFF2-40B4-BE49-F238E27FC236}">
                <a16:creationId xmlns:a16="http://schemas.microsoft.com/office/drawing/2014/main" id="{CB13C418-B2AB-141A-0AF1-1FB1F53D581C}"/>
              </a:ext>
            </a:extLst>
          </p:cNvPr>
          <p:cNvSpPr/>
          <p:nvPr/>
        </p:nvSpPr>
        <p:spPr>
          <a:xfrm>
            <a:off x="1476899" y="3662557"/>
            <a:ext cx="10256346" cy="3938979"/>
          </a:xfrm>
          <a:prstGeom prst="roundRect">
            <a:avLst>
              <a:gd name="adj" fmla="val 741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A0AFC8"/>
              </a:solidFill>
              <a:latin typeface="YS Text Regular"/>
              <a:sym typeface="Arial"/>
            </a:endParaRP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15AD1938-A083-FE50-31F6-5881CBA30C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479" t="762" r="31479" b="11608"/>
          <a:stretch>
            <a:fillRect/>
          </a:stretch>
        </p:blipFill>
        <p:spPr bwMode="auto">
          <a:xfrm>
            <a:off x="5238657" y="3662558"/>
            <a:ext cx="6810726" cy="3980774"/>
          </a:xfrm>
          <a:prstGeom prst="roundRect">
            <a:avLst>
              <a:gd name="adj" fmla="val 8936"/>
            </a:avLst>
          </a:prstGeom>
          <a:solidFill>
            <a:schemeClr val="bg2"/>
          </a:solidFill>
          <a:ln>
            <a:noFill/>
          </a:ln>
        </p:spPr>
      </p:pic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0AB416B-B565-1F14-11DE-A27ACF074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997200"/>
            <a:ext cx="21492000" cy="1861407"/>
          </a:xfrm>
        </p:spPr>
        <p:txBody>
          <a:bodyPr/>
          <a:lstStyle/>
          <a:p>
            <a:r>
              <a:rPr lang="ru-RU" dirty="0"/>
              <a:t>Возможности рекламы на </a:t>
            </a:r>
            <a:r>
              <a:rPr lang="ru-RU" dirty="0" err="1"/>
              <a:t>C</a:t>
            </a:r>
            <a:r>
              <a:rPr lang="en-US" dirty="0" err="1"/>
              <a:t>onnected</a:t>
            </a:r>
            <a:r>
              <a:rPr lang="en-US" dirty="0"/>
              <a:t> TV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через Яндекс Директ </a:t>
            </a:r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02697F9C-4EB8-AB44-DE9A-0D91314C053B}"/>
              </a:ext>
            </a:extLst>
          </p:cNvPr>
          <p:cNvSpPr/>
          <p:nvPr/>
        </p:nvSpPr>
        <p:spPr>
          <a:xfrm>
            <a:off x="12360450" y="3677797"/>
            <a:ext cx="10572576" cy="3938979"/>
          </a:xfrm>
          <a:prstGeom prst="roundRect">
            <a:avLst>
              <a:gd name="adj" fmla="val 639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A0AFC8"/>
              </a:solidFill>
              <a:latin typeface="YS Text Regular"/>
              <a:sym typeface="Arial"/>
            </a:endParaRPr>
          </a:p>
        </p:txBody>
      </p:sp>
      <p:sp>
        <p:nvSpPr>
          <p:cNvPr id="13" name="Google Shape;489;p53">
            <a:extLst>
              <a:ext uri="{FF2B5EF4-FFF2-40B4-BE49-F238E27FC236}">
                <a16:creationId xmlns:a16="http://schemas.microsoft.com/office/drawing/2014/main" id="{C5CE3F97-B354-93CA-53BB-D0B29502761D}"/>
              </a:ext>
            </a:extLst>
          </p:cNvPr>
          <p:cNvSpPr txBox="1"/>
          <p:nvPr/>
        </p:nvSpPr>
        <p:spPr>
          <a:xfrm>
            <a:off x="12827764" y="4077121"/>
            <a:ext cx="9590302" cy="1300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5" defTabSz="1507697" fontAlgn="ctr">
              <a:spcAft>
                <a:spcPts val="1484"/>
              </a:spcAft>
              <a:buClr>
                <a:srgbClr val="4B3CFF"/>
              </a:buClr>
              <a:buSzPct val="75000"/>
              <a:defRPr/>
            </a:pPr>
            <a:r>
              <a:rPr lang="ru-RU" sz="3600" dirty="0">
                <a:solidFill>
                  <a:srgbClr val="FFFFFF"/>
                </a:solidFill>
                <a:latin typeface="YS Text Medium" pitchFamily="2" charset="-52"/>
              </a:rPr>
              <a:t>Умная оптимизация показов </a:t>
            </a:r>
            <a:br>
              <a:rPr lang="en-US" sz="3600" dirty="0">
                <a:solidFill>
                  <a:srgbClr val="FFFFFF"/>
                </a:solidFill>
                <a:latin typeface="YS Text Medium" pitchFamily="2" charset="-52"/>
              </a:rPr>
            </a:br>
            <a:r>
              <a:rPr lang="ru-RU" sz="3600" dirty="0">
                <a:solidFill>
                  <a:srgbClr val="FFFFFF"/>
                </a:solidFill>
                <a:latin typeface="YS Text Medium" pitchFamily="2" charset="-52"/>
              </a:rPr>
              <a:t>с помощью стратегий</a:t>
            </a:r>
          </a:p>
        </p:txBody>
      </p:sp>
      <p:sp>
        <p:nvSpPr>
          <p:cNvPr id="14" name="Скругленный прямоугольник 22">
            <a:extLst>
              <a:ext uri="{FF2B5EF4-FFF2-40B4-BE49-F238E27FC236}">
                <a16:creationId xmlns:a16="http://schemas.microsoft.com/office/drawing/2014/main" id="{12A68EA3-3C60-5216-CDD9-569533CB168E}"/>
              </a:ext>
            </a:extLst>
          </p:cNvPr>
          <p:cNvSpPr/>
          <p:nvPr/>
        </p:nvSpPr>
        <p:spPr>
          <a:xfrm>
            <a:off x="12861011" y="5499122"/>
            <a:ext cx="4249162" cy="717490"/>
          </a:xfrm>
          <a:prstGeom prst="roundRect">
            <a:avLst>
              <a:gd name="adj" fmla="val 21239"/>
            </a:avLst>
          </a:prstGeom>
          <a:noFill/>
          <a:ln w="15875">
            <a:solidFill>
              <a:srgbClr val="B4C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6943">
              <a:lnSpc>
                <a:spcPct val="104000"/>
              </a:lnSpc>
              <a:spcAft>
                <a:spcPts val="1980"/>
              </a:spcAft>
              <a:defRPr/>
            </a:pPr>
            <a:r>
              <a:rPr lang="ru-RU" sz="2400" dirty="0">
                <a:solidFill>
                  <a:srgbClr val="B4C3FF"/>
                </a:solidFill>
                <a:latin typeface="YS Text Regular"/>
                <a:sym typeface="Arial"/>
              </a:rPr>
              <a:t>«Рост целевых действий»</a:t>
            </a:r>
          </a:p>
        </p:txBody>
      </p:sp>
      <p:sp>
        <p:nvSpPr>
          <p:cNvPr id="15" name="Скругленный прямоугольник 26">
            <a:extLst>
              <a:ext uri="{FF2B5EF4-FFF2-40B4-BE49-F238E27FC236}">
                <a16:creationId xmlns:a16="http://schemas.microsoft.com/office/drawing/2014/main" id="{DCBDB9C4-742A-F9B4-3712-EA85F31331E4}"/>
              </a:ext>
            </a:extLst>
          </p:cNvPr>
          <p:cNvSpPr/>
          <p:nvPr/>
        </p:nvSpPr>
        <p:spPr>
          <a:xfrm>
            <a:off x="12861011" y="6417546"/>
            <a:ext cx="4249162" cy="717490"/>
          </a:xfrm>
          <a:prstGeom prst="roundRect">
            <a:avLst>
              <a:gd name="adj" fmla="val 21239"/>
            </a:avLst>
          </a:prstGeom>
          <a:noFill/>
          <a:ln w="15875">
            <a:solidFill>
              <a:srgbClr val="B4C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6943">
              <a:lnSpc>
                <a:spcPct val="104000"/>
              </a:lnSpc>
              <a:spcAft>
                <a:spcPts val="1980"/>
              </a:spcAft>
              <a:defRPr/>
            </a:pPr>
            <a:r>
              <a:rPr lang="ru-RU" sz="2400" dirty="0">
                <a:solidFill>
                  <a:srgbClr val="B4C3FF"/>
                </a:solidFill>
                <a:latin typeface="YS Text Regular"/>
                <a:sym typeface="Arial"/>
              </a:rPr>
              <a:t>«Рост запросов в поиске»</a:t>
            </a:r>
          </a:p>
        </p:txBody>
      </p:sp>
      <p:sp>
        <p:nvSpPr>
          <p:cNvPr id="16" name="Скругленный прямоугольник 28">
            <a:extLst>
              <a:ext uri="{FF2B5EF4-FFF2-40B4-BE49-F238E27FC236}">
                <a16:creationId xmlns:a16="http://schemas.microsoft.com/office/drawing/2014/main" id="{640B08DB-5052-9C5C-4676-312FE6D8408E}"/>
              </a:ext>
            </a:extLst>
          </p:cNvPr>
          <p:cNvSpPr/>
          <p:nvPr/>
        </p:nvSpPr>
        <p:spPr>
          <a:xfrm>
            <a:off x="17268672" y="5499122"/>
            <a:ext cx="4513132" cy="717490"/>
          </a:xfrm>
          <a:prstGeom prst="roundRect">
            <a:avLst>
              <a:gd name="adj" fmla="val 21239"/>
            </a:avLst>
          </a:prstGeom>
          <a:noFill/>
          <a:ln w="15875">
            <a:solidFill>
              <a:srgbClr val="B4C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6943">
              <a:lnSpc>
                <a:spcPct val="104000"/>
              </a:lnSpc>
              <a:spcAft>
                <a:spcPts val="1980"/>
              </a:spcAft>
              <a:defRPr/>
            </a:pPr>
            <a:r>
              <a:rPr lang="ru-RU" sz="2400" dirty="0">
                <a:solidFill>
                  <a:srgbClr val="B4C3FF"/>
                </a:solidFill>
                <a:latin typeface="YS Text Regular"/>
                <a:sym typeface="Arial"/>
              </a:rPr>
              <a:t>«Рост брендовых метрик»</a:t>
            </a:r>
            <a:r>
              <a:rPr lang="el-GR" sz="2400" baseline="30000" dirty="0">
                <a:solidFill>
                  <a:srgbClr val="B4C3FF"/>
                </a:solidFill>
                <a:sym typeface="Arial"/>
              </a:rPr>
              <a:t>β</a:t>
            </a:r>
          </a:p>
        </p:txBody>
      </p:sp>
      <p:sp>
        <p:nvSpPr>
          <p:cNvPr id="17" name="Скругленный прямоугольник 30">
            <a:extLst>
              <a:ext uri="{FF2B5EF4-FFF2-40B4-BE49-F238E27FC236}">
                <a16:creationId xmlns:a16="http://schemas.microsoft.com/office/drawing/2014/main" id="{A7132E29-7BDD-622C-376E-41F95046B9BF}"/>
              </a:ext>
            </a:extLst>
          </p:cNvPr>
          <p:cNvSpPr/>
          <p:nvPr/>
        </p:nvSpPr>
        <p:spPr>
          <a:xfrm>
            <a:off x="17268673" y="6384117"/>
            <a:ext cx="3979035" cy="717490"/>
          </a:xfrm>
          <a:prstGeom prst="roundRect">
            <a:avLst>
              <a:gd name="adj" fmla="val 21239"/>
            </a:avLst>
          </a:prstGeom>
          <a:noFill/>
          <a:ln w="15875">
            <a:solidFill>
              <a:srgbClr val="B4C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6943">
              <a:lnSpc>
                <a:spcPct val="104000"/>
              </a:lnSpc>
              <a:spcAft>
                <a:spcPts val="1980"/>
              </a:spcAft>
              <a:defRPr/>
            </a:pPr>
            <a:r>
              <a:rPr lang="ru-RU" sz="2400" dirty="0">
                <a:solidFill>
                  <a:srgbClr val="B4C3FF"/>
                </a:solidFill>
                <a:latin typeface="YS Text Regular"/>
                <a:sym typeface="Arial"/>
              </a:rPr>
              <a:t>«Рост визитов на сайт»</a:t>
            </a:r>
            <a:endParaRPr lang="el-GR" sz="2400" dirty="0">
              <a:solidFill>
                <a:srgbClr val="B4C3FF"/>
              </a:solidFill>
              <a:sym typeface="Arial"/>
            </a:endParaRPr>
          </a:p>
        </p:txBody>
      </p:sp>
      <p:sp>
        <p:nvSpPr>
          <p:cNvPr id="6" name="Скругленный прямоугольник 12">
            <a:extLst>
              <a:ext uri="{FF2B5EF4-FFF2-40B4-BE49-F238E27FC236}">
                <a16:creationId xmlns:a16="http://schemas.microsoft.com/office/drawing/2014/main" id="{943FD015-8F70-52E0-DEA2-5AD94700CA4D}"/>
              </a:ext>
            </a:extLst>
          </p:cNvPr>
          <p:cNvSpPr/>
          <p:nvPr/>
        </p:nvSpPr>
        <p:spPr>
          <a:xfrm>
            <a:off x="1476899" y="3662557"/>
            <a:ext cx="10545065" cy="3980775"/>
          </a:xfrm>
          <a:prstGeom prst="roundRect">
            <a:avLst>
              <a:gd name="adj" fmla="val 7415"/>
            </a:avLst>
          </a:prstGeom>
          <a:gradFill flip="none" rotWithShape="1">
            <a:gsLst>
              <a:gs pos="48000">
                <a:srgbClr val="1D2333"/>
              </a:gs>
              <a:gs pos="91000">
                <a:srgbClr val="25314B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A0AFC8"/>
              </a:solidFill>
              <a:latin typeface="YS Text Regular"/>
              <a:sym typeface="Arial"/>
            </a:endParaRPr>
          </a:p>
        </p:txBody>
      </p:sp>
      <p:sp>
        <p:nvSpPr>
          <p:cNvPr id="7" name="Google Shape;489;p53">
            <a:extLst>
              <a:ext uri="{FF2B5EF4-FFF2-40B4-BE49-F238E27FC236}">
                <a16:creationId xmlns:a16="http://schemas.microsoft.com/office/drawing/2014/main" id="{7B7A2E9C-B219-7817-0E5E-AB6F0ADB2EFB}"/>
              </a:ext>
            </a:extLst>
          </p:cNvPr>
          <p:cNvSpPr txBox="1"/>
          <p:nvPr/>
        </p:nvSpPr>
        <p:spPr>
          <a:xfrm>
            <a:off x="1994983" y="4092897"/>
            <a:ext cx="8369174" cy="1300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5" defTabSz="1507697" fontAlgn="ctr">
              <a:spcAft>
                <a:spcPts val="1484"/>
              </a:spcAft>
              <a:buClr>
                <a:srgbClr val="4B3CFF"/>
              </a:buClr>
              <a:buSzPct val="75000"/>
              <a:defRPr/>
            </a:pPr>
            <a:r>
              <a:rPr lang="ru-RU" sz="3600" dirty="0">
                <a:solidFill>
                  <a:srgbClr val="FFFFFF"/>
                </a:solidFill>
                <a:latin typeface="YS Text Medium" pitchFamily="2" charset="-52"/>
              </a:rPr>
              <a:t>Широкие возможности таргетирования видеорекламы</a:t>
            </a:r>
          </a:p>
        </p:txBody>
      </p:sp>
      <p:sp>
        <p:nvSpPr>
          <p:cNvPr id="8" name="Google Shape;489;p53">
            <a:extLst>
              <a:ext uri="{FF2B5EF4-FFF2-40B4-BE49-F238E27FC236}">
                <a16:creationId xmlns:a16="http://schemas.microsoft.com/office/drawing/2014/main" id="{E93EA82A-D923-D022-BE58-18758D93F8B5}"/>
              </a:ext>
            </a:extLst>
          </p:cNvPr>
          <p:cNvSpPr txBox="1"/>
          <p:nvPr/>
        </p:nvSpPr>
        <p:spPr>
          <a:xfrm>
            <a:off x="5170129" y="5485491"/>
            <a:ext cx="4391686" cy="1690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26486" lvl="7" indent="-326486" defTabSz="1507697" fontAlgn="ctr">
              <a:lnSpc>
                <a:spcPct val="104000"/>
              </a:lnSpc>
              <a:spcAft>
                <a:spcPts val="6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/>
            </a:pPr>
            <a:r>
              <a:rPr lang="ru-RU" sz="2400" dirty="0">
                <a:solidFill>
                  <a:srgbClr val="A0AFC8"/>
                </a:solidFill>
                <a:latin typeface="YS Text Regular"/>
              </a:rPr>
              <a:t>Сегменты Яндекс Аудиторий </a:t>
            </a:r>
          </a:p>
          <a:p>
            <a:pPr marL="326486" lvl="7" indent="-326486" defTabSz="1507697" fontAlgn="ctr">
              <a:lnSpc>
                <a:spcPct val="104000"/>
              </a:lnSpc>
              <a:spcAft>
                <a:spcPts val="6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/>
            </a:pPr>
            <a:r>
              <a:rPr lang="ru-RU" sz="2400" dirty="0">
                <a:solidFill>
                  <a:srgbClr val="A0AFC8"/>
                </a:solidFill>
                <a:latin typeface="YS Text Regular"/>
              </a:rPr>
              <a:t>Различные сценарии ретаргетинга</a:t>
            </a:r>
          </a:p>
        </p:txBody>
      </p:sp>
      <p:sp>
        <p:nvSpPr>
          <p:cNvPr id="27" name="Google Shape;489;p53">
            <a:extLst>
              <a:ext uri="{FF2B5EF4-FFF2-40B4-BE49-F238E27FC236}">
                <a16:creationId xmlns:a16="http://schemas.microsoft.com/office/drawing/2014/main" id="{37819E97-4CB8-45AD-8389-BD6A6940DFF5}"/>
              </a:ext>
            </a:extLst>
          </p:cNvPr>
          <p:cNvSpPr txBox="1"/>
          <p:nvPr/>
        </p:nvSpPr>
        <p:spPr>
          <a:xfrm>
            <a:off x="1994983" y="5485491"/>
            <a:ext cx="3621464" cy="1844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26486" lvl="7" indent="-326486" defTabSz="1507697" fontAlgn="ctr">
              <a:lnSpc>
                <a:spcPct val="104000"/>
              </a:lnSpc>
              <a:spcAft>
                <a:spcPts val="6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/>
            </a:pPr>
            <a:r>
              <a:rPr lang="ru-RU" sz="2400" dirty="0">
                <a:solidFill>
                  <a:srgbClr val="A0AFC8"/>
                </a:solidFill>
                <a:latin typeface="YS Text Regular"/>
              </a:rPr>
              <a:t>География</a:t>
            </a:r>
          </a:p>
          <a:p>
            <a:pPr marL="326486" lvl="7" indent="-326486" defTabSz="1507697" fontAlgn="ctr">
              <a:lnSpc>
                <a:spcPct val="104000"/>
              </a:lnSpc>
              <a:spcAft>
                <a:spcPts val="6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/>
            </a:pPr>
            <a:r>
              <a:rPr lang="ru-RU" sz="2400" dirty="0">
                <a:solidFill>
                  <a:srgbClr val="A0AFC8"/>
                </a:solidFill>
                <a:latin typeface="YS Text Regular"/>
              </a:rPr>
              <a:t>Соцдем</a:t>
            </a:r>
          </a:p>
          <a:p>
            <a:pPr marL="326486" lvl="7" indent="-326486" defTabSz="1507697" fontAlgn="ctr">
              <a:lnSpc>
                <a:spcPct val="104000"/>
              </a:lnSpc>
              <a:spcAft>
                <a:spcPts val="6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/>
            </a:pPr>
            <a:r>
              <a:rPr lang="ru-RU" sz="2400" dirty="0">
                <a:solidFill>
                  <a:srgbClr val="A0AFC8"/>
                </a:solidFill>
                <a:latin typeface="YS Text Regular"/>
              </a:rPr>
              <a:t>Интересы</a:t>
            </a:r>
          </a:p>
          <a:p>
            <a:pPr marL="326486" lvl="7" indent="-326486" defTabSz="1507697" fontAlgn="ctr">
              <a:lnSpc>
                <a:spcPct val="104000"/>
              </a:lnSpc>
              <a:spcAft>
                <a:spcPts val="6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/>
            </a:pPr>
            <a:r>
              <a:rPr lang="ru-RU" sz="2400" dirty="0">
                <a:solidFill>
                  <a:srgbClr val="A0AFC8"/>
                </a:solidFill>
                <a:latin typeface="YS Text Regular"/>
              </a:rPr>
              <a:t>Тип контента</a:t>
            </a:r>
          </a:p>
        </p:txBody>
      </p:sp>
      <p:sp>
        <p:nvSpPr>
          <p:cNvPr id="4" name="Скругленный прямоугольник 7">
            <a:extLst>
              <a:ext uri="{FF2B5EF4-FFF2-40B4-BE49-F238E27FC236}">
                <a16:creationId xmlns:a16="http://schemas.microsoft.com/office/drawing/2014/main" id="{3B22E6FF-1D7B-35B6-DE11-45ACFF3E5586}"/>
              </a:ext>
            </a:extLst>
          </p:cNvPr>
          <p:cNvSpPr/>
          <p:nvPr/>
        </p:nvSpPr>
        <p:spPr>
          <a:xfrm>
            <a:off x="12360451" y="7941404"/>
            <a:ext cx="10581962" cy="3938979"/>
          </a:xfrm>
          <a:prstGeom prst="roundRect">
            <a:avLst>
              <a:gd name="adj" fmla="val 966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A0AFC8"/>
              </a:solidFill>
              <a:latin typeface="YS Text Regular"/>
              <a:sym typeface="Arial"/>
            </a:endParaRPr>
          </a:p>
        </p:txBody>
      </p:sp>
      <p:sp>
        <p:nvSpPr>
          <p:cNvPr id="9" name="Google Shape;489;p53">
            <a:extLst>
              <a:ext uri="{FF2B5EF4-FFF2-40B4-BE49-F238E27FC236}">
                <a16:creationId xmlns:a16="http://schemas.microsoft.com/office/drawing/2014/main" id="{9EDAC1F3-8528-4519-690D-CB6DC168E3E4}"/>
              </a:ext>
            </a:extLst>
          </p:cNvPr>
          <p:cNvSpPr txBox="1"/>
          <p:nvPr/>
        </p:nvSpPr>
        <p:spPr>
          <a:xfrm>
            <a:off x="12882043" y="8408162"/>
            <a:ext cx="8899762" cy="1300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5" defTabSz="1507697" fontAlgn="ctr">
              <a:spcAft>
                <a:spcPts val="1484"/>
              </a:spcAft>
              <a:buClr>
                <a:srgbClr val="4B3CFF"/>
              </a:buClr>
              <a:buSzPct val="75000"/>
              <a:defRPr/>
            </a:pPr>
            <a:r>
              <a:rPr lang="ru-RU" sz="3600" dirty="0">
                <a:solidFill>
                  <a:srgbClr val="FFFFFF"/>
                </a:solidFill>
                <a:latin typeface="YS Text Medium" pitchFamily="2" charset="-52"/>
              </a:rPr>
              <a:t>Прозрачная аналитика в кабинете Директа с помощью исследований</a:t>
            </a:r>
          </a:p>
        </p:txBody>
      </p:sp>
      <p:sp>
        <p:nvSpPr>
          <p:cNvPr id="10" name="Скругленный прямоугольник 34">
            <a:extLst>
              <a:ext uri="{FF2B5EF4-FFF2-40B4-BE49-F238E27FC236}">
                <a16:creationId xmlns:a16="http://schemas.microsoft.com/office/drawing/2014/main" id="{B358D850-A450-4194-9635-85E2B5B6FD4E}"/>
              </a:ext>
            </a:extLst>
          </p:cNvPr>
          <p:cNvSpPr/>
          <p:nvPr/>
        </p:nvSpPr>
        <p:spPr>
          <a:xfrm>
            <a:off x="12886131" y="9879372"/>
            <a:ext cx="1795716" cy="592967"/>
          </a:xfrm>
          <a:prstGeom prst="roundRect">
            <a:avLst>
              <a:gd name="adj" fmla="val 25700"/>
            </a:avLst>
          </a:prstGeom>
          <a:noFill/>
          <a:ln w="15875">
            <a:solidFill>
              <a:srgbClr val="B4C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6943">
              <a:lnSpc>
                <a:spcPct val="104000"/>
              </a:lnSpc>
              <a:spcAft>
                <a:spcPts val="1980"/>
              </a:spcAft>
              <a:defRPr/>
            </a:pPr>
            <a:r>
              <a:rPr lang="en-US" sz="2400" dirty="0">
                <a:solidFill>
                  <a:srgbClr val="B4C3FF"/>
                </a:solidFill>
                <a:latin typeface="YS Text Regular"/>
                <a:sym typeface="Arial"/>
              </a:rPr>
              <a:t>Target Lift </a:t>
            </a:r>
          </a:p>
        </p:txBody>
      </p:sp>
      <p:sp>
        <p:nvSpPr>
          <p:cNvPr id="11" name="Скругленный прямоугольник 35">
            <a:extLst>
              <a:ext uri="{FF2B5EF4-FFF2-40B4-BE49-F238E27FC236}">
                <a16:creationId xmlns:a16="http://schemas.microsoft.com/office/drawing/2014/main" id="{8089A9FF-6132-0993-0346-F28720DEF1A1}"/>
              </a:ext>
            </a:extLst>
          </p:cNvPr>
          <p:cNvSpPr/>
          <p:nvPr/>
        </p:nvSpPr>
        <p:spPr>
          <a:xfrm>
            <a:off x="14834227" y="9879372"/>
            <a:ext cx="1723887" cy="592967"/>
          </a:xfrm>
          <a:prstGeom prst="roundRect">
            <a:avLst>
              <a:gd name="adj" fmla="val 25700"/>
            </a:avLst>
          </a:prstGeom>
          <a:noFill/>
          <a:ln w="15875">
            <a:solidFill>
              <a:srgbClr val="B4C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6943">
              <a:lnSpc>
                <a:spcPct val="104000"/>
              </a:lnSpc>
              <a:spcAft>
                <a:spcPts val="1980"/>
              </a:spcAft>
              <a:defRPr/>
            </a:pPr>
            <a:r>
              <a:rPr lang="en-US" sz="2400">
                <a:solidFill>
                  <a:srgbClr val="B4C3FF"/>
                </a:solidFill>
                <a:latin typeface="YS Text Regular"/>
                <a:sym typeface="Arial"/>
              </a:rPr>
              <a:t>Brand Lift </a:t>
            </a:r>
            <a:endParaRPr lang="en-US" sz="2400" dirty="0">
              <a:solidFill>
                <a:srgbClr val="B4C3FF"/>
              </a:solidFill>
              <a:latin typeface="YS Text Regular"/>
              <a:sym typeface="Arial"/>
            </a:endParaRPr>
          </a:p>
        </p:txBody>
      </p:sp>
      <p:sp>
        <p:nvSpPr>
          <p:cNvPr id="24" name="Скругленный прямоугольник 38">
            <a:extLst>
              <a:ext uri="{FF2B5EF4-FFF2-40B4-BE49-F238E27FC236}">
                <a16:creationId xmlns:a16="http://schemas.microsoft.com/office/drawing/2014/main" id="{42BFB08B-E46A-30A0-1514-29086D409274}"/>
              </a:ext>
            </a:extLst>
          </p:cNvPr>
          <p:cNvSpPr/>
          <p:nvPr/>
        </p:nvSpPr>
        <p:spPr>
          <a:xfrm>
            <a:off x="18371275" y="9879372"/>
            <a:ext cx="1831630" cy="592967"/>
          </a:xfrm>
          <a:prstGeom prst="roundRect">
            <a:avLst>
              <a:gd name="adj" fmla="val 25700"/>
            </a:avLst>
          </a:prstGeom>
          <a:noFill/>
          <a:ln w="15875">
            <a:solidFill>
              <a:srgbClr val="B4C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6943">
              <a:lnSpc>
                <a:spcPct val="104000"/>
              </a:lnSpc>
              <a:spcAft>
                <a:spcPts val="1980"/>
              </a:spcAft>
              <a:defRPr/>
            </a:pPr>
            <a:r>
              <a:rPr lang="en-US" sz="2400" dirty="0">
                <a:solidFill>
                  <a:srgbClr val="B4C3FF"/>
                </a:solidFill>
                <a:latin typeface="YS Text Regular"/>
                <a:sym typeface="Arial"/>
              </a:rPr>
              <a:t>Search Lift </a:t>
            </a:r>
          </a:p>
        </p:txBody>
      </p:sp>
      <p:sp>
        <p:nvSpPr>
          <p:cNvPr id="25" name="Скругленный прямоугольник 39">
            <a:extLst>
              <a:ext uri="{FF2B5EF4-FFF2-40B4-BE49-F238E27FC236}">
                <a16:creationId xmlns:a16="http://schemas.microsoft.com/office/drawing/2014/main" id="{1A164401-B32A-3225-809C-D7AE26155EC4}"/>
              </a:ext>
            </a:extLst>
          </p:cNvPr>
          <p:cNvSpPr/>
          <p:nvPr/>
        </p:nvSpPr>
        <p:spPr>
          <a:xfrm>
            <a:off x="16710494" y="9879372"/>
            <a:ext cx="1508401" cy="592967"/>
          </a:xfrm>
          <a:prstGeom prst="roundRect">
            <a:avLst>
              <a:gd name="adj" fmla="val 25700"/>
            </a:avLst>
          </a:prstGeom>
          <a:noFill/>
          <a:ln w="15875">
            <a:solidFill>
              <a:srgbClr val="B4C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6943">
              <a:lnSpc>
                <a:spcPct val="104000"/>
              </a:lnSpc>
              <a:spcAft>
                <a:spcPts val="1980"/>
              </a:spcAft>
              <a:defRPr/>
            </a:pPr>
            <a:r>
              <a:rPr lang="en-US" sz="2400">
                <a:solidFill>
                  <a:srgbClr val="B4C3FF"/>
                </a:solidFill>
                <a:latin typeface="YS Text Regular"/>
                <a:sym typeface="Arial"/>
              </a:rPr>
              <a:t>Visit Lift </a:t>
            </a:r>
            <a:endParaRPr lang="en-US" sz="2400" dirty="0">
              <a:solidFill>
                <a:srgbClr val="B4C3FF"/>
              </a:solidFill>
              <a:latin typeface="YS Text Regular"/>
              <a:sym typeface="Arial"/>
            </a:endParaRPr>
          </a:p>
        </p:txBody>
      </p:sp>
      <p:sp>
        <p:nvSpPr>
          <p:cNvPr id="33" name="Скругленный прямоугольник 7">
            <a:extLst>
              <a:ext uri="{FF2B5EF4-FFF2-40B4-BE49-F238E27FC236}">
                <a16:creationId xmlns:a16="http://schemas.microsoft.com/office/drawing/2014/main" id="{BA9EBC1A-003A-3C99-E4E8-3969C0FA84DE}"/>
              </a:ext>
            </a:extLst>
          </p:cNvPr>
          <p:cNvSpPr/>
          <p:nvPr/>
        </p:nvSpPr>
        <p:spPr>
          <a:xfrm>
            <a:off x="1440001" y="7941404"/>
            <a:ext cx="10609382" cy="3938979"/>
          </a:xfrm>
          <a:prstGeom prst="roundRect">
            <a:avLst>
              <a:gd name="adj" fmla="val 9688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A0AFC8"/>
              </a:solidFill>
              <a:latin typeface="YS Text Regular"/>
              <a:sym typeface="Arial"/>
            </a:endParaRPr>
          </a:p>
        </p:txBody>
      </p:sp>
      <p:sp>
        <p:nvSpPr>
          <p:cNvPr id="38" name="Google Shape;489;p53">
            <a:extLst>
              <a:ext uri="{FF2B5EF4-FFF2-40B4-BE49-F238E27FC236}">
                <a16:creationId xmlns:a16="http://schemas.microsoft.com/office/drawing/2014/main" id="{24185F4C-140D-05F7-DB8C-7E87160FF6AC}"/>
              </a:ext>
            </a:extLst>
          </p:cNvPr>
          <p:cNvSpPr txBox="1"/>
          <p:nvPr/>
        </p:nvSpPr>
        <p:spPr>
          <a:xfrm>
            <a:off x="1961592" y="8416375"/>
            <a:ext cx="8744696" cy="746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5" defTabSz="1507697" fontAlgn="ctr">
              <a:spcAft>
                <a:spcPts val="1484"/>
              </a:spcAft>
              <a:buClr>
                <a:srgbClr val="4B3CFF"/>
              </a:buClr>
              <a:buSzPct val="75000"/>
              <a:defRPr/>
            </a:pPr>
            <a:r>
              <a:rPr lang="ru-RU" sz="3600" dirty="0">
                <a:solidFill>
                  <a:srgbClr val="FFFFFF"/>
                </a:solidFill>
                <a:latin typeface="YS Text Medium" pitchFamily="2" charset="-52"/>
              </a:rPr>
              <a:t>Технологии для качественных показов</a:t>
            </a:r>
          </a:p>
        </p:txBody>
      </p:sp>
      <p:sp>
        <p:nvSpPr>
          <p:cNvPr id="39" name="Google Shape;489;p53">
            <a:extLst>
              <a:ext uri="{FF2B5EF4-FFF2-40B4-BE49-F238E27FC236}">
                <a16:creationId xmlns:a16="http://schemas.microsoft.com/office/drawing/2014/main" id="{3E59B1C1-A362-2B3F-65A7-33A99DFD02D6}"/>
              </a:ext>
            </a:extLst>
          </p:cNvPr>
          <p:cNvSpPr txBox="1"/>
          <p:nvPr/>
        </p:nvSpPr>
        <p:spPr>
          <a:xfrm>
            <a:off x="2022542" y="9273314"/>
            <a:ext cx="4096439" cy="922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26486" lvl="7" indent="-326486" defTabSz="1507697" fontAlgn="ctr">
              <a:lnSpc>
                <a:spcPct val="104000"/>
              </a:lnSpc>
              <a:spcAft>
                <a:spcPts val="6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/>
            </a:pPr>
            <a:r>
              <a:rPr lang="ru-RU" sz="2400" dirty="0">
                <a:solidFill>
                  <a:srgbClr val="A0AFC8"/>
                </a:solidFill>
                <a:latin typeface="YS Text Regular"/>
              </a:rPr>
              <a:t>100% </a:t>
            </a:r>
            <a:r>
              <a:rPr lang="ru-RU" sz="2400" dirty="0" err="1">
                <a:solidFill>
                  <a:srgbClr val="A0AFC8"/>
                </a:solidFill>
                <a:latin typeface="YS Text Regular"/>
              </a:rPr>
              <a:t>viewability</a:t>
            </a:r>
            <a:endParaRPr lang="ru-RU" sz="2400" dirty="0">
              <a:solidFill>
                <a:srgbClr val="A0AFC8"/>
              </a:solidFill>
              <a:latin typeface="YS Text Regular"/>
            </a:endParaRPr>
          </a:p>
          <a:p>
            <a:pPr marL="326486" lvl="7" indent="-326486" defTabSz="1507697" fontAlgn="ctr">
              <a:lnSpc>
                <a:spcPct val="104000"/>
              </a:lnSpc>
              <a:spcAft>
                <a:spcPts val="6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/>
            </a:pPr>
            <a:r>
              <a:rPr lang="ru-RU" sz="2400" dirty="0" err="1">
                <a:solidFill>
                  <a:srgbClr val="A0AFC8"/>
                </a:solidFill>
                <a:latin typeface="YS Text Regular"/>
              </a:rPr>
              <a:t>Антифрод</a:t>
            </a:r>
            <a:endParaRPr lang="ru-RU" sz="2400" dirty="0">
              <a:solidFill>
                <a:srgbClr val="A0AFC8"/>
              </a:solidFill>
              <a:latin typeface="YS Text Regular"/>
            </a:endParaRPr>
          </a:p>
        </p:txBody>
      </p:sp>
      <p:sp>
        <p:nvSpPr>
          <p:cNvPr id="40" name="Google Shape;489;p53">
            <a:extLst>
              <a:ext uri="{FF2B5EF4-FFF2-40B4-BE49-F238E27FC236}">
                <a16:creationId xmlns:a16="http://schemas.microsoft.com/office/drawing/2014/main" id="{A9C7FB03-6CA4-A46F-58C0-FAE093B203AD}"/>
              </a:ext>
            </a:extLst>
          </p:cNvPr>
          <p:cNvSpPr txBox="1"/>
          <p:nvPr/>
        </p:nvSpPr>
        <p:spPr>
          <a:xfrm>
            <a:off x="5511133" y="9273314"/>
            <a:ext cx="6080502" cy="845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26486" lvl="7" indent="-326486" defTabSz="1507697" fontAlgn="ctr">
              <a:lnSpc>
                <a:spcPct val="104000"/>
              </a:lnSpc>
              <a:spcAft>
                <a:spcPts val="6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/>
            </a:pPr>
            <a:r>
              <a:rPr lang="ru-RU" sz="2400" dirty="0">
                <a:solidFill>
                  <a:srgbClr val="A0AFC8"/>
                </a:solidFill>
                <a:latin typeface="YS Text Regular"/>
              </a:rPr>
              <a:t>Оценка качества показа по международному стандарту MRC </a:t>
            </a:r>
          </a:p>
        </p:txBody>
      </p:sp>
    </p:spTree>
    <p:extLst>
      <p:ext uri="{BB962C8B-B14F-4D97-AF65-F5344CB8AC3E}">
        <p14:creationId xmlns:p14="http://schemas.microsoft.com/office/powerpoint/2010/main" val="15750106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B2B74E-5249-FD74-D773-103F3A6A8E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8">
            <a:extLst>
              <a:ext uri="{FF2B5EF4-FFF2-40B4-BE49-F238E27FC236}">
                <a16:creationId xmlns:a16="http://schemas.microsoft.com/office/drawing/2014/main" id="{FF835307-C939-789F-5798-83785E92FE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226" t="1472" r="22116" b="1361"/>
          <a:stretch>
            <a:fillRect/>
          </a:stretch>
        </p:blipFill>
        <p:spPr bwMode="auto">
          <a:xfrm>
            <a:off x="6370320" y="-1"/>
            <a:ext cx="18012093" cy="9753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4970EF4-EF0B-9E14-3D85-D387793D497C}"/>
              </a:ext>
            </a:extLst>
          </p:cNvPr>
          <p:cNvSpPr/>
          <p:nvPr/>
        </p:nvSpPr>
        <p:spPr>
          <a:xfrm>
            <a:off x="-2" y="-1"/>
            <a:ext cx="20816889" cy="13716001"/>
          </a:xfrm>
          <a:prstGeom prst="rect">
            <a:avLst/>
          </a:prstGeom>
          <a:gradFill>
            <a:gsLst>
              <a:gs pos="5900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78AFA4C-A532-B55A-ED25-1094E5DA07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9863" y="996950"/>
            <a:ext cx="21491575" cy="4653518"/>
          </a:xfrm>
        </p:spPr>
        <p:txBody>
          <a:bodyPr wrap="square">
            <a:spAutoFit/>
          </a:bodyPr>
          <a:lstStyle/>
          <a:p>
            <a:r>
              <a:rPr lang="ru-RU" noProof="0" dirty="0"/>
              <a:t>Реклама на CTV-устройствах </a:t>
            </a:r>
            <a:br>
              <a:rPr lang="ru-RU" noProof="0" dirty="0"/>
            </a:br>
            <a:r>
              <a:rPr lang="ru-RU" noProof="0" dirty="0"/>
              <a:t>через Яндекс Директ </a:t>
            </a:r>
            <a:br>
              <a:rPr lang="ru-RU" noProof="0" dirty="0"/>
            </a:br>
            <a:r>
              <a:rPr lang="ru-RU" noProof="0" dirty="0"/>
              <a:t>растит интерес к бренду </a:t>
            </a:r>
            <a:br>
              <a:rPr lang="ru-RU" noProof="0" dirty="0"/>
            </a:br>
            <a:r>
              <a:rPr lang="ru-RU" noProof="0" dirty="0"/>
              <a:t>и помогает достигать </a:t>
            </a:r>
            <a:br>
              <a:rPr lang="ru-RU" noProof="0" dirty="0"/>
            </a:br>
            <a:r>
              <a:rPr lang="ru-RU" noProof="0" dirty="0"/>
              <a:t>целей бизнеса</a:t>
            </a:r>
            <a:endParaRPr lang="ru-RU" dirty="0"/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95878961-CA7C-BD9F-6D58-B28FC60F5ED5}"/>
              </a:ext>
            </a:extLst>
          </p:cNvPr>
          <p:cNvSpPr/>
          <p:nvPr/>
        </p:nvSpPr>
        <p:spPr>
          <a:xfrm>
            <a:off x="325688" y="7616825"/>
            <a:ext cx="23774400" cy="5791199"/>
          </a:xfrm>
          <a:prstGeom prst="roundRect">
            <a:avLst>
              <a:gd name="adj" fmla="val 42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9EEAB8-B904-1BF0-68E4-5F00CAF416EF}"/>
              </a:ext>
            </a:extLst>
          </p:cNvPr>
          <p:cNvSpPr txBox="1"/>
          <p:nvPr/>
        </p:nvSpPr>
        <p:spPr>
          <a:xfrm>
            <a:off x="1440000" y="10702030"/>
            <a:ext cx="537021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3pPr marL="0" marR="0" lvl="2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4D5566"/>
                </a:solidFill>
                <a:effectLst/>
                <a:uLnTx/>
                <a:uFillTx/>
                <a:latin typeface="YS Text Regular"/>
              </a:defRPr>
            </a:lvl3pPr>
          </a:lstStyle>
          <a:p>
            <a:pPr marR="0" lvl="2" indent="0" fontAlgn="auto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/>
            </a:pPr>
            <a:r>
              <a:rPr lang="ru-RU" sz="4000" dirty="0">
                <a:solidFill>
                  <a:schemeClr val="tx1"/>
                </a:solidFill>
                <a:latin typeface="+mn-lt"/>
              </a:rPr>
              <a:t>поисковых запросов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463251-FE5E-ED64-2AB9-015E3BB175D7}"/>
              </a:ext>
            </a:extLst>
          </p:cNvPr>
          <p:cNvSpPr txBox="1"/>
          <p:nvPr/>
        </p:nvSpPr>
        <p:spPr>
          <a:xfrm>
            <a:off x="1440000" y="8835387"/>
            <a:ext cx="5572038" cy="202690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R="0" lvl="0" indent="0" fontAlgn="auto">
              <a:lnSpc>
                <a:spcPct val="8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0" dirty="0">
                <a:solidFill>
                  <a:schemeClr val="bg1"/>
                </a:solidFill>
                <a:latin typeface="+mj-lt"/>
              </a:rPr>
              <a:t>+45%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364256A-E226-D9E4-B178-472401655869}"/>
              </a:ext>
            </a:extLst>
          </p:cNvPr>
          <p:cNvSpPr txBox="1"/>
          <p:nvPr/>
        </p:nvSpPr>
        <p:spPr>
          <a:xfrm>
            <a:off x="15694085" y="10702030"/>
            <a:ext cx="517549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3pPr marL="0" marR="0" lvl="2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4D5566"/>
                </a:solidFill>
                <a:effectLst/>
                <a:uLnTx/>
                <a:uFillTx/>
                <a:latin typeface="YS Text Regular"/>
              </a:defRPr>
            </a:lvl3pPr>
          </a:lstStyle>
          <a:p>
            <a:pPr marR="0" lvl="2" indent="0" fontAlgn="auto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Tx/>
              <a:buNone/>
              <a:tabLst/>
              <a:defRPr/>
            </a:pPr>
            <a:r>
              <a:rPr lang="ru-RU" sz="4000" dirty="0">
                <a:solidFill>
                  <a:schemeClr val="tx1"/>
                </a:solidFill>
                <a:latin typeface="+mn-lt"/>
              </a:rPr>
              <a:t>целевых действий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BB365D8-7C39-5539-89C3-53C5636D359A}"/>
              </a:ext>
            </a:extLst>
          </p:cNvPr>
          <p:cNvSpPr txBox="1"/>
          <p:nvPr/>
        </p:nvSpPr>
        <p:spPr>
          <a:xfrm>
            <a:off x="15694085" y="8835387"/>
            <a:ext cx="5450210" cy="202690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R="0" lvl="0" indent="0" fontAlgn="auto">
              <a:lnSpc>
                <a:spcPct val="8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0" dirty="0">
                <a:solidFill>
                  <a:schemeClr val="bg1"/>
                </a:solidFill>
                <a:latin typeface="+mj-lt"/>
              </a:rPr>
              <a:t>+37%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A34F6D7-4329-1194-A7EB-C4B65E8D6BA6}"/>
              </a:ext>
            </a:extLst>
          </p:cNvPr>
          <p:cNvSpPr txBox="1"/>
          <p:nvPr/>
        </p:nvSpPr>
        <p:spPr>
          <a:xfrm>
            <a:off x="8727695" y="10702030"/>
            <a:ext cx="537021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3pPr marL="0" marR="0" lvl="2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4D5566"/>
                </a:solidFill>
                <a:effectLst/>
                <a:uLnTx/>
                <a:uFillTx/>
                <a:latin typeface="YS Text Regular"/>
              </a:defRPr>
            </a:lvl3pPr>
          </a:lstStyle>
          <a:p>
            <a:pPr marR="0" lvl="2" indent="0" fontAlgn="auto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/>
            </a:pPr>
            <a:r>
              <a:rPr lang="ru-RU" sz="4000" dirty="0">
                <a:solidFill>
                  <a:schemeClr val="tx1"/>
                </a:solidFill>
                <a:latin typeface="+mn-lt"/>
              </a:rPr>
              <a:t>визитов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F50D57C-87DC-01C1-4A9B-63F62E32A51B}"/>
              </a:ext>
            </a:extLst>
          </p:cNvPr>
          <p:cNvSpPr txBox="1"/>
          <p:nvPr/>
        </p:nvSpPr>
        <p:spPr>
          <a:xfrm>
            <a:off x="8727695" y="8835387"/>
            <a:ext cx="5051063" cy="202690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R="0" lvl="0" indent="0" fontAlgn="auto">
              <a:lnSpc>
                <a:spcPct val="8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0" dirty="0">
                <a:solidFill>
                  <a:schemeClr val="bg1"/>
                </a:solidFill>
                <a:latin typeface="+mj-lt"/>
              </a:rPr>
              <a:t>+35%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0860A83-8F27-6108-CFE2-9E06E042B7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369600"/>
            <a:ext cx="19983600" cy="317972"/>
          </a:xfrm>
        </p:spPr>
        <p:txBody>
          <a:bodyPr vert="horz" wrap="square" lIns="0" tIns="0" rIns="0" bIns="0" rtlCol="0" anchor="b">
            <a:spAutoFit/>
          </a:bodyPr>
          <a:lstStyle/>
          <a:p>
            <a:r>
              <a:rPr lang="ru-RU" dirty="0"/>
              <a:t>Данные Яндекса, 2025 г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EF2DE87-8680-C41C-6F93-BEA26C870B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6" r="2698"/>
          <a:stretch>
            <a:fillRect/>
          </a:stretch>
        </p:blipFill>
        <p:spPr>
          <a:xfrm>
            <a:off x="16668749" y="2797736"/>
            <a:ext cx="5551474" cy="3171263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994ECEB-C051-D68C-1D0E-87F761A47BCA}"/>
              </a:ext>
            </a:extLst>
          </p:cNvPr>
          <p:cNvSpPr/>
          <p:nvPr/>
        </p:nvSpPr>
        <p:spPr>
          <a:xfrm>
            <a:off x="16672864" y="2797736"/>
            <a:ext cx="5547359" cy="3176344"/>
          </a:xfrm>
          <a:prstGeom prst="rect">
            <a:avLst/>
          </a:prstGeom>
          <a:gradFill>
            <a:gsLst>
              <a:gs pos="57000">
                <a:schemeClr val="tx2">
                  <a:alpha val="43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624493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9AC95B-AAA7-E8C7-E3F8-B69D4134D9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1EA05E90-9F42-2329-5143-9C9142826D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997200"/>
            <a:ext cx="21492000" cy="1861407"/>
          </a:xfrm>
        </p:spPr>
        <p:txBody>
          <a:bodyPr/>
          <a:lstStyle/>
          <a:p>
            <a:r>
              <a:rPr lang="ru-RU" dirty="0"/>
              <a:t>Рекламный рынок переживал </a:t>
            </a:r>
            <a:br>
              <a:rPr lang="ru-RU" dirty="0"/>
            </a:br>
            <a:r>
              <a:rPr lang="ru-RU" dirty="0">
                <a:solidFill>
                  <a:schemeClr val="accent3"/>
                </a:solidFill>
              </a:rPr>
              <a:t>несколько бумов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02768F4D-639A-0D63-DB1F-C75D01D794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58" r="23205" b="53872"/>
          <a:stretch>
            <a:fillRect/>
          </a:stretch>
        </p:blipFill>
        <p:spPr>
          <a:xfrm>
            <a:off x="794" y="448"/>
            <a:ext cx="24380827" cy="13715107"/>
          </a:xfrm>
          <a:prstGeom prst="rect">
            <a:avLst/>
          </a:prstGeom>
        </p:spPr>
      </p:pic>
      <p:sp>
        <p:nvSpPr>
          <p:cNvPr id="40" name="Номер слайда 1">
            <a:extLst>
              <a:ext uri="{FF2B5EF4-FFF2-40B4-BE49-F238E27FC236}">
                <a16:creationId xmlns:a16="http://schemas.microsoft.com/office/drawing/2014/main" id="{B4F32F5D-774D-14F9-2C71-461CBB4EA216}"/>
              </a:ext>
            </a:extLst>
          </p:cNvPr>
          <p:cNvSpPr txBox="1">
            <a:spLocks/>
          </p:cNvSpPr>
          <p:nvPr/>
        </p:nvSpPr>
        <p:spPr>
          <a:xfrm>
            <a:off x="11319418" y="6105346"/>
            <a:ext cx="141064" cy="3179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lnSpc>
                <a:spcPct val="110000"/>
              </a:lnSpc>
              <a:defRPr sz="2000" kern="1200">
                <a:solidFill>
                  <a:srgbClr val="46557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77">
              <a:defRPr/>
            </a:pPr>
            <a:fld id="{C5DCFC4D-081A-CE4F-B123-E4DFE073E6C8}" type="slidenum">
              <a:rPr lang="ru-RU" smtClean="0">
                <a:latin typeface="YS Text Regular"/>
              </a:rPr>
              <a:pPr defTabSz="457177">
                <a:defRPr/>
              </a:pPr>
              <a:t>2</a:t>
            </a:fld>
            <a:endParaRPr lang="ru-RU" dirty="0">
              <a:latin typeface="YS Text Regular"/>
            </a:endParaRPr>
          </a:p>
        </p:txBody>
      </p:sp>
      <p:sp>
        <p:nvSpPr>
          <p:cNvPr id="41" name="Рисунок 7">
            <a:extLst>
              <a:ext uri="{FF2B5EF4-FFF2-40B4-BE49-F238E27FC236}">
                <a16:creationId xmlns:a16="http://schemas.microsoft.com/office/drawing/2014/main" id="{784EAF0F-80F3-AA58-16DF-BF714BBB04E2}"/>
              </a:ext>
            </a:extLst>
          </p:cNvPr>
          <p:cNvSpPr/>
          <p:nvPr/>
        </p:nvSpPr>
        <p:spPr>
          <a:xfrm>
            <a:off x="-259909" y="4100742"/>
            <a:ext cx="25736872" cy="10992480"/>
          </a:xfrm>
          <a:custGeom>
            <a:avLst/>
            <a:gdLst>
              <a:gd name="csX0" fmla="*/ 506445 w 24478182"/>
              <a:gd name="csY0" fmla="*/ 8752612 h 10522803"/>
              <a:gd name="csX1" fmla="*/ 0 w 24478182"/>
              <a:gd name="csY1" fmla="*/ 9609609 h 10522803"/>
              <a:gd name="csX2" fmla="*/ 0 w 24478182"/>
              <a:gd name="csY2" fmla="*/ 10522803 h 10522803"/>
              <a:gd name="csX3" fmla="*/ 24478182 w 24478182"/>
              <a:gd name="csY3" fmla="*/ 10522803 h 10522803"/>
              <a:gd name="csX4" fmla="*/ 24478182 w 24478182"/>
              <a:gd name="csY4" fmla="*/ 0 h 10522803"/>
              <a:gd name="csX5" fmla="*/ 22719692 w 24478182"/>
              <a:gd name="csY5" fmla="*/ 779727 h 10522803"/>
              <a:gd name="csX6" fmla="*/ 21404342 w 24478182"/>
              <a:gd name="csY6" fmla="*/ 1376815 h 10522803"/>
              <a:gd name="csX7" fmla="*/ 20743150 w 24478182"/>
              <a:gd name="csY7" fmla="*/ 1692921 h 10522803"/>
              <a:gd name="csX8" fmla="*/ 19723224 w 24478182"/>
              <a:gd name="csY8" fmla="*/ 2121420 h 10522803"/>
              <a:gd name="csX9" fmla="*/ 19392628 w 24478182"/>
              <a:gd name="csY9" fmla="*/ 2268936 h 10522803"/>
              <a:gd name="csX10" fmla="*/ 18668130 w 24478182"/>
              <a:gd name="csY10" fmla="*/ 2282985 h 10522803"/>
              <a:gd name="csX11" fmla="*/ 18112448 w 24478182"/>
              <a:gd name="csY11" fmla="*/ 2282985 h 10522803"/>
              <a:gd name="csX12" fmla="*/ 17978802 w 24478182"/>
              <a:gd name="csY12" fmla="*/ 2226788 h 10522803"/>
              <a:gd name="csX13" fmla="*/ 17795920 w 24478182"/>
              <a:gd name="csY13" fmla="*/ 2142493 h 10522803"/>
              <a:gd name="csX14" fmla="*/ 17676342 w 24478182"/>
              <a:gd name="csY14" fmla="*/ 1973904 h 10522803"/>
              <a:gd name="csX15" fmla="*/ 17352780 w 24478182"/>
              <a:gd name="csY15" fmla="*/ 1496233 h 10522803"/>
              <a:gd name="csX16" fmla="*/ 17141762 w 24478182"/>
              <a:gd name="csY16" fmla="*/ 1166078 h 10522803"/>
              <a:gd name="csX17" fmla="*/ 16923708 w 24478182"/>
              <a:gd name="csY17" fmla="*/ 835924 h 10522803"/>
              <a:gd name="csX18" fmla="*/ 16705656 w 24478182"/>
              <a:gd name="csY18" fmla="*/ 554941 h 10522803"/>
              <a:gd name="csX19" fmla="*/ 16522773 w 24478182"/>
              <a:gd name="csY19" fmla="*/ 463622 h 10522803"/>
              <a:gd name="csX20" fmla="*/ 16368026 w 24478182"/>
              <a:gd name="csY20" fmla="*/ 442548 h 10522803"/>
              <a:gd name="csX21" fmla="*/ 16171075 w 24478182"/>
              <a:gd name="csY21" fmla="*/ 463622 h 10522803"/>
              <a:gd name="csX22" fmla="*/ 15882682 w 24478182"/>
              <a:gd name="csY22" fmla="*/ 618162 h 10522803"/>
              <a:gd name="csX23" fmla="*/ 14904962 w 24478182"/>
              <a:gd name="csY23" fmla="*/ 1166078 h 10522803"/>
              <a:gd name="csX24" fmla="*/ 13990547 w 24478182"/>
              <a:gd name="csY24" fmla="*/ 1678872 h 10522803"/>
              <a:gd name="csX25" fmla="*/ 13702155 w 24478182"/>
              <a:gd name="csY25" fmla="*/ 1826388 h 10522803"/>
              <a:gd name="csX26" fmla="*/ 13540374 w 24478182"/>
              <a:gd name="csY26" fmla="*/ 1868535 h 10522803"/>
              <a:gd name="csX27" fmla="*/ 11901461 w 24478182"/>
              <a:gd name="csY27" fmla="*/ 1868535 h 10522803"/>
              <a:gd name="csX28" fmla="*/ 11409084 w 24478182"/>
              <a:gd name="csY28" fmla="*/ 1868535 h 10522803"/>
              <a:gd name="csX29" fmla="*/ 11043318 w 24478182"/>
              <a:gd name="csY29" fmla="*/ 1896633 h 10522803"/>
              <a:gd name="csX30" fmla="*/ 10783061 w 24478182"/>
              <a:gd name="csY30" fmla="*/ 2023076 h 10522803"/>
              <a:gd name="csX31" fmla="*/ 9826443 w 24478182"/>
              <a:gd name="csY31" fmla="*/ 2507771 h 10522803"/>
              <a:gd name="csX32" fmla="*/ 8553296 w 24478182"/>
              <a:gd name="csY32" fmla="*/ 3168080 h 10522803"/>
              <a:gd name="csX33" fmla="*/ 8222700 w 24478182"/>
              <a:gd name="csY33" fmla="*/ 3315596 h 10522803"/>
              <a:gd name="csX34" fmla="*/ 7568542 w 24478182"/>
              <a:gd name="csY34" fmla="*/ 3315596 h 10522803"/>
              <a:gd name="csX35" fmla="*/ 7111334 w 24478182"/>
              <a:gd name="csY35" fmla="*/ 3315596 h 10522803"/>
              <a:gd name="csX36" fmla="*/ 6942519 w 24478182"/>
              <a:gd name="csY36" fmla="*/ 3371793 h 10522803"/>
              <a:gd name="csX37" fmla="*/ 6759636 w 24478182"/>
              <a:gd name="csY37" fmla="*/ 3533358 h 10522803"/>
              <a:gd name="csX38" fmla="*/ 6414972 w 24478182"/>
              <a:gd name="csY38" fmla="*/ 4095323 h 10522803"/>
              <a:gd name="csX39" fmla="*/ 6281327 w 24478182"/>
              <a:gd name="csY39" fmla="*/ 4362257 h 10522803"/>
              <a:gd name="csX40" fmla="*/ 6063274 w 24478182"/>
              <a:gd name="csY40" fmla="*/ 4544896 h 10522803"/>
              <a:gd name="csX41" fmla="*/ 5795984 w 24478182"/>
              <a:gd name="csY41" fmla="*/ 4601092 h 10522803"/>
              <a:gd name="csX42" fmla="*/ 5141825 w 24478182"/>
              <a:gd name="csY42" fmla="*/ 4601092 h 10522803"/>
              <a:gd name="csX43" fmla="*/ 4740890 w 24478182"/>
              <a:gd name="csY43" fmla="*/ 4601092 h 10522803"/>
              <a:gd name="csX44" fmla="*/ 4614278 w 24478182"/>
              <a:gd name="csY44" fmla="*/ 4727535 h 10522803"/>
              <a:gd name="csX45" fmla="*/ 3847576 w 24478182"/>
              <a:gd name="csY45" fmla="*/ 5949809 h 10522803"/>
              <a:gd name="csX46" fmla="*/ 3629524 w 24478182"/>
              <a:gd name="csY46" fmla="*/ 6244841 h 10522803"/>
              <a:gd name="csX47" fmla="*/ 3390369 w 24478182"/>
              <a:gd name="csY47" fmla="*/ 6385333 h 10522803"/>
              <a:gd name="csX48" fmla="*/ 3221554 w 24478182"/>
              <a:gd name="csY48" fmla="*/ 6385333 h 10522803"/>
              <a:gd name="csX49" fmla="*/ 1835864 w 24478182"/>
              <a:gd name="csY49" fmla="*/ 6385333 h 10522803"/>
              <a:gd name="csX50" fmla="*/ 506445 w 24478182"/>
              <a:gd name="csY50" fmla="*/ 8752612 h 105228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  <a:cxn ang="0">
                <a:pos x="csX40" y="csY40"/>
              </a:cxn>
              <a:cxn ang="0">
                <a:pos x="csX41" y="csY41"/>
              </a:cxn>
              <a:cxn ang="0">
                <a:pos x="csX42" y="csY42"/>
              </a:cxn>
              <a:cxn ang="0">
                <a:pos x="csX43" y="csY43"/>
              </a:cxn>
              <a:cxn ang="0">
                <a:pos x="csX44" y="csY44"/>
              </a:cxn>
              <a:cxn ang="0">
                <a:pos x="csX45" y="csY45"/>
              </a:cxn>
              <a:cxn ang="0">
                <a:pos x="csX46" y="csY46"/>
              </a:cxn>
              <a:cxn ang="0">
                <a:pos x="csX47" y="csY47"/>
              </a:cxn>
              <a:cxn ang="0">
                <a:pos x="csX48" y="csY48"/>
              </a:cxn>
              <a:cxn ang="0">
                <a:pos x="csX49" y="csY49"/>
              </a:cxn>
              <a:cxn ang="0">
                <a:pos x="csX50" y="csY50"/>
              </a:cxn>
            </a:cxnLst>
            <a:rect l="l" t="t" r="r" b="b"/>
            <a:pathLst>
              <a:path w="24478182" h="10522803">
                <a:moveTo>
                  <a:pt x="506445" y="8752612"/>
                </a:moveTo>
                <a:lnTo>
                  <a:pt x="0" y="9609609"/>
                </a:lnTo>
                <a:lnTo>
                  <a:pt x="0" y="10522803"/>
                </a:lnTo>
                <a:lnTo>
                  <a:pt x="24478182" y="10522803"/>
                </a:lnTo>
                <a:lnTo>
                  <a:pt x="24478182" y="0"/>
                </a:lnTo>
                <a:lnTo>
                  <a:pt x="22719692" y="779727"/>
                </a:lnTo>
                <a:lnTo>
                  <a:pt x="21404342" y="1376815"/>
                </a:lnTo>
                <a:lnTo>
                  <a:pt x="20743150" y="1692921"/>
                </a:lnTo>
                <a:lnTo>
                  <a:pt x="19723224" y="2121420"/>
                </a:lnTo>
                <a:lnTo>
                  <a:pt x="19392628" y="2268936"/>
                </a:lnTo>
                <a:lnTo>
                  <a:pt x="18668130" y="2282985"/>
                </a:lnTo>
                <a:lnTo>
                  <a:pt x="18112448" y="2282985"/>
                </a:lnTo>
                <a:lnTo>
                  <a:pt x="17978802" y="2226788"/>
                </a:lnTo>
                <a:lnTo>
                  <a:pt x="17795920" y="2142493"/>
                </a:lnTo>
                <a:lnTo>
                  <a:pt x="17676342" y="1973904"/>
                </a:lnTo>
                <a:lnTo>
                  <a:pt x="17352780" y="1496233"/>
                </a:lnTo>
                <a:lnTo>
                  <a:pt x="17141762" y="1166078"/>
                </a:lnTo>
                <a:lnTo>
                  <a:pt x="16923708" y="835924"/>
                </a:lnTo>
                <a:lnTo>
                  <a:pt x="16705656" y="554941"/>
                </a:lnTo>
                <a:lnTo>
                  <a:pt x="16522773" y="463622"/>
                </a:lnTo>
                <a:lnTo>
                  <a:pt x="16368026" y="442548"/>
                </a:lnTo>
                <a:lnTo>
                  <a:pt x="16171075" y="463622"/>
                </a:lnTo>
                <a:lnTo>
                  <a:pt x="15882682" y="618162"/>
                </a:lnTo>
                <a:lnTo>
                  <a:pt x="14904962" y="1166078"/>
                </a:lnTo>
                <a:lnTo>
                  <a:pt x="13990547" y="1678872"/>
                </a:lnTo>
                <a:lnTo>
                  <a:pt x="13702155" y="1826388"/>
                </a:lnTo>
                <a:lnTo>
                  <a:pt x="13540374" y="1868535"/>
                </a:lnTo>
                <a:lnTo>
                  <a:pt x="11901461" y="1868535"/>
                </a:lnTo>
                <a:lnTo>
                  <a:pt x="11409084" y="1868535"/>
                </a:lnTo>
                <a:lnTo>
                  <a:pt x="11043318" y="1896633"/>
                </a:lnTo>
                <a:lnTo>
                  <a:pt x="10783061" y="2023076"/>
                </a:lnTo>
                <a:lnTo>
                  <a:pt x="9826443" y="2507771"/>
                </a:lnTo>
                <a:lnTo>
                  <a:pt x="8553296" y="3168080"/>
                </a:lnTo>
                <a:lnTo>
                  <a:pt x="8222700" y="3315596"/>
                </a:lnTo>
                <a:lnTo>
                  <a:pt x="7568542" y="3315596"/>
                </a:lnTo>
                <a:lnTo>
                  <a:pt x="7111334" y="3315596"/>
                </a:lnTo>
                <a:lnTo>
                  <a:pt x="6942519" y="3371793"/>
                </a:lnTo>
                <a:lnTo>
                  <a:pt x="6759636" y="3533358"/>
                </a:lnTo>
                <a:lnTo>
                  <a:pt x="6414972" y="4095323"/>
                </a:lnTo>
                <a:lnTo>
                  <a:pt x="6281327" y="4362257"/>
                </a:lnTo>
                <a:lnTo>
                  <a:pt x="6063274" y="4544896"/>
                </a:lnTo>
                <a:lnTo>
                  <a:pt x="5795984" y="4601092"/>
                </a:lnTo>
                <a:lnTo>
                  <a:pt x="5141825" y="4601092"/>
                </a:lnTo>
                <a:lnTo>
                  <a:pt x="4740890" y="4601092"/>
                </a:lnTo>
                <a:lnTo>
                  <a:pt x="4614278" y="4727535"/>
                </a:lnTo>
                <a:lnTo>
                  <a:pt x="3847576" y="5949809"/>
                </a:lnTo>
                <a:lnTo>
                  <a:pt x="3629524" y="6244841"/>
                </a:lnTo>
                <a:lnTo>
                  <a:pt x="3390369" y="6385333"/>
                </a:lnTo>
                <a:lnTo>
                  <a:pt x="3221554" y="6385333"/>
                </a:lnTo>
                <a:lnTo>
                  <a:pt x="1835864" y="6385333"/>
                </a:lnTo>
                <a:lnTo>
                  <a:pt x="506445" y="8752612"/>
                </a:lnTo>
                <a:close/>
              </a:path>
            </a:pathLst>
          </a:custGeom>
          <a:solidFill>
            <a:schemeClr val="tx2"/>
          </a:solidFill>
          <a:ln w="14063" cap="flat">
            <a:noFill/>
            <a:prstDash val="solid"/>
            <a:miter/>
          </a:ln>
        </p:spPr>
        <p:txBody>
          <a:bodyPr/>
          <a:lstStyle/>
          <a:p>
            <a:pPr defTabSz="376943">
              <a:defRPr/>
            </a:pPr>
            <a:endParaRPr lang="ru-RU" sz="1484">
              <a:solidFill>
                <a:srgbClr val="9CB8FF"/>
              </a:solidFill>
              <a:latin typeface="YS Display Regular"/>
            </a:endParaRPr>
          </a:p>
        </p:txBody>
      </p:sp>
      <p:sp>
        <p:nvSpPr>
          <p:cNvPr id="42" name="Рисунок 18">
            <a:extLst>
              <a:ext uri="{FF2B5EF4-FFF2-40B4-BE49-F238E27FC236}">
                <a16:creationId xmlns:a16="http://schemas.microsoft.com/office/drawing/2014/main" id="{8EB12057-3AE5-5D53-556F-4881BE70786E}"/>
              </a:ext>
            </a:extLst>
          </p:cNvPr>
          <p:cNvSpPr/>
          <p:nvPr/>
        </p:nvSpPr>
        <p:spPr>
          <a:xfrm>
            <a:off x="-970351" y="3444282"/>
            <a:ext cx="27730139" cy="12001611"/>
          </a:xfrm>
          <a:custGeom>
            <a:avLst/>
            <a:gdLst>
              <a:gd name="csX0" fmla="*/ 0 w 23890825"/>
              <a:gd name="csY0" fmla="*/ 11488817 h 11488816"/>
              <a:gd name="csX1" fmla="*/ 2094933 w 23890825"/>
              <a:gd name="csY1" fmla="*/ 7291666 h 11488816"/>
              <a:gd name="csX2" fmla="*/ 2526995 w 23890825"/>
              <a:gd name="csY2" fmla="*/ 7024393 h 11488816"/>
              <a:gd name="csX3" fmla="*/ 3521287 w 23890825"/>
              <a:gd name="csY3" fmla="*/ 7024393 h 11488816"/>
              <a:gd name="csX4" fmla="*/ 3940380 w 23890825"/>
              <a:gd name="csY4" fmla="*/ 6781369 h 11488816"/>
              <a:gd name="csX5" fmla="*/ 4696992 w 23890825"/>
              <a:gd name="csY5" fmla="*/ 5459568 h 11488816"/>
              <a:gd name="csX6" fmla="*/ 5116085 w 23890825"/>
              <a:gd name="csY6" fmla="*/ 5216543 h 11488816"/>
              <a:gd name="csX7" fmla="*/ 5835430 w 23890825"/>
              <a:gd name="csY7" fmla="*/ 5216543 h 11488816"/>
              <a:gd name="csX8" fmla="*/ 6262235 w 23890825"/>
              <a:gd name="csY8" fmla="*/ 4959525 h 11488816"/>
              <a:gd name="csX9" fmla="*/ 6673145 w 23890825"/>
              <a:gd name="csY9" fmla="*/ 4183226 h 11488816"/>
              <a:gd name="csX10" fmla="*/ 7099937 w 23890825"/>
              <a:gd name="csY10" fmla="*/ 3926207 h 11488816"/>
              <a:gd name="csX11" fmla="*/ 7930546 w 23890825"/>
              <a:gd name="csY11" fmla="*/ 3926207 h 11488816"/>
              <a:gd name="csX12" fmla="*/ 8168654 w 23890825"/>
              <a:gd name="csY12" fmla="*/ 3863416 h 11488816"/>
              <a:gd name="csX13" fmla="*/ 10478973 w 23890825"/>
              <a:gd name="csY13" fmla="*/ 2553760 h 11488816"/>
              <a:gd name="csX14" fmla="*/ 10717095 w 23890825"/>
              <a:gd name="csY14" fmla="*/ 2490968 h 11488816"/>
              <a:gd name="csX15" fmla="*/ 12737249 w 23890825"/>
              <a:gd name="csY15" fmla="*/ 2490968 h 11488816"/>
              <a:gd name="csX16" fmla="*/ 12989319 w 23890825"/>
              <a:gd name="csY16" fmla="*/ 2419937 h 11488816"/>
              <a:gd name="csX17" fmla="*/ 15104981 w 23890825"/>
              <a:gd name="csY17" fmla="*/ 1124925 h 11488816"/>
              <a:gd name="csX18" fmla="*/ 15772377 w 23890825"/>
              <a:gd name="csY18" fmla="*/ 1290282 h 11488816"/>
              <a:gd name="csX19" fmla="*/ 16582443 w 23890825"/>
              <a:gd name="csY19" fmla="*/ 2654792 h 11488816"/>
              <a:gd name="csX20" fmla="*/ 16997754 w 23890825"/>
              <a:gd name="csY20" fmla="*/ 2891179 h 11488816"/>
              <a:gd name="csX21" fmla="*/ 17995468 w 23890825"/>
              <a:gd name="csY21" fmla="*/ 2891179 h 11488816"/>
              <a:gd name="csX22" fmla="*/ 18211540 w 23890825"/>
              <a:gd name="csY22" fmla="*/ 2840187 h 11488816"/>
              <a:gd name="csX23" fmla="*/ 23890826 w 23890825"/>
              <a:gd name="csY23" fmla="*/ 0 h 1148881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</a:cxnLst>
            <a:rect l="l" t="t" r="r" b="b"/>
            <a:pathLst>
              <a:path w="23890825" h="11488816">
                <a:moveTo>
                  <a:pt x="0" y="11488817"/>
                </a:moveTo>
                <a:lnTo>
                  <a:pt x="2094933" y="7291666"/>
                </a:lnTo>
                <a:cubicBezTo>
                  <a:pt x="2176685" y="7127882"/>
                  <a:pt x="2343982" y="7024393"/>
                  <a:pt x="2526995" y="7024393"/>
                </a:cubicBezTo>
                <a:lnTo>
                  <a:pt x="3521287" y="7024393"/>
                </a:lnTo>
                <a:cubicBezTo>
                  <a:pt x="3694449" y="7024393"/>
                  <a:pt x="3854351" y="6931669"/>
                  <a:pt x="3940380" y="6781369"/>
                </a:cubicBezTo>
                <a:lnTo>
                  <a:pt x="4696992" y="5459568"/>
                </a:lnTo>
                <a:cubicBezTo>
                  <a:pt x="4783035" y="5309268"/>
                  <a:pt x="4942937" y="5216543"/>
                  <a:pt x="5116085" y="5216543"/>
                </a:cubicBezTo>
                <a:lnTo>
                  <a:pt x="5835430" y="5216543"/>
                </a:lnTo>
                <a:cubicBezTo>
                  <a:pt x="6014317" y="5216543"/>
                  <a:pt x="6178538" y="5117650"/>
                  <a:pt x="6262235" y="4959525"/>
                </a:cubicBezTo>
                <a:lnTo>
                  <a:pt x="6673145" y="4183226"/>
                </a:lnTo>
                <a:cubicBezTo>
                  <a:pt x="6756828" y="4025101"/>
                  <a:pt x="6921063" y="3926207"/>
                  <a:pt x="7099937" y="3926207"/>
                </a:cubicBezTo>
                <a:lnTo>
                  <a:pt x="7930546" y="3926207"/>
                </a:lnTo>
                <a:cubicBezTo>
                  <a:pt x="8014009" y="3926207"/>
                  <a:pt x="8096050" y="3904569"/>
                  <a:pt x="8168654" y="3863416"/>
                </a:cubicBezTo>
                <a:lnTo>
                  <a:pt x="10478973" y="2553760"/>
                </a:lnTo>
                <a:cubicBezTo>
                  <a:pt x="10551591" y="2512607"/>
                  <a:pt x="10633633" y="2490968"/>
                  <a:pt x="10717095" y="2490968"/>
                </a:cubicBezTo>
                <a:lnTo>
                  <a:pt x="12737249" y="2490968"/>
                </a:lnTo>
                <a:cubicBezTo>
                  <a:pt x="12826202" y="2490968"/>
                  <a:pt x="12913445" y="2466389"/>
                  <a:pt x="12989319" y="2419937"/>
                </a:cubicBezTo>
                <a:lnTo>
                  <a:pt x="15104981" y="1124925"/>
                </a:lnTo>
                <a:cubicBezTo>
                  <a:pt x="15334713" y="984369"/>
                  <a:pt x="15634814" y="1058759"/>
                  <a:pt x="15772377" y="1290282"/>
                </a:cubicBezTo>
                <a:lnTo>
                  <a:pt x="16582443" y="2654792"/>
                </a:lnTo>
                <a:cubicBezTo>
                  <a:pt x="16669506" y="2801352"/>
                  <a:pt x="16827352" y="2891179"/>
                  <a:pt x="16997754" y="2891179"/>
                </a:cubicBezTo>
                <a:lnTo>
                  <a:pt x="17995468" y="2891179"/>
                </a:lnTo>
                <a:cubicBezTo>
                  <a:pt x="18070528" y="2891179"/>
                  <a:pt x="18144484" y="2873721"/>
                  <a:pt x="18211540" y="2840187"/>
                </a:cubicBezTo>
                <a:lnTo>
                  <a:pt x="23890826" y="0"/>
                </a:lnTo>
              </a:path>
            </a:pathLst>
          </a:custGeom>
          <a:noFill/>
          <a:ln w="68981" cap="flat">
            <a:solidFill>
              <a:schemeClr val="accent3"/>
            </a:solidFill>
            <a:prstDash val="solid"/>
            <a:miter/>
          </a:ln>
        </p:spPr>
        <p:txBody>
          <a:bodyPr/>
          <a:lstStyle/>
          <a:p>
            <a:pPr defTabSz="376943">
              <a:defRPr/>
            </a:pPr>
            <a:endParaRPr lang="ru-RU" sz="1484">
              <a:solidFill>
                <a:srgbClr val="9CB8FF"/>
              </a:solidFill>
              <a:latin typeface="YS Display Regular"/>
            </a:endParaRPr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id="{9775BF90-206F-9548-9B7C-1585107124FC}"/>
              </a:ext>
            </a:extLst>
          </p:cNvPr>
          <p:cNvSpPr/>
          <p:nvPr/>
        </p:nvSpPr>
        <p:spPr>
          <a:xfrm>
            <a:off x="1452349" y="10583742"/>
            <a:ext cx="439615" cy="439615"/>
          </a:xfrm>
          <a:prstGeom prst="ellipse">
            <a:avLst/>
          </a:prstGeom>
          <a:solidFill>
            <a:schemeClr val="bg1"/>
          </a:solidFill>
          <a:ln w="76200">
            <a:solidFill>
              <a:srgbClr val="020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9CB8FF"/>
              </a:solidFill>
              <a:latin typeface="YS Display Regular"/>
              <a:sym typeface="Arial"/>
            </a:endParaRPr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928CD4DD-A82C-4C3E-86FA-C4264E9F953F}"/>
              </a:ext>
            </a:extLst>
          </p:cNvPr>
          <p:cNvSpPr/>
          <p:nvPr/>
        </p:nvSpPr>
        <p:spPr>
          <a:xfrm>
            <a:off x="4428126" y="8718089"/>
            <a:ext cx="439615" cy="439615"/>
          </a:xfrm>
          <a:prstGeom prst="ellipse">
            <a:avLst/>
          </a:prstGeom>
          <a:solidFill>
            <a:schemeClr val="bg1"/>
          </a:solidFill>
          <a:ln w="76200">
            <a:solidFill>
              <a:srgbClr val="020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9CB8FF"/>
              </a:solidFill>
              <a:latin typeface="YS Display Regular"/>
              <a:sym typeface="Arial"/>
            </a:endParaRP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323A17C4-E5AC-FFB4-0404-757B86088EF8}"/>
              </a:ext>
            </a:extLst>
          </p:cNvPr>
          <p:cNvSpPr/>
          <p:nvPr/>
        </p:nvSpPr>
        <p:spPr>
          <a:xfrm>
            <a:off x="6786726" y="7374821"/>
            <a:ext cx="439615" cy="439615"/>
          </a:xfrm>
          <a:prstGeom prst="ellipse">
            <a:avLst/>
          </a:prstGeom>
          <a:solidFill>
            <a:schemeClr val="bg1"/>
          </a:solidFill>
          <a:ln w="76200">
            <a:solidFill>
              <a:srgbClr val="020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9CB8FF"/>
              </a:solidFill>
              <a:latin typeface="YS Display Regular"/>
              <a:sym typeface="Arial"/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68BA8471-A7FD-A3D7-F92D-A6897234B3BC}"/>
              </a:ext>
            </a:extLst>
          </p:cNvPr>
          <p:cNvSpPr/>
          <p:nvPr/>
        </p:nvSpPr>
        <p:spPr>
          <a:xfrm>
            <a:off x="11220383" y="5852448"/>
            <a:ext cx="439615" cy="439615"/>
          </a:xfrm>
          <a:prstGeom prst="ellipse">
            <a:avLst/>
          </a:prstGeom>
          <a:solidFill>
            <a:schemeClr val="bg1"/>
          </a:solidFill>
          <a:ln w="76200">
            <a:solidFill>
              <a:srgbClr val="020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9CB8FF"/>
              </a:solidFill>
              <a:latin typeface="YS Display Regular"/>
              <a:sym typeface="Arial"/>
            </a:endParaRPr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id="{6BB65F94-496E-7912-BB29-ACB62279B5C9}"/>
              </a:ext>
            </a:extLst>
          </p:cNvPr>
          <p:cNvSpPr/>
          <p:nvPr/>
        </p:nvSpPr>
        <p:spPr>
          <a:xfrm>
            <a:off x="13764414" y="5797503"/>
            <a:ext cx="439615" cy="439615"/>
          </a:xfrm>
          <a:prstGeom prst="ellipse">
            <a:avLst/>
          </a:prstGeom>
          <a:solidFill>
            <a:schemeClr val="bg1"/>
          </a:solidFill>
          <a:ln w="76200">
            <a:solidFill>
              <a:srgbClr val="020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9CB8FF"/>
              </a:solidFill>
              <a:latin typeface="YS Display Regular"/>
              <a:sym typeface="Arial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D199DF6C-89A0-6046-0BAC-7C0D6C651018}"/>
              </a:ext>
            </a:extLst>
          </p:cNvPr>
          <p:cNvSpPr/>
          <p:nvPr/>
        </p:nvSpPr>
        <p:spPr>
          <a:xfrm>
            <a:off x="19814056" y="6217366"/>
            <a:ext cx="439615" cy="439615"/>
          </a:xfrm>
          <a:prstGeom prst="ellipse">
            <a:avLst/>
          </a:prstGeom>
          <a:solidFill>
            <a:schemeClr val="accent3"/>
          </a:solidFill>
          <a:ln w="76200">
            <a:solidFill>
              <a:srgbClr val="020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9CB8FF"/>
              </a:solidFill>
              <a:latin typeface="YS Display Regular"/>
              <a:sym typeface="Arial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1CEC197-F2EE-9EFB-1E99-D85D712BD365}"/>
              </a:ext>
            </a:extLst>
          </p:cNvPr>
          <p:cNvSpPr txBox="1"/>
          <p:nvPr/>
        </p:nvSpPr>
        <p:spPr>
          <a:xfrm>
            <a:off x="1448543" y="11809741"/>
            <a:ext cx="3267801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6943">
              <a:lnSpc>
                <a:spcPct val="85000"/>
              </a:lnSpc>
              <a:defRPr/>
            </a:pPr>
            <a:r>
              <a:rPr lang="ru-RU" sz="3200" dirty="0">
                <a:solidFill>
                  <a:srgbClr val="9CB8FF"/>
                </a:solidFill>
                <a:latin typeface="YS Text Regular"/>
              </a:rPr>
              <a:t>Поисковый бум</a:t>
            </a:r>
          </a:p>
        </p:txBody>
      </p: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AFA5605F-FC65-2C9D-D66B-21493549B997}"/>
              </a:ext>
            </a:extLst>
          </p:cNvPr>
          <p:cNvCxnSpPr/>
          <p:nvPr/>
        </p:nvCxnSpPr>
        <p:spPr>
          <a:xfrm>
            <a:off x="1686370" y="11154297"/>
            <a:ext cx="0" cy="558710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6AC5AA24-2EB5-69DF-EF6A-FBEE46161F57}"/>
              </a:ext>
            </a:extLst>
          </p:cNvPr>
          <p:cNvSpPr txBox="1"/>
          <p:nvPr/>
        </p:nvSpPr>
        <p:spPr>
          <a:xfrm>
            <a:off x="4423901" y="9935357"/>
            <a:ext cx="3267801" cy="92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6943">
              <a:lnSpc>
                <a:spcPct val="85000"/>
              </a:lnSpc>
              <a:defRPr/>
            </a:pPr>
            <a:r>
              <a:rPr lang="ru-RU" sz="3200" dirty="0">
                <a:solidFill>
                  <a:srgbClr val="9CB8FF"/>
                </a:solidFill>
                <a:latin typeface="YS Text Regular"/>
              </a:rPr>
              <a:t>Мобильная реклама</a:t>
            </a:r>
          </a:p>
        </p:txBody>
      </p: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F10814B2-AFE3-3568-32E4-4894B8F4641C}"/>
              </a:ext>
            </a:extLst>
          </p:cNvPr>
          <p:cNvCxnSpPr/>
          <p:nvPr/>
        </p:nvCxnSpPr>
        <p:spPr>
          <a:xfrm>
            <a:off x="4661730" y="9279913"/>
            <a:ext cx="0" cy="558710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53BF6219-B6CD-61C8-AF6D-2CD9CA19CF81}"/>
              </a:ext>
            </a:extLst>
          </p:cNvPr>
          <p:cNvSpPr txBox="1"/>
          <p:nvPr/>
        </p:nvSpPr>
        <p:spPr>
          <a:xfrm>
            <a:off x="6761588" y="8541815"/>
            <a:ext cx="5294443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6943">
              <a:lnSpc>
                <a:spcPct val="85000"/>
              </a:lnSpc>
              <a:defRPr/>
            </a:pPr>
            <a:r>
              <a:rPr lang="ru-RU" sz="3200" dirty="0">
                <a:solidFill>
                  <a:srgbClr val="9CB8FF"/>
                </a:solidFill>
                <a:latin typeface="YS Text Regular"/>
              </a:rPr>
              <a:t>Реклама в соцсетях</a:t>
            </a: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1ABC9E04-7592-8614-7E03-72B3C31B9909}"/>
              </a:ext>
            </a:extLst>
          </p:cNvPr>
          <p:cNvCxnSpPr/>
          <p:nvPr/>
        </p:nvCxnSpPr>
        <p:spPr>
          <a:xfrm>
            <a:off x="6999416" y="7918624"/>
            <a:ext cx="0" cy="558710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32D07D1A-863F-8992-5A8A-168B34F0926E}"/>
              </a:ext>
            </a:extLst>
          </p:cNvPr>
          <p:cNvSpPr txBox="1"/>
          <p:nvPr/>
        </p:nvSpPr>
        <p:spPr>
          <a:xfrm>
            <a:off x="11167576" y="7105762"/>
            <a:ext cx="4655551" cy="92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6943">
              <a:lnSpc>
                <a:spcPct val="85000"/>
              </a:lnSpc>
              <a:defRPr/>
            </a:pPr>
            <a:r>
              <a:rPr lang="ru-RU" sz="3200" dirty="0">
                <a:solidFill>
                  <a:srgbClr val="9CB8FF"/>
                </a:solidFill>
                <a:latin typeface="YS Text Regular"/>
              </a:rPr>
              <a:t>Видеореклама </a:t>
            </a:r>
            <a:br>
              <a:rPr lang="ru-RU" sz="3200" dirty="0">
                <a:solidFill>
                  <a:srgbClr val="9CB8FF"/>
                </a:solidFill>
                <a:latin typeface="YS Text Regular"/>
              </a:rPr>
            </a:br>
            <a:r>
              <a:rPr lang="ru-RU" sz="3200" dirty="0">
                <a:solidFill>
                  <a:srgbClr val="9CB8FF"/>
                </a:solidFill>
                <a:latin typeface="YS Text Regular"/>
              </a:rPr>
              <a:t>и программатики</a:t>
            </a:r>
          </a:p>
        </p:txBody>
      </p: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2623708D-8DF1-A82D-D041-39C70FD6E483}"/>
              </a:ext>
            </a:extLst>
          </p:cNvPr>
          <p:cNvCxnSpPr/>
          <p:nvPr/>
        </p:nvCxnSpPr>
        <p:spPr>
          <a:xfrm>
            <a:off x="11430540" y="6450319"/>
            <a:ext cx="0" cy="558710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31A48889-A3F4-88B5-E1EF-F65F35CF180D}"/>
              </a:ext>
            </a:extLst>
          </p:cNvPr>
          <p:cNvCxnSpPr>
            <a:cxnSpLocks/>
          </p:cNvCxnSpPr>
          <p:nvPr/>
        </p:nvCxnSpPr>
        <p:spPr>
          <a:xfrm>
            <a:off x="13977178" y="4116313"/>
            <a:ext cx="0" cy="1560398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AC477E00-7417-89B7-6044-4CEFBE7E7AC5}"/>
              </a:ext>
            </a:extLst>
          </p:cNvPr>
          <p:cNvSpPr txBox="1"/>
          <p:nvPr/>
        </p:nvSpPr>
        <p:spPr>
          <a:xfrm>
            <a:off x="13764415" y="2925361"/>
            <a:ext cx="4655551" cy="92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6943">
              <a:lnSpc>
                <a:spcPct val="85000"/>
              </a:lnSpc>
              <a:defRPr/>
            </a:pPr>
            <a:r>
              <a:rPr lang="ru-RU" sz="3200" dirty="0">
                <a:solidFill>
                  <a:srgbClr val="9CB8FF"/>
                </a:solidFill>
                <a:latin typeface="YS Text Regular"/>
              </a:rPr>
              <a:t>Реклама </a:t>
            </a:r>
            <a:br>
              <a:rPr lang="ru-RU" sz="3200" dirty="0">
                <a:solidFill>
                  <a:srgbClr val="9CB8FF"/>
                </a:solidFill>
                <a:latin typeface="YS Text Regular"/>
              </a:rPr>
            </a:br>
            <a:r>
              <a:rPr lang="ru-RU" sz="3200" dirty="0">
                <a:solidFill>
                  <a:srgbClr val="9CB8FF"/>
                </a:solidFill>
                <a:latin typeface="YS Text Regular"/>
              </a:rPr>
              <a:t>у </a:t>
            </a:r>
            <a:r>
              <a:rPr lang="ru-RU" sz="3200" dirty="0" err="1">
                <a:solidFill>
                  <a:srgbClr val="9CB8FF"/>
                </a:solidFill>
                <a:latin typeface="YS Text Regular"/>
              </a:rPr>
              <a:t>инфлюенсеров</a:t>
            </a:r>
            <a:endParaRPr lang="ru-RU" sz="3200" dirty="0">
              <a:solidFill>
                <a:srgbClr val="9CB8FF"/>
              </a:solidFill>
              <a:latin typeface="YS Text Regular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7F00855-9E01-2E4B-B516-632A88B07952}"/>
              </a:ext>
            </a:extLst>
          </p:cNvPr>
          <p:cNvSpPr txBox="1"/>
          <p:nvPr/>
        </p:nvSpPr>
        <p:spPr>
          <a:xfrm>
            <a:off x="19667342" y="7552775"/>
            <a:ext cx="4462339" cy="1478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6943">
              <a:lnSpc>
                <a:spcPct val="80000"/>
              </a:lnSpc>
              <a:defRPr/>
            </a:pPr>
            <a:r>
              <a:rPr lang="ru-RU" sz="5600" dirty="0">
                <a:solidFill>
                  <a:srgbClr val="00FAFF"/>
                </a:solidFill>
                <a:latin typeface="YS Text Regular"/>
              </a:rPr>
              <a:t>Реклама</a:t>
            </a:r>
            <a:br>
              <a:rPr lang="ru-RU" sz="5600" dirty="0">
                <a:solidFill>
                  <a:srgbClr val="00FAFF"/>
                </a:solidFill>
                <a:latin typeface="YS Text Regular"/>
              </a:rPr>
            </a:br>
            <a:r>
              <a:rPr lang="ru-RU" sz="5600" dirty="0">
                <a:solidFill>
                  <a:srgbClr val="00FAFF"/>
                </a:solidFill>
                <a:latin typeface="YS Text Regular"/>
              </a:rPr>
              <a:t>на </a:t>
            </a:r>
            <a:r>
              <a:rPr lang="en-US" sz="5600" dirty="0">
                <a:solidFill>
                  <a:srgbClr val="00FAFF"/>
                </a:solidFill>
                <a:latin typeface="YS Text Regular"/>
              </a:rPr>
              <a:t>CTV</a:t>
            </a:r>
            <a:endParaRPr lang="ru-RU" sz="5600" dirty="0">
              <a:solidFill>
                <a:srgbClr val="00FAFF"/>
              </a:solidFill>
              <a:latin typeface="YS Text Regular"/>
            </a:endParaRPr>
          </a:p>
        </p:txBody>
      </p: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F2058E11-C5E8-AFAA-FE6A-1D941AD33501}"/>
              </a:ext>
            </a:extLst>
          </p:cNvPr>
          <p:cNvCxnSpPr/>
          <p:nvPr/>
        </p:nvCxnSpPr>
        <p:spPr>
          <a:xfrm>
            <a:off x="20019708" y="6825523"/>
            <a:ext cx="0" cy="558710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Овал 60">
            <a:extLst>
              <a:ext uri="{FF2B5EF4-FFF2-40B4-BE49-F238E27FC236}">
                <a16:creationId xmlns:a16="http://schemas.microsoft.com/office/drawing/2014/main" id="{8139DA1C-4C51-D38F-E6C9-571E5E20464B}"/>
              </a:ext>
            </a:extLst>
          </p:cNvPr>
          <p:cNvSpPr/>
          <p:nvPr/>
        </p:nvSpPr>
        <p:spPr>
          <a:xfrm>
            <a:off x="16701731" y="4337996"/>
            <a:ext cx="439615" cy="439615"/>
          </a:xfrm>
          <a:prstGeom prst="ellipse">
            <a:avLst/>
          </a:prstGeom>
          <a:solidFill>
            <a:schemeClr val="bg1"/>
          </a:solidFill>
          <a:ln w="76200">
            <a:solidFill>
              <a:srgbClr val="020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76943">
              <a:lnSpc>
                <a:spcPct val="104000"/>
              </a:lnSpc>
              <a:spcAft>
                <a:spcPts val="1980"/>
              </a:spcAft>
              <a:defRPr/>
            </a:pPr>
            <a:endParaRPr lang="ru-RU" sz="2310" dirty="0">
              <a:solidFill>
                <a:srgbClr val="9CB8FF"/>
              </a:solidFill>
              <a:latin typeface="YS Display Regular"/>
              <a:sym typeface="Arial"/>
            </a:endParaRPr>
          </a:p>
        </p:txBody>
      </p: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E5D3D7A3-FB3B-4124-A9FE-88D414A4F4B1}"/>
              </a:ext>
            </a:extLst>
          </p:cNvPr>
          <p:cNvCxnSpPr>
            <a:cxnSpLocks/>
          </p:cNvCxnSpPr>
          <p:nvPr/>
        </p:nvCxnSpPr>
        <p:spPr>
          <a:xfrm>
            <a:off x="16921536" y="4888751"/>
            <a:ext cx="0" cy="1768231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F15C9896-226D-E1E6-E155-51CC102D0FB8}"/>
              </a:ext>
            </a:extLst>
          </p:cNvPr>
          <p:cNvSpPr txBox="1"/>
          <p:nvPr/>
        </p:nvSpPr>
        <p:spPr>
          <a:xfrm>
            <a:off x="15899841" y="6762849"/>
            <a:ext cx="2837043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6943">
              <a:lnSpc>
                <a:spcPct val="85000"/>
              </a:lnSpc>
              <a:defRPr/>
            </a:pPr>
            <a:r>
              <a:rPr lang="ru-RU" sz="3200" dirty="0">
                <a:solidFill>
                  <a:srgbClr val="9CB8FF"/>
                </a:solidFill>
                <a:latin typeface="YS Text Regular"/>
              </a:rPr>
              <a:t>Подкасты</a:t>
            </a:r>
          </a:p>
        </p:txBody>
      </p:sp>
      <p:pic>
        <p:nvPicPr>
          <p:cNvPr id="13" name="Picture 103">
            <a:extLst>
              <a:ext uri="{FF2B5EF4-FFF2-40B4-BE49-F238E27FC236}">
                <a16:creationId xmlns:a16="http://schemas.microsoft.com/office/drawing/2014/main" id="{E74F2659-CDCA-3FDB-326D-D4669C57AC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20193" y="3640672"/>
            <a:ext cx="4817473" cy="3597046"/>
          </a:xfrm>
          <a:prstGeom prst="rect">
            <a:avLst/>
          </a:prstGeom>
        </p:spPr>
      </p:pic>
      <p:pic>
        <p:nvPicPr>
          <p:cNvPr id="23" name="Picture 59">
            <a:extLst>
              <a:ext uri="{FF2B5EF4-FFF2-40B4-BE49-F238E27FC236}">
                <a16:creationId xmlns:a16="http://schemas.microsoft.com/office/drawing/2014/main" id="{B5C5536B-C24E-6DB9-3A8E-C106420EDF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697469" flipH="1">
            <a:off x="1445870" y="4167263"/>
            <a:ext cx="3700474" cy="2763020"/>
          </a:xfrm>
          <a:prstGeom prst="rect">
            <a:avLst/>
          </a:prstGeom>
        </p:spPr>
      </p:pic>
      <p:sp>
        <p:nvSpPr>
          <p:cNvPr id="34" name="Oval 24">
            <a:extLst>
              <a:ext uri="{FF2B5EF4-FFF2-40B4-BE49-F238E27FC236}">
                <a16:creationId xmlns:a16="http://schemas.microsoft.com/office/drawing/2014/main" id="{39B8016B-0780-C76C-AFF8-927DCAA508AA}"/>
              </a:ext>
            </a:extLst>
          </p:cNvPr>
          <p:cNvSpPr/>
          <p:nvPr/>
        </p:nvSpPr>
        <p:spPr>
          <a:xfrm rot="2143391">
            <a:off x="2721893" y="7201548"/>
            <a:ext cx="2160000" cy="46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228600">
              <a:schemeClr val="accent3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endParaRPr kumimoji="0" lang="en-001" sz="2800" b="0" i="0" u="none" strike="noStrike" kern="1200" cap="none" spc="0" normalizeH="0" baseline="0" noProof="0" dirty="0">
              <a:ln>
                <a:noFill/>
              </a:ln>
              <a:solidFill>
                <a:srgbClr val="8CA0C3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35" name="Oval 77">
            <a:extLst>
              <a:ext uri="{FF2B5EF4-FFF2-40B4-BE49-F238E27FC236}">
                <a16:creationId xmlns:a16="http://schemas.microsoft.com/office/drawing/2014/main" id="{41447C46-B24B-C941-4F0D-9273DE050E62}"/>
              </a:ext>
            </a:extLst>
          </p:cNvPr>
          <p:cNvSpPr/>
          <p:nvPr/>
        </p:nvSpPr>
        <p:spPr>
          <a:xfrm rot="1383045">
            <a:off x="4685314" y="5408505"/>
            <a:ext cx="1188000" cy="46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228600">
              <a:schemeClr val="accent3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endParaRPr kumimoji="0" lang="en-001" sz="2800" b="0" i="0" u="none" strike="noStrike" kern="1200" cap="none" spc="0" normalizeH="0" baseline="0" noProof="0" dirty="0">
              <a:ln>
                <a:noFill/>
              </a:ln>
              <a:solidFill>
                <a:srgbClr val="8CA0C3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grpSp>
        <p:nvGrpSpPr>
          <p:cNvPr id="36" name="Group 112">
            <a:extLst>
              <a:ext uri="{FF2B5EF4-FFF2-40B4-BE49-F238E27FC236}">
                <a16:creationId xmlns:a16="http://schemas.microsoft.com/office/drawing/2014/main" id="{3A301D24-604A-53AB-F344-59A5C72FBAB9}"/>
              </a:ext>
            </a:extLst>
          </p:cNvPr>
          <p:cNvGrpSpPr/>
          <p:nvPr/>
        </p:nvGrpSpPr>
        <p:grpSpPr>
          <a:xfrm>
            <a:off x="19903668" y="4884387"/>
            <a:ext cx="2939074" cy="1782226"/>
            <a:chOff x="19740564" y="4180412"/>
            <a:chExt cx="2939074" cy="1782226"/>
          </a:xfrm>
        </p:grpSpPr>
        <p:sp>
          <p:nvSpPr>
            <p:cNvPr id="37" name="Oval 104">
              <a:extLst>
                <a:ext uri="{FF2B5EF4-FFF2-40B4-BE49-F238E27FC236}">
                  <a16:creationId xmlns:a16="http://schemas.microsoft.com/office/drawing/2014/main" id="{1DEB443D-272F-71BE-ECCC-A0032DE1110E}"/>
                </a:ext>
              </a:extLst>
            </p:cNvPr>
            <p:cNvSpPr/>
            <p:nvPr/>
          </p:nvSpPr>
          <p:spPr>
            <a:xfrm>
              <a:off x="19740564" y="4180412"/>
              <a:ext cx="1080000" cy="46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glow rad="228600">
                <a:schemeClr val="accent3"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en-001" sz="2800" b="0" i="0" u="none" strike="noStrike" kern="1200" cap="none" spc="0" normalizeH="0" baseline="0" noProof="0" dirty="0">
                <a:ln>
                  <a:noFill/>
                </a:ln>
                <a:solidFill>
                  <a:srgbClr val="8CA0C3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38" name="Oval 105">
              <a:extLst>
                <a:ext uri="{FF2B5EF4-FFF2-40B4-BE49-F238E27FC236}">
                  <a16:creationId xmlns:a16="http://schemas.microsoft.com/office/drawing/2014/main" id="{C4CB54F9-77C8-266C-D33B-08A5746B5A8D}"/>
                </a:ext>
              </a:extLst>
            </p:cNvPr>
            <p:cNvSpPr/>
            <p:nvPr/>
          </p:nvSpPr>
          <p:spPr>
            <a:xfrm rot="18955522">
              <a:off x="21599638" y="5915838"/>
              <a:ext cx="1080000" cy="46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glow rad="228600">
                <a:schemeClr val="accent3"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en-001" sz="2800" b="0" i="0" u="none" strike="noStrike" kern="1200" cap="none" spc="0" normalizeH="0" baseline="0" noProof="0" dirty="0">
                <a:ln>
                  <a:noFill/>
                </a:ln>
                <a:solidFill>
                  <a:srgbClr val="8CA0C3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0407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200DC60-095C-BBEC-31A9-2FBAEC6BC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89" t="20059" r="12789" b="613"/>
          <a:stretch>
            <a:fillRect/>
          </a:stretch>
        </p:blipFill>
        <p:spPr>
          <a:xfrm>
            <a:off x="0" y="0"/>
            <a:ext cx="24382412" cy="13716000"/>
          </a:xfrm>
          <a:prstGeom prst="rect">
            <a:avLst/>
          </a:prstGeom>
        </p:spPr>
      </p:pic>
      <p:sp>
        <p:nvSpPr>
          <p:cNvPr id="2" name="Текст 1">
            <a:extLst>
              <a:ext uri="{FF2B5EF4-FFF2-40B4-BE49-F238E27FC236}">
                <a16:creationId xmlns:a16="http://schemas.microsoft.com/office/drawing/2014/main" id="{857E41FA-1585-2CCD-3D96-75A59B94D5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40000" y="1652245"/>
            <a:ext cx="14205137" cy="615553"/>
          </a:xfrm>
        </p:spPr>
        <p:txBody>
          <a:bodyPr/>
          <a:lstStyle/>
          <a:p>
            <a:r>
              <a:rPr lang="en-001">
                <a:latin typeface="YS Text Regular" pitchFamily="2" charset="0"/>
              </a:rPr>
              <a:t>Руководитель направления СTV-рекламы</a:t>
            </a:r>
            <a:endParaRPr lang="en-001" dirty="0">
              <a:latin typeface="YS Text Regular" pitchFamily="2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2AA1CC6-26E0-BF57-1629-B810753D07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042075"/>
            <a:ext cx="14205137" cy="615553"/>
          </a:xfrm>
        </p:spPr>
        <p:txBody>
          <a:bodyPr/>
          <a:lstStyle/>
          <a:p>
            <a:r>
              <a:rPr lang="ru-RU" dirty="0"/>
              <a:t>Надира </a:t>
            </a:r>
            <a:r>
              <a:rPr lang="ru-RU" dirty="0" err="1"/>
              <a:t>Элоян</a:t>
            </a:r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54F57A6-9A8A-1829-7E98-BECB59AF0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6625642"/>
            <a:ext cx="18770463" cy="5924442"/>
          </a:xfrm>
        </p:spPr>
        <p:txBody>
          <a:bodyPr/>
          <a:lstStyle/>
          <a:p>
            <a:r>
              <a:rPr lang="ru-RU" sz="12000" dirty="0"/>
              <a:t>Будьте в поле заметности на устройствах </a:t>
            </a:r>
            <a:r>
              <a:rPr lang="en-US" sz="12000" dirty="0"/>
              <a:t>CTV </a:t>
            </a:r>
            <a:br>
              <a:rPr lang="ru-RU" sz="12000" dirty="0"/>
            </a:br>
            <a:r>
              <a:rPr lang="ru-RU" sz="12000" dirty="0"/>
              <a:t>и получайте максимум эффективности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E672547F-6929-7A8A-90AD-6B27CBB6193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708481" y="1032328"/>
            <a:ext cx="3240000" cy="727182"/>
          </a:xfrm>
          <a:prstGeom prst="rect">
            <a:avLst/>
          </a:prstGeom>
        </p:spPr>
      </p:pic>
      <p:pic>
        <p:nvPicPr>
          <p:cNvPr id="8" name="Google Shape;19;p1" title="logo 1.png">
            <a:extLst>
              <a:ext uri="{FF2B5EF4-FFF2-40B4-BE49-F238E27FC236}">
                <a16:creationId xmlns:a16="http://schemas.microsoft.com/office/drawing/2014/main" id="{AF6BFA21-7D02-2554-4F82-D9EB8874610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9708481" y="2433637"/>
            <a:ext cx="3240000" cy="347774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1644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EA46D27-2E30-D2F4-87D2-F623594B126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" r="4"/>
          <a:stretch/>
        </p:blipFill>
        <p:spPr>
          <a:xfrm>
            <a:off x="795" y="447"/>
            <a:ext cx="24378727" cy="13714211"/>
          </a:xfrm>
          <a:prstGeom prst="rect">
            <a:avLst/>
          </a:prstGeom>
        </p:spPr>
      </p:pic>
      <p:sp>
        <p:nvSpPr>
          <p:cNvPr id="6" name="Текст 14">
            <a:extLst>
              <a:ext uri="{FF2B5EF4-FFF2-40B4-BE49-F238E27FC236}">
                <a16:creationId xmlns:a16="http://schemas.microsoft.com/office/drawing/2014/main" id="{B18FC8AE-1338-3A88-452F-9F951968DE8A}"/>
              </a:ext>
            </a:extLst>
          </p:cNvPr>
          <p:cNvSpPr txBox="1">
            <a:spLocks/>
          </p:cNvSpPr>
          <p:nvPr/>
        </p:nvSpPr>
        <p:spPr>
          <a:xfrm>
            <a:off x="3106598" y="8214158"/>
            <a:ext cx="18169219" cy="766956"/>
          </a:xfrm>
          <a:prstGeom prst="rect">
            <a:avLst/>
          </a:prstGeom>
        </p:spPr>
        <p:txBody>
          <a:bodyPr/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657235">
              <a:spcAft>
                <a:spcPts val="4800"/>
              </a:spcAft>
              <a:defRPr/>
            </a:pPr>
            <a:r>
              <a:rPr lang="ru-RU" sz="4800" dirty="0">
                <a:solidFill>
                  <a:srgbClr val="A0AFC8"/>
                </a:solidFill>
                <a:latin typeface="YS Text Regular" pitchFamily="2" charset="0"/>
                <a:cs typeface="YS Text Regular" pitchFamily="2" charset="0"/>
              </a:rPr>
              <a:t>Это цифровая среда, которая подстраивается </a:t>
            </a:r>
            <a:br>
              <a:rPr lang="ru-RU" sz="4800" dirty="0">
                <a:solidFill>
                  <a:srgbClr val="A0AFC8"/>
                </a:solidFill>
                <a:latin typeface="YS Text Regular" pitchFamily="2" charset="0"/>
                <a:cs typeface="YS Text Regular" pitchFamily="2" charset="0"/>
              </a:rPr>
            </a:br>
            <a:r>
              <a:rPr lang="ru-RU" sz="4800" dirty="0">
                <a:solidFill>
                  <a:srgbClr val="A0AFC8"/>
                </a:solidFill>
                <a:latin typeface="YS Text Regular" pitchFamily="2" charset="0"/>
                <a:cs typeface="YS Text Regular" pitchFamily="2" charset="0"/>
              </a:rPr>
              <a:t>под тебя не только контентом, но и рекламой</a:t>
            </a:r>
          </a:p>
        </p:txBody>
      </p:sp>
      <p:sp>
        <p:nvSpPr>
          <p:cNvPr id="7" name="Заголовок 21">
            <a:extLst>
              <a:ext uri="{FF2B5EF4-FFF2-40B4-BE49-F238E27FC236}">
                <a16:creationId xmlns:a16="http://schemas.microsoft.com/office/drawing/2014/main" id="{639EDDDD-6F6B-37C5-48CD-551799272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2523" y="4536317"/>
            <a:ext cx="19677369" cy="3360664"/>
          </a:xfrm>
        </p:spPr>
        <p:txBody>
          <a:bodyPr/>
          <a:lstStyle/>
          <a:p>
            <a:pPr algn="ctr"/>
            <a:r>
              <a:rPr lang="ru-RU" sz="12999" dirty="0"/>
              <a:t> СTV-устройство уже </a:t>
            </a:r>
            <a:br>
              <a:rPr lang="ru-RU" sz="12999" dirty="0"/>
            </a:br>
            <a:r>
              <a:rPr lang="ru-RU" sz="12999" dirty="0"/>
              <a:t>не просто телевизор </a:t>
            </a:r>
          </a:p>
        </p:txBody>
      </p:sp>
    </p:spTree>
    <p:extLst>
      <p:ext uri="{BB962C8B-B14F-4D97-AF65-F5344CB8AC3E}">
        <p14:creationId xmlns:p14="http://schemas.microsoft.com/office/powerpoint/2010/main" val="4090664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2166ED-57E5-7E83-18C0-3325CEDE78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78F335FF-B3AB-22BF-0E93-EECF2B1A9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1000800"/>
            <a:ext cx="21492000" cy="3068019"/>
          </a:xfrm>
        </p:spPr>
        <p:txBody>
          <a:bodyPr/>
          <a:lstStyle/>
          <a:p>
            <a:r>
              <a:rPr lang="ru-RU" dirty="0"/>
              <a:t>Сценарии </a:t>
            </a:r>
            <a:br>
              <a:rPr lang="ru-RU" dirty="0"/>
            </a:br>
            <a:r>
              <a:rPr lang="ru-RU" dirty="0"/>
              <a:t>потребления </a:t>
            </a:r>
            <a:br>
              <a:rPr lang="ru-RU" dirty="0"/>
            </a:br>
            <a:r>
              <a:rPr lang="ru-RU" dirty="0"/>
              <a:t>контента </a:t>
            </a:r>
            <a:br>
              <a:rPr lang="ru-RU" dirty="0"/>
            </a:br>
            <a:r>
              <a:rPr lang="ru-RU" dirty="0"/>
              <a:t>на </a:t>
            </a:r>
            <a:r>
              <a:rPr lang="en" dirty="0"/>
              <a:t>Connected TV</a:t>
            </a:r>
            <a:endParaRPr lang="ru-RU" dirty="0"/>
          </a:p>
        </p:txBody>
      </p:sp>
      <p:sp>
        <p:nvSpPr>
          <p:cNvPr id="24" name="Скругленный прямоугольник 23">
            <a:extLst>
              <a:ext uri="{FF2B5EF4-FFF2-40B4-BE49-F238E27FC236}">
                <a16:creationId xmlns:a16="http://schemas.microsoft.com/office/drawing/2014/main" id="{7FA70A97-2527-EE46-92C0-C3DBA6D26054}"/>
              </a:ext>
            </a:extLst>
          </p:cNvPr>
          <p:cNvSpPr/>
          <p:nvPr/>
        </p:nvSpPr>
        <p:spPr>
          <a:xfrm>
            <a:off x="9375568" y="5480050"/>
            <a:ext cx="4320000" cy="12192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>
              <a:defRPr/>
            </a:pPr>
            <a:r>
              <a:rPr lang="ru-RU" sz="2800" dirty="0">
                <a:solidFill>
                  <a:schemeClr val="tx1"/>
                </a:solidFill>
                <a:latin typeface="YS Text Regular"/>
                <a:cs typeface="YS Text Regular" pitchFamily="2" charset="0"/>
              </a:rPr>
              <a:t>Онлайн-кинотеатры</a:t>
            </a:r>
            <a:endParaRPr lang="ru-RU" sz="2800" dirty="0">
              <a:solidFill>
                <a:schemeClr val="tx1"/>
              </a:solidFill>
              <a:latin typeface="YS Text Regular"/>
              <a:cs typeface="YS Text Regular" pitchFamily="2" charset="0"/>
              <a:sym typeface="Arial"/>
            </a:endParaRPr>
          </a:p>
        </p:txBody>
      </p:sp>
      <p:sp>
        <p:nvSpPr>
          <p:cNvPr id="26" name="Скругленный прямоугольник 25">
            <a:extLst>
              <a:ext uri="{FF2B5EF4-FFF2-40B4-BE49-F238E27FC236}">
                <a16:creationId xmlns:a16="http://schemas.microsoft.com/office/drawing/2014/main" id="{A1AED37D-1623-4039-294B-BDBBFEB836D8}"/>
              </a:ext>
            </a:extLst>
          </p:cNvPr>
          <p:cNvSpPr/>
          <p:nvPr/>
        </p:nvSpPr>
        <p:spPr>
          <a:xfrm>
            <a:off x="13984123" y="5480050"/>
            <a:ext cx="4320000" cy="12192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>
              <a:defRPr/>
            </a:pPr>
            <a:r>
              <a:rPr lang="ru-RU" sz="2800" dirty="0">
                <a:solidFill>
                  <a:schemeClr val="tx1"/>
                </a:solidFill>
                <a:latin typeface="YS Text Regular"/>
                <a:cs typeface="YS Text Regular" pitchFamily="2" charset="0"/>
              </a:rPr>
              <a:t>Видеоплатформы</a:t>
            </a:r>
            <a:endParaRPr lang="ru-RU" sz="2800" dirty="0">
              <a:solidFill>
                <a:schemeClr val="tx1"/>
              </a:solidFill>
              <a:latin typeface="YS Text Regular"/>
              <a:cs typeface="YS Text Regular" pitchFamily="2" charset="0"/>
              <a:sym typeface="Arial"/>
            </a:endParaRPr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8B3469AA-5F5C-EFC0-418A-90550229D58A}"/>
              </a:ext>
            </a:extLst>
          </p:cNvPr>
          <p:cNvSpPr/>
          <p:nvPr/>
        </p:nvSpPr>
        <p:spPr>
          <a:xfrm>
            <a:off x="7062377" y="7649835"/>
            <a:ext cx="4319998" cy="1184602"/>
          </a:xfrm>
          <a:prstGeom prst="roundRect">
            <a:avLst>
              <a:gd name="adj" fmla="val 231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/>
            <a:r>
              <a:rPr lang="ru-RU" sz="2800" dirty="0">
                <a:solidFill>
                  <a:schemeClr val="tx1"/>
                </a:solidFill>
                <a:latin typeface="YS Text Regular"/>
              </a:rPr>
              <a:t>Кино и сериалы </a:t>
            </a:r>
            <a:br>
              <a:rPr lang="ru-RU" sz="2800" dirty="0">
                <a:solidFill>
                  <a:schemeClr val="tx1"/>
                </a:solidFill>
                <a:latin typeface="YS Text Regular"/>
              </a:rPr>
            </a:br>
            <a:r>
              <a:rPr lang="ru-RU" sz="2800" dirty="0">
                <a:solidFill>
                  <a:schemeClr val="tx1"/>
                </a:solidFill>
                <a:latin typeface="YS Text Regular"/>
              </a:rPr>
              <a:t>(</a:t>
            </a:r>
            <a:r>
              <a:rPr lang="en" sz="2800" dirty="0">
                <a:solidFill>
                  <a:schemeClr val="tx1"/>
                </a:solidFill>
                <a:latin typeface="YS Text Regular"/>
              </a:rPr>
              <a:t>VOD)</a:t>
            </a:r>
            <a:endParaRPr lang="ru-RU" sz="28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38AA0194-0CFA-8AF7-579F-7971BA5E7EAF}"/>
              </a:ext>
            </a:extLst>
          </p:cNvPr>
          <p:cNvSpPr/>
          <p:nvPr/>
        </p:nvSpPr>
        <p:spPr>
          <a:xfrm>
            <a:off x="11688762" y="7649835"/>
            <a:ext cx="4319998" cy="118460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/>
            <a:r>
              <a:rPr lang="ru-RU" sz="2800" dirty="0">
                <a:solidFill>
                  <a:schemeClr val="tx1"/>
                </a:solidFill>
                <a:latin typeface="YS Text Regular"/>
              </a:rPr>
              <a:t>Эфирное ТВ</a:t>
            </a:r>
            <a:br>
              <a:rPr lang="ru-RU" sz="2800" dirty="0">
                <a:solidFill>
                  <a:schemeClr val="tx1"/>
                </a:solidFill>
                <a:latin typeface="YS Text Regular"/>
              </a:rPr>
            </a:br>
            <a:r>
              <a:rPr lang="ru-RU" sz="2800" dirty="0">
                <a:solidFill>
                  <a:schemeClr val="tx1"/>
                </a:solidFill>
                <a:latin typeface="YS Text Regular"/>
              </a:rPr>
              <a:t>онлайн</a:t>
            </a:r>
            <a:endParaRPr lang="ru-RU" sz="28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2B790417-4FD4-E805-B7D9-4FD715705859}"/>
              </a:ext>
            </a:extLst>
          </p:cNvPr>
          <p:cNvSpPr/>
          <p:nvPr/>
        </p:nvSpPr>
        <p:spPr>
          <a:xfrm>
            <a:off x="9332162" y="1217613"/>
            <a:ext cx="9033009" cy="1216025"/>
          </a:xfrm>
          <a:prstGeom prst="roundRect">
            <a:avLst>
              <a:gd name="adj" fmla="val 2293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>
              <a:defRPr/>
            </a:pPr>
            <a:r>
              <a:rPr lang="en" sz="2800" dirty="0">
                <a:solidFill>
                  <a:schemeClr val="bg2"/>
                </a:solidFill>
                <a:latin typeface="YS Text Regular"/>
                <a:cs typeface="YS Text Regular" pitchFamily="2" charset="0"/>
              </a:rPr>
              <a:t>CTV-</a:t>
            </a:r>
            <a:r>
              <a:rPr lang="ru-RU" sz="2800" dirty="0">
                <a:solidFill>
                  <a:schemeClr val="bg2"/>
                </a:solidFill>
                <a:latin typeface="YS Text Regular"/>
                <a:cs typeface="YS Text Regular" pitchFamily="2" charset="0"/>
              </a:rPr>
              <a:t>устройство</a:t>
            </a:r>
            <a:endParaRPr lang="ru-RU" sz="2800" dirty="0">
              <a:solidFill>
                <a:schemeClr val="bg2"/>
              </a:solidFill>
              <a:latin typeface="YS Text Regular"/>
              <a:cs typeface="YS Text Regular" pitchFamily="2" charset="0"/>
              <a:sym typeface="Arial"/>
            </a:endParaRPr>
          </a:p>
        </p:txBody>
      </p:sp>
      <p:sp>
        <p:nvSpPr>
          <p:cNvPr id="3" name="Скругленный прямоугольник 25">
            <a:extLst>
              <a:ext uri="{FF2B5EF4-FFF2-40B4-BE49-F238E27FC236}">
                <a16:creationId xmlns:a16="http://schemas.microsoft.com/office/drawing/2014/main" id="{CADD6034-FA51-8B27-75B6-8E644359354C}"/>
              </a:ext>
            </a:extLst>
          </p:cNvPr>
          <p:cNvSpPr/>
          <p:nvPr/>
        </p:nvSpPr>
        <p:spPr>
          <a:xfrm>
            <a:off x="18636084" y="5480050"/>
            <a:ext cx="4320000" cy="12192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>
              <a:defRPr/>
            </a:pPr>
            <a:r>
              <a:rPr lang="ru-RU" sz="2800" dirty="0">
                <a:solidFill>
                  <a:schemeClr val="tx1"/>
                </a:solidFill>
                <a:latin typeface="YS Text Regular"/>
                <a:cs typeface="YS Text Regular" pitchFamily="2" charset="0"/>
              </a:rPr>
              <a:t>Другие </a:t>
            </a:r>
            <a:r>
              <a:rPr lang="en-US" sz="2800" dirty="0">
                <a:solidFill>
                  <a:schemeClr val="tx1"/>
                </a:solidFill>
                <a:latin typeface="YS Text Regular"/>
                <a:cs typeface="YS Text Regular" pitchFamily="2" charset="0"/>
              </a:rPr>
              <a:t>Smart TV apps</a:t>
            </a:r>
            <a:r>
              <a:rPr lang="ru-RU" sz="2800" dirty="0">
                <a:solidFill>
                  <a:schemeClr val="tx1"/>
                </a:solidFill>
                <a:latin typeface="YS Text Regular"/>
                <a:cs typeface="YS Text Regular" pitchFamily="2" charset="0"/>
              </a:rPr>
              <a:t> </a:t>
            </a:r>
            <a:br>
              <a:rPr lang="ru-RU" sz="2800" dirty="0">
                <a:solidFill>
                  <a:schemeClr val="tx1"/>
                </a:solidFill>
                <a:latin typeface="YS Text Regular"/>
                <a:cs typeface="YS Text Regular" pitchFamily="2" charset="0"/>
              </a:rPr>
            </a:br>
            <a:r>
              <a:rPr lang="ru-RU" sz="2800" dirty="0">
                <a:solidFill>
                  <a:schemeClr val="tx1"/>
                </a:solidFill>
                <a:latin typeface="YS Text Regular"/>
                <a:cs typeface="YS Text Regular" pitchFamily="2" charset="0"/>
              </a:rPr>
              <a:t>(музыка, игры</a:t>
            </a:r>
            <a:r>
              <a:rPr lang="en-US" sz="2800" dirty="0">
                <a:solidFill>
                  <a:schemeClr val="tx1"/>
                </a:solidFill>
                <a:latin typeface="YS Text Regular"/>
                <a:cs typeface="YS Text Regular" pitchFamily="2" charset="0"/>
              </a:rPr>
              <a:t> </a:t>
            </a:r>
            <a:r>
              <a:rPr lang="ru-RU" sz="2800" dirty="0">
                <a:solidFill>
                  <a:schemeClr val="tx1"/>
                </a:solidFill>
                <a:latin typeface="YS Text Regular"/>
                <a:cs typeface="YS Text Regular" pitchFamily="2" charset="0"/>
              </a:rPr>
              <a:t>и т. д.) </a:t>
            </a:r>
            <a:endParaRPr lang="ru-RU" sz="2800" dirty="0">
              <a:solidFill>
                <a:schemeClr val="tx1"/>
              </a:solidFill>
              <a:latin typeface="YS Text Regular"/>
              <a:cs typeface="YS Text Regular" pitchFamily="2" charset="0"/>
              <a:sym typeface="Arial"/>
            </a:endParaRPr>
          </a:p>
        </p:txBody>
      </p:sp>
      <p:grpSp>
        <p:nvGrpSpPr>
          <p:cNvPr id="86" name="Группа 85">
            <a:extLst>
              <a:ext uri="{FF2B5EF4-FFF2-40B4-BE49-F238E27FC236}">
                <a16:creationId xmlns:a16="http://schemas.microsoft.com/office/drawing/2014/main" id="{1EDDF16B-61ED-2EC0-35B2-DB53F5A7D275}"/>
              </a:ext>
            </a:extLst>
          </p:cNvPr>
          <p:cNvGrpSpPr/>
          <p:nvPr/>
        </p:nvGrpSpPr>
        <p:grpSpPr>
          <a:xfrm>
            <a:off x="9222376" y="6699250"/>
            <a:ext cx="4626385" cy="950585"/>
            <a:chOff x="9222375" y="6699250"/>
            <a:chExt cx="4626385" cy="950585"/>
          </a:xfrm>
        </p:grpSpPr>
        <p:cxnSp>
          <p:nvCxnSpPr>
            <p:cNvPr id="12" name="Прямая со стрелкой 11">
              <a:extLst>
                <a:ext uri="{FF2B5EF4-FFF2-40B4-BE49-F238E27FC236}">
                  <a16:creationId xmlns:a16="http://schemas.microsoft.com/office/drawing/2014/main" id="{DB25EB45-EFB2-F3C1-84CC-7F144561D9D4}"/>
                </a:ext>
              </a:extLst>
            </p:cNvPr>
            <p:cNvCxnSpPr>
              <a:cxnSpLocks/>
              <a:stCxn id="27" idx="0"/>
              <a:endCxn id="54" idx="0"/>
            </p:cNvCxnSpPr>
            <p:nvPr/>
          </p:nvCxnSpPr>
          <p:spPr>
            <a:xfrm flipV="1">
              <a:off x="9222375" y="7392998"/>
              <a:ext cx="0" cy="256837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 стрелкой 19">
              <a:extLst>
                <a:ext uri="{FF2B5EF4-FFF2-40B4-BE49-F238E27FC236}">
                  <a16:creationId xmlns:a16="http://schemas.microsoft.com/office/drawing/2014/main" id="{93842C6E-2BBA-EA08-85FB-7C4F26CA60A4}"/>
                </a:ext>
              </a:extLst>
            </p:cNvPr>
            <p:cNvCxnSpPr>
              <a:cxnSpLocks/>
              <a:stCxn id="28" idx="0"/>
              <a:endCxn id="58" idx="2"/>
            </p:cNvCxnSpPr>
            <p:nvPr/>
          </p:nvCxnSpPr>
          <p:spPr>
            <a:xfrm flipH="1" flipV="1">
              <a:off x="13848664" y="7394903"/>
              <a:ext cx="96" cy="254932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 стрелкой 20">
              <a:extLst>
                <a:ext uri="{FF2B5EF4-FFF2-40B4-BE49-F238E27FC236}">
                  <a16:creationId xmlns:a16="http://schemas.microsoft.com/office/drawing/2014/main" id="{CA32923D-EBE7-1FE2-2D73-9BE5B1DA087D}"/>
                </a:ext>
              </a:extLst>
            </p:cNvPr>
            <p:cNvCxnSpPr>
              <a:cxnSpLocks/>
              <a:endCxn id="24" idx="2"/>
            </p:cNvCxnSpPr>
            <p:nvPr/>
          </p:nvCxnSpPr>
          <p:spPr>
            <a:xfrm flipV="1">
              <a:off x="11535567" y="6699250"/>
              <a:ext cx="0" cy="36068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Дуга 30">
              <a:extLst>
                <a:ext uri="{FF2B5EF4-FFF2-40B4-BE49-F238E27FC236}">
                  <a16:creationId xmlns:a16="http://schemas.microsoft.com/office/drawing/2014/main" id="{1B1DCBDD-B4FB-1AE4-C2C6-65B2E18AB25D}"/>
                </a:ext>
              </a:extLst>
            </p:cNvPr>
            <p:cNvSpPr/>
            <p:nvPr/>
          </p:nvSpPr>
          <p:spPr>
            <a:xfrm rot="10800000">
              <a:off x="11535567" y="6913498"/>
              <a:ext cx="294074" cy="294074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32" name="Прямая со стрелкой 31">
              <a:extLst>
                <a:ext uri="{FF2B5EF4-FFF2-40B4-BE49-F238E27FC236}">
                  <a16:creationId xmlns:a16="http://schemas.microsoft.com/office/drawing/2014/main" id="{A021400E-D876-4664-923D-4BD39A9E864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406697" y="7208676"/>
              <a:ext cx="1981736" cy="801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 стрелкой 40">
              <a:extLst>
                <a:ext uri="{FF2B5EF4-FFF2-40B4-BE49-F238E27FC236}">
                  <a16:creationId xmlns:a16="http://schemas.microsoft.com/office/drawing/2014/main" id="{3162DAD5-3562-63F2-781D-A2EAE3593B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682604" y="7208676"/>
              <a:ext cx="1981738" cy="801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Дуга 53">
              <a:extLst>
                <a:ext uri="{FF2B5EF4-FFF2-40B4-BE49-F238E27FC236}">
                  <a16:creationId xmlns:a16="http://schemas.microsoft.com/office/drawing/2014/main" id="{5EEABC88-779C-38B2-576D-07EF0648E7FF}"/>
                </a:ext>
              </a:extLst>
            </p:cNvPr>
            <p:cNvSpPr/>
            <p:nvPr/>
          </p:nvSpPr>
          <p:spPr>
            <a:xfrm rot="16200000">
              <a:off x="9222375" y="7208676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Дуга 57">
              <a:extLst>
                <a:ext uri="{FF2B5EF4-FFF2-40B4-BE49-F238E27FC236}">
                  <a16:creationId xmlns:a16="http://schemas.microsoft.com/office/drawing/2014/main" id="{C9D5CE6A-13ED-4F2A-44D3-AA036607AB7F}"/>
                </a:ext>
              </a:extLst>
            </p:cNvPr>
            <p:cNvSpPr/>
            <p:nvPr/>
          </p:nvSpPr>
          <p:spPr>
            <a:xfrm>
              <a:off x="13480021" y="7210581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3" name="Дуга 122">
              <a:extLst>
                <a:ext uri="{FF2B5EF4-FFF2-40B4-BE49-F238E27FC236}">
                  <a16:creationId xmlns:a16="http://schemas.microsoft.com/office/drawing/2014/main" id="{7EF42441-40FB-5218-0493-F92F1C7ED66E}"/>
                </a:ext>
              </a:extLst>
            </p:cNvPr>
            <p:cNvSpPr/>
            <p:nvPr/>
          </p:nvSpPr>
          <p:spPr>
            <a:xfrm rot="10800000" flipH="1">
              <a:off x="11241396" y="6913498"/>
              <a:ext cx="294074" cy="294074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id="{B96DFAD7-003B-F37B-D94E-133A5207A232}"/>
              </a:ext>
            </a:extLst>
          </p:cNvPr>
          <p:cNvGrpSpPr/>
          <p:nvPr/>
        </p:nvGrpSpPr>
        <p:grpSpPr>
          <a:xfrm>
            <a:off x="11535471" y="2441054"/>
            <a:ext cx="4608652" cy="3038996"/>
            <a:chOff x="11692029" y="2688304"/>
            <a:chExt cx="4608652" cy="3038996"/>
          </a:xfrm>
        </p:grpSpPr>
        <p:cxnSp>
          <p:nvCxnSpPr>
            <p:cNvPr id="61" name="Прямая со стрелкой 60">
              <a:extLst>
                <a:ext uri="{FF2B5EF4-FFF2-40B4-BE49-F238E27FC236}">
                  <a16:creationId xmlns:a16="http://schemas.microsoft.com/office/drawing/2014/main" id="{0F6ED58D-2158-3D38-4294-0C91A0F29AAF}"/>
                </a:ext>
              </a:extLst>
            </p:cNvPr>
            <p:cNvCxnSpPr>
              <a:cxnSpLocks/>
              <a:stCxn id="24" idx="0"/>
            </p:cNvCxnSpPr>
            <p:nvPr/>
          </p:nvCxnSpPr>
          <p:spPr>
            <a:xfrm flipV="1">
              <a:off x="11692126" y="3380146"/>
              <a:ext cx="0" cy="2347154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 стрелкой 61">
              <a:extLst>
                <a:ext uri="{FF2B5EF4-FFF2-40B4-BE49-F238E27FC236}">
                  <a16:creationId xmlns:a16="http://schemas.microsoft.com/office/drawing/2014/main" id="{77F58C01-89AC-307B-7179-038611F07862}"/>
                </a:ext>
              </a:extLst>
            </p:cNvPr>
            <p:cNvCxnSpPr>
              <a:cxnSpLocks/>
              <a:stCxn id="26" idx="0"/>
            </p:cNvCxnSpPr>
            <p:nvPr/>
          </p:nvCxnSpPr>
          <p:spPr>
            <a:xfrm flipV="1">
              <a:off x="16300681" y="3380146"/>
              <a:ext cx="0" cy="2347154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 стрелкой 62">
              <a:extLst>
                <a:ext uri="{FF2B5EF4-FFF2-40B4-BE49-F238E27FC236}">
                  <a16:creationId xmlns:a16="http://schemas.microsoft.com/office/drawing/2014/main" id="{039388B4-0D28-8CBE-72C0-3568C66EA9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005223" y="2688304"/>
              <a:ext cx="1" cy="360484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Дуга 63">
              <a:extLst>
                <a:ext uri="{FF2B5EF4-FFF2-40B4-BE49-F238E27FC236}">
                  <a16:creationId xmlns:a16="http://schemas.microsoft.com/office/drawing/2014/main" id="{DBAB3BB2-89CA-E011-F0B6-41BBA220D4A7}"/>
                </a:ext>
              </a:extLst>
            </p:cNvPr>
            <p:cNvSpPr/>
            <p:nvPr/>
          </p:nvSpPr>
          <p:spPr>
            <a:xfrm rot="5400000">
              <a:off x="13636579" y="2827982"/>
              <a:ext cx="368643" cy="368643"/>
            </a:xfrm>
            <a:prstGeom prst="arc">
              <a:avLst>
                <a:gd name="adj1" fmla="val 16578216"/>
                <a:gd name="adj2" fmla="val 0"/>
              </a:avLst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Дуга 64">
              <a:extLst>
                <a:ext uri="{FF2B5EF4-FFF2-40B4-BE49-F238E27FC236}">
                  <a16:creationId xmlns:a16="http://schemas.microsoft.com/office/drawing/2014/main" id="{AED60F38-BD0D-76F8-A2FD-AFBDAF25EE34}"/>
                </a:ext>
              </a:extLst>
            </p:cNvPr>
            <p:cNvSpPr/>
            <p:nvPr/>
          </p:nvSpPr>
          <p:spPr>
            <a:xfrm rot="10800000">
              <a:off x="14005223" y="2901751"/>
              <a:ext cx="294074" cy="294074"/>
            </a:xfrm>
            <a:prstGeom prst="arc">
              <a:avLst>
                <a:gd name="adj1" fmla="val 16200000"/>
                <a:gd name="adj2" fmla="val 225514"/>
              </a:avLst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66" name="Прямая со стрелкой 65">
              <a:extLst>
                <a:ext uri="{FF2B5EF4-FFF2-40B4-BE49-F238E27FC236}">
                  <a16:creationId xmlns:a16="http://schemas.microsoft.com/office/drawing/2014/main" id="{0058EF82-D1A5-8A8D-0DD7-637BC4452505}"/>
                </a:ext>
              </a:extLst>
            </p:cNvPr>
            <p:cNvCxnSpPr>
              <a:cxnSpLocks/>
              <a:stCxn id="64" idx="2"/>
              <a:endCxn id="68" idx="2"/>
            </p:cNvCxnSpPr>
            <p:nvPr/>
          </p:nvCxnSpPr>
          <p:spPr>
            <a:xfrm flipH="1" flipV="1">
              <a:off x="11876351" y="3195825"/>
              <a:ext cx="1944549" cy="80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Прямая со стрелкой 66">
              <a:extLst>
                <a:ext uri="{FF2B5EF4-FFF2-40B4-BE49-F238E27FC236}">
                  <a16:creationId xmlns:a16="http://schemas.microsoft.com/office/drawing/2014/main" id="{AF74CD9F-3618-DC67-23BE-D297F2609F1B}"/>
                </a:ext>
              </a:extLst>
            </p:cNvPr>
            <p:cNvCxnSpPr>
              <a:cxnSpLocks/>
              <a:stCxn id="69" idx="0"/>
              <a:endCxn id="65" idx="0"/>
            </p:cNvCxnSpPr>
            <p:nvPr/>
          </p:nvCxnSpPr>
          <p:spPr>
            <a:xfrm flipH="1">
              <a:off x="14152260" y="3195825"/>
              <a:ext cx="1964099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Дуга 67">
              <a:extLst>
                <a:ext uri="{FF2B5EF4-FFF2-40B4-BE49-F238E27FC236}">
                  <a16:creationId xmlns:a16="http://schemas.microsoft.com/office/drawing/2014/main" id="{490BC973-9709-6CA0-D09A-3B62664F9DD7}"/>
                </a:ext>
              </a:extLst>
            </p:cNvPr>
            <p:cNvSpPr/>
            <p:nvPr/>
          </p:nvSpPr>
          <p:spPr>
            <a:xfrm rot="16200000">
              <a:off x="11692029" y="3195825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Дуга 68">
              <a:extLst>
                <a:ext uri="{FF2B5EF4-FFF2-40B4-BE49-F238E27FC236}">
                  <a16:creationId xmlns:a16="http://schemas.microsoft.com/office/drawing/2014/main" id="{BC530886-B05E-F73B-47F7-207F20B476F9}"/>
                </a:ext>
              </a:extLst>
            </p:cNvPr>
            <p:cNvSpPr/>
            <p:nvPr/>
          </p:nvSpPr>
          <p:spPr>
            <a:xfrm>
              <a:off x="15932038" y="3195825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" name="Скругленный прямоугольник 25">
            <a:extLst>
              <a:ext uri="{FF2B5EF4-FFF2-40B4-BE49-F238E27FC236}">
                <a16:creationId xmlns:a16="http://schemas.microsoft.com/office/drawing/2014/main" id="{072BB8B9-85CD-01A5-7173-1E44AF6B1348}"/>
              </a:ext>
            </a:extLst>
          </p:cNvPr>
          <p:cNvSpPr/>
          <p:nvPr/>
        </p:nvSpPr>
        <p:spPr>
          <a:xfrm>
            <a:off x="9332162" y="3359410"/>
            <a:ext cx="9033009" cy="1206240"/>
          </a:xfrm>
          <a:prstGeom prst="roundRect">
            <a:avLst>
              <a:gd name="adj" fmla="val 2509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>
              <a:defRPr/>
            </a:pPr>
            <a:r>
              <a:rPr lang="ru-RU" sz="2800" dirty="0">
                <a:solidFill>
                  <a:schemeClr val="tx1"/>
                </a:solidFill>
                <a:latin typeface="YS Text Regular"/>
                <a:cs typeface="YS Text Regular" pitchFamily="2" charset="0"/>
              </a:rPr>
              <a:t>Выбор контента в операционной системе</a:t>
            </a:r>
            <a:endParaRPr lang="ru-RU" sz="2800" dirty="0">
              <a:solidFill>
                <a:schemeClr val="tx1"/>
              </a:solidFill>
              <a:latin typeface="YS Text Regular"/>
              <a:cs typeface="YS Text Regular" pitchFamily="2" charset="0"/>
              <a:sym typeface="Arial"/>
            </a:endParaRPr>
          </a:p>
        </p:txBody>
      </p:sp>
      <p:sp>
        <p:nvSpPr>
          <p:cNvPr id="14" name="Скругленный прямоугольник 29">
            <a:extLst>
              <a:ext uri="{FF2B5EF4-FFF2-40B4-BE49-F238E27FC236}">
                <a16:creationId xmlns:a16="http://schemas.microsoft.com/office/drawing/2014/main" id="{8A6339BC-E036-F3FB-A53E-1601B9597AFD}"/>
              </a:ext>
            </a:extLst>
          </p:cNvPr>
          <p:cNvSpPr/>
          <p:nvPr/>
        </p:nvSpPr>
        <p:spPr>
          <a:xfrm>
            <a:off x="9382986" y="9785022"/>
            <a:ext cx="4319998" cy="2705428"/>
          </a:xfrm>
          <a:prstGeom prst="roundRect">
            <a:avLst>
              <a:gd name="adj" fmla="val 9583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 anchorCtr="0"/>
          <a:lstStyle/>
          <a:p>
            <a:pPr algn="ctr" defTabSz="457177"/>
            <a:r>
              <a:rPr lang="ru-RU" sz="2800" dirty="0">
                <a:solidFill>
                  <a:schemeClr val="tx1"/>
                </a:solidFill>
                <a:latin typeface="YS Text Regular"/>
              </a:rPr>
              <a:t>Федеральные </a:t>
            </a:r>
            <a:br>
              <a:rPr lang="ru-RU" sz="2800" dirty="0">
                <a:solidFill>
                  <a:schemeClr val="tx1"/>
                </a:solidFill>
                <a:latin typeface="YS Text Regular"/>
              </a:rPr>
            </a:br>
            <a:r>
              <a:rPr lang="ru-RU" sz="2800" dirty="0">
                <a:solidFill>
                  <a:schemeClr val="tx1"/>
                </a:solidFill>
                <a:latin typeface="YS Text Regular"/>
              </a:rPr>
              <a:t>каналы</a:t>
            </a:r>
          </a:p>
          <a:p>
            <a:pPr algn="ctr" defTabSz="457177"/>
            <a:endParaRPr lang="ru-RU" sz="2800" dirty="0">
              <a:solidFill>
                <a:schemeClr val="tx1"/>
              </a:solidFill>
              <a:latin typeface="YS Text Regular"/>
            </a:endParaRPr>
          </a:p>
          <a:p>
            <a:pPr algn="ctr" defTabSz="457177"/>
            <a:endParaRPr lang="ru-RU" sz="2800" dirty="0">
              <a:solidFill>
                <a:schemeClr val="tx1"/>
              </a:solidFill>
              <a:latin typeface="YS Text Regular"/>
              <a:sym typeface="Arial"/>
            </a:endParaRPr>
          </a:p>
          <a:p>
            <a:pPr algn="ctr" defTabSz="457177"/>
            <a:endParaRPr lang="ru-RU" sz="28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C307DAF-ED04-9B7C-9212-1C761BE9C0D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225020" y="11126602"/>
            <a:ext cx="2635930" cy="658984"/>
          </a:xfrm>
          <a:prstGeom prst="rect">
            <a:avLst/>
          </a:prstGeom>
        </p:spPr>
      </p:pic>
      <p:sp>
        <p:nvSpPr>
          <p:cNvPr id="16" name="Google Shape;322;p32">
            <a:extLst>
              <a:ext uri="{FF2B5EF4-FFF2-40B4-BE49-F238E27FC236}">
                <a16:creationId xmlns:a16="http://schemas.microsoft.com/office/drawing/2014/main" id="{CB979E1D-40AD-73CE-FE4A-183CCADF29C5}"/>
              </a:ext>
            </a:extLst>
          </p:cNvPr>
          <p:cNvSpPr txBox="1">
            <a:spLocks/>
          </p:cNvSpPr>
          <p:nvPr/>
        </p:nvSpPr>
        <p:spPr>
          <a:xfrm>
            <a:off x="10661301" y="11931289"/>
            <a:ext cx="1763369" cy="3041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05000"/>
              </a:lnSpc>
              <a:spcAft>
                <a:spcPts val="2200"/>
              </a:spcAft>
              <a:defRPr sz="3200">
                <a:solidFill>
                  <a:srgbClr val="8F96A5"/>
                </a:solidFill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40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828529">
              <a:lnSpc>
                <a:spcPct val="1040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ru-RU" sz="2000" dirty="0">
                <a:solidFill>
                  <a:schemeClr val="tx1"/>
                </a:solidFill>
                <a:latin typeface="YS Text Regular"/>
                <a:cs typeface="YS Text Regular" pitchFamily="2" charset="0"/>
                <a:sym typeface="Arial"/>
              </a:rPr>
              <a:t>и другие</a:t>
            </a:r>
          </a:p>
        </p:txBody>
      </p:sp>
      <p:sp>
        <p:nvSpPr>
          <p:cNvPr id="17" name="Скругленный прямоугольник 34">
            <a:extLst>
              <a:ext uri="{FF2B5EF4-FFF2-40B4-BE49-F238E27FC236}">
                <a16:creationId xmlns:a16="http://schemas.microsoft.com/office/drawing/2014/main" id="{FCB6C4F6-D45D-3BFD-80CE-B487706763E3}"/>
              </a:ext>
            </a:extLst>
          </p:cNvPr>
          <p:cNvSpPr/>
          <p:nvPr/>
        </p:nvSpPr>
        <p:spPr>
          <a:xfrm>
            <a:off x="13989713" y="9785022"/>
            <a:ext cx="4314410" cy="2705428"/>
          </a:xfrm>
          <a:prstGeom prst="roundRect">
            <a:avLst>
              <a:gd name="adj" fmla="val 9583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 anchorCtr="0"/>
          <a:lstStyle/>
          <a:p>
            <a:pPr algn="ctr" defTabSz="457177"/>
            <a:r>
              <a:rPr lang="ru-RU" sz="2800" dirty="0">
                <a:solidFill>
                  <a:schemeClr val="tx1"/>
                </a:solidFill>
                <a:latin typeface="YS Text Regular"/>
              </a:rPr>
              <a:t>Тематические </a:t>
            </a:r>
            <a:br>
              <a:rPr lang="ru-RU" sz="2800" dirty="0">
                <a:solidFill>
                  <a:schemeClr val="tx1"/>
                </a:solidFill>
                <a:latin typeface="YS Text Regular"/>
              </a:rPr>
            </a:br>
            <a:r>
              <a:rPr lang="ru-RU" sz="2800" dirty="0">
                <a:solidFill>
                  <a:schemeClr val="tx1"/>
                </a:solidFill>
                <a:latin typeface="YS Text Regular"/>
              </a:rPr>
              <a:t>каналы</a:t>
            </a:r>
          </a:p>
          <a:p>
            <a:pPr algn="ctr" defTabSz="457177"/>
            <a:endParaRPr lang="ru-RU" sz="2800" dirty="0">
              <a:solidFill>
                <a:schemeClr val="tx1"/>
              </a:solidFill>
              <a:latin typeface="YS Text Regular"/>
            </a:endParaRPr>
          </a:p>
          <a:p>
            <a:pPr algn="ctr" defTabSz="457177"/>
            <a:endParaRPr lang="ru-RU" sz="2800" dirty="0">
              <a:solidFill>
                <a:schemeClr val="tx1"/>
              </a:solidFill>
              <a:latin typeface="YS Text Regular"/>
              <a:sym typeface="Arial"/>
            </a:endParaRPr>
          </a:p>
          <a:p>
            <a:pPr algn="ctr" defTabSz="457177"/>
            <a:endParaRPr lang="ru-RU" sz="28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39374176-187F-FAD0-8279-1EAA3148D62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53" r="-139"/>
          <a:stretch>
            <a:fillRect/>
          </a:stretch>
        </p:blipFill>
        <p:spPr>
          <a:xfrm>
            <a:off x="14316690" y="11139269"/>
            <a:ext cx="3660457" cy="658984"/>
          </a:xfrm>
          <a:prstGeom prst="rect">
            <a:avLst/>
          </a:prstGeom>
        </p:spPr>
      </p:pic>
      <p:sp>
        <p:nvSpPr>
          <p:cNvPr id="22" name="Google Shape;322;p32">
            <a:extLst>
              <a:ext uri="{FF2B5EF4-FFF2-40B4-BE49-F238E27FC236}">
                <a16:creationId xmlns:a16="http://schemas.microsoft.com/office/drawing/2014/main" id="{1DF9EF75-9D84-D417-FD75-EE5E9DCDD383}"/>
              </a:ext>
            </a:extLst>
          </p:cNvPr>
          <p:cNvSpPr txBox="1">
            <a:spLocks/>
          </p:cNvSpPr>
          <p:nvPr/>
        </p:nvSpPr>
        <p:spPr>
          <a:xfrm>
            <a:off x="15269647" y="11931289"/>
            <a:ext cx="1754543" cy="3041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05000"/>
              </a:lnSpc>
              <a:spcAft>
                <a:spcPts val="2200"/>
              </a:spcAft>
              <a:defRPr sz="3200">
                <a:solidFill>
                  <a:srgbClr val="8F96A5"/>
                </a:solidFill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40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828529">
              <a:lnSpc>
                <a:spcPct val="1040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ru-RU" sz="2000" dirty="0">
                <a:solidFill>
                  <a:schemeClr val="tx1"/>
                </a:solidFill>
                <a:latin typeface="YS Text Regular"/>
                <a:cs typeface="YS Text Regular" pitchFamily="2" charset="0"/>
                <a:sym typeface="Arial"/>
              </a:rPr>
              <a:t>и другие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3CAB16D0-7F41-D218-BDDF-296F27AE75DB}"/>
              </a:ext>
            </a:extLst>
          </p:cNvPr>
          <p:cNvGrpSpPr/>
          <p:nvPr/>
        </p:nvGrpSpPr>
        <p:grpSpPr>
          <a:xfrm>
            <a:off x="11542985" y="8834437"/>
            <a:ext cx="4601138" cy="950585"/>
            <a:chOff x="9176923" y="6699250"/>
            <a:chExt cx="4601138" cy="950585"/>
          </a:xfrm>
        </p:grpSpPr>
        <p:cxnSp>
          <p:nvCxnSpPr>
            <p:cNvPr id="25" name="Прямая со стрелкой 24">
              <a:extLst>
                <a:ext uri="{FF2B5EF4-FFF2-40B4-BE49-F238E27FC236}">
                  <a16:creationId xmlns:a16="http://schemas.microsoft.com/office/drawing/2014/main" id="{7584ECC1-8B8D-CAFD-A1B2-20A8117A54DF}"/>
                </a:ext>
              </a:extLst>
            </p:cNvPr>
            <p:cNvCxnSpPr>
              <a:cxnSpLocks/>
              <a:stCxn id="14" idx="0"/>
            </p:cNvCxnSpPr>
            <p:nvPr/>
          </p:nvCxnSpPr>
          <p:spPr>
            <a:xfrm flipV="1">
              <a:off x="9176923" y="7391092"/>
              <a:ext cx="0" cy="258743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 стрелкой 28">
              <a:extLst>
                <a:ext uri="{FF2B5EF4-FFF2-40B4-BE49-F238E27FC236}">
                  <a16:creationId xmlns:a16="http://schemas.microsoft.com/office/drawing/2014/main" id="{B2966CFF-2D43-5177-B2B5-D83197FAE1C2}"/>
                </a:ext>
              </a:extLst>
            </p:cNvPr>
            <p:cNvCxnSpPr>
              <a:cxnSpLocks/>
              <a:stCxn id="17" idx="0"/>
              <a:endCxn id="45" idx="2"/>
            </p:cNvCxnSpPr>
            <p:nvPr/>
          </p:nvCxnSpPr>
          <p:spPr>
            <a:xfrm flipH="1" flipV="1">
              <a:off x="13778061" y="7391093"/>
              <a:ext cx="0" cy="258742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 стрелкой 37">
              <a:extLst>
                <a:ext uri="{FF2B5EF4-FFF2-40B4-BE49-F238E27FC236}">
                  <a16:creationId xmlns:a16="http://schemas.microsoft.com/office/drawing/2014/main" id="{A7EB77A0-E04C-EA49-DFB9-DE3D1B2E9E6B}"/>
                </a:ext>
              </a:extLst>
            </p:cNvPr>
            <p:cNvCxnSpPr>
              <a:cxnSpLocks/>
              <a:stCxn id="40" idx="2"/>
            </p:cNvCxnSpPr>
            <p:nvPr/>
          </p:nvCxnSpPr>
          <p:spPr>
            <a:xfrm flipH="1" flipV="1">
              <a:off x="11482699" y="6699250"/>
              <a:ext cx="9462" cy="360484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Дуга 38">
              <a:extLst>
                <a:ext uri="{FF2B5EF4-FFF2-40B4-BE49-F238E27FC236}">
                  <a16:creationId xmlns:a16="http://schemas.microsoft.com/office/drawing/2014/main" id="{15EC6C05-5526-DFA0-D0E6-9CAA5B16E0F9}"/>
                </a:ext>
              </a:extLst>
            </p:cNvPr>
            <p:cNvSpPr/>
            <p:nvPr/>
          </p:nvSpPr>
          <p:spPr>
            <a:xfrm rot="5400000">
              <a:off x="11123517" y="6838928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Дуга 39">
              <a:extLst>
                <a:ext uri="{FF2B5EF4-FFF2-40B4-BE49-F238E27FC236}">
                  <a16:creationId xmlns:a16="http://schemas.microsoft.com/office/drawing/2014/main" id="{3DF4C95C-A91C-DEC6-2433-2562EC823ECA}"/>
                </a:ext>
              </a:extLst>
            </p:cNvPr>
            <p:cNvSpPr/>
            <p:nvPr/>
          </p:nvSpPr>
          <p:spPr>
            <a:xfrm rot="10800000">
              <a:off x="11492161" y="6912697"/>
              <a:ext cx="294074" cy="294074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42" name="Прямая со стрелкой 41">
              <a:extLst>
                <a:ext uri="{FF2B5EF4-FFF2-40B4-BE49-F238E27FC236}">
                  <a16:creationId xmlns:a16="http://schemas.microsoft.com/office/drawing/2014/main" id="{942FF262-B4A3-FBFD-AA32-E8D0E0D65FDF}"/>
                </a:ext>
              </a:extLst>
            </p:cNvPr>
            <p:cNvCxnSpPr>
              <a:cxnSpLocks/>
              <a:stCxn id="39" idx="2"/>
              <a:endCxn id="44" idx="2"/>
            </p:cNvCxnSpPr>
            <p:nvPr/>
          </p:nvCxnSpPr>
          <p:spPr>
            <a:xfrm flipH="1" flipV="1">
              <a:off x="9361245" y="7206771"/>
              <a:ext cx="1946593" cy="80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 стрелкой 42">
              <a:extLst>
                <a:ext uri="{FF2B5EF4-FFF2-40B4-BE49-F238E27FC236}">
                  <a16:creationId xmlns:a16="http://schemas.microsoft.com/office/drawing/2014/main" id="{08AACD4C-F791-16DE-0CF2-DBDD1B9FB070}"/>
                </a:ext>
              </a:extLst>
            </p:cNvPr>
            <p:cNvCxnSpPr>
              <a:cxnSpLocks/>
              <a:stCxn id="45" idx="0"/>
              <a:endCxn id="40" idx="0"/>
            </p:cNvCxnSpPr>
            <p:nvPr/>
          </p:nvCxnSpPr>
          <p:spPr>
            <a:xfrm flipH="1">
              <a:off x="11639198" y="7206771"/>
              <a:ext cx="1954541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Дуга 43">
              <a:extLst>
                <a:ext uri="{FF2B5EF4-FFF2-40B4-BE49-F238E27FC236}">
                  <a16:creationId xmlns:a16="http://schemas.microsoft.com/office/drawing/2014/main" id="{490FA885-A6CE-7234-B116-CCF92E9D28C3}"/>
                </a:ext>
              </a:extLst>
            </p:cNvPr>
            <p:cNvSpPr/>
            <p:nvPr/>
          </p:nvSpPr>
          <p:spPr>
            <a:xfrm rot="16200000">
              <a:off x="9176923" y="7206771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Дуга 44">
              <a:extLst>
                <a:ext uri="{FF2B5EF4-FFF2-40B4-BE49-F238E27FC236}">
                  <a16:creationId xmlns:a16="http://schemas.microsoft.com/office/drawing/2014/main" id="{DE3EE185-19EA-5866-764E-D5ADD9DB264E}"/>
                </a:ext>
              </a:extLst>
            </p:cNvPr>
            <p:cNvSpPr/>
            <p:nvPr/>
          </p:nvSpPr>
          <p:spPr>
            <a:xfrm>
              <a:off x="13409418" y="7206771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276357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491DD6-43E3-8777-449E-E625D375F3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B933AB71-E9DE-8BB5-1397-409D4FF9E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1000800"/>
            <a:ext cx="21492000" cy="3835024"/>
          </a:xfrm>
        </p:spPr>
        <p:txBody>
          <a:bodyPr/>
          <a:lstStyle/>
          <a:p>
            <a:r>
              <a:rPr lang="ru-RU" dirty="0"/>
              <a:t>Сценарии </a:t>
            </a:r>
            <a:br>
              <a:rPr lang="ru-RU" dirty="0"/>
            </a:br>
            <a:r>
              <a:rPr lang="ru-RU" dirty="0"/>
              <a:t>потребления </a:t>
            </a:r>
            <a:br>
              <a:rPr lang="ru-RU" dirty="0"/>
            </a:br>
            <a:r>
              <a:rPr lang="ru-RU" dirty="0"/>
              <a:t>контента </a:t>
            </a:r>
            <a:br>
              <a:rPr lang="ru-RU" dirty="0"/>
            </a:br>
            <a:r>
              <a:rPr lang="ru-RU" dirty="0"/>
              <a:t>на </a:t>
            </a:r>
            <a:r>
              <a:rPr lang="en" dirty="0"/>
              <a:t>Connected TV: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>
                <a:solidFill>
                  <a:schemeClr val="accent3"/>
                </a:solidFill>
              </a:rPr>
              <a:t>где есть реклама</a:t>
            </a:r>
          </a:p>
        </p:txBody>
      </p:sp>
      <p:sp>
        <p:nvSpPr>
          <p:cNvPr id="24" name="Скругленный прямоугольник 23">
            <a:extLst>
              <a:ext uri="{FF2B5EF4-FFF2-40B4-BE49-F238E27FC236}">
                <a16:creationId xmlns:a16="http://schemas.microsoft.com/office/drawing/2014/main" id="{CDDCFA4D-1647-2AED-B22F-564ECD31BC46}"/>
              </a:ext>
            </a:extLst>
          </p:cNvPr>
          <p:cNvSpPr/>
          <p:nvPr/>
        </p:nvSpPr>
        <p:spPr>
          <a:xfrm>
            <a:off x="9375568" y="5480050"/>
            <a:ext cx="4320000" cy="12192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>
              <a:defRPr/>
            </a:pPr>
            <a:r>
              <a:rPr lang="ru-RU" sz="2800" dirty="0">
                <a:solidFill>
                  <a:schemeClr val="tx1"/>
                </a:solidFill>
                <a:latin typeface="YS Text Regular"/>
                <a:cs typeface="YS Text Regular" pitchFamily="2" charset="0"/>
              </a:rPr>
              <a:t>Онлайн-кинотеатры</a:t>
            </a:r>
            <a:endParaRPr lang="ru-RU" sz="2800" dirty="0">
              <a:solidFill>
                <a:schemeClr val="tx1"/>
              </a:solidFill>
              <a:latin typeface="YS Text Regular"/>
              <a:cs typeface="YS Text Regular" pitchFamily="2" charset="0"/>
              <a:sym typeface="Arial"/>
            </a:endParaRPr>
          </a:p>
        </p:txBody>
      </p:sp>
      <p:sp>
        <p:nvSpPr>
          <p:cNvPr id="26" name="Скругленный прямоугольник 25">
            <a:extLst>
              <a:ext uri="{FF2B5EF4-FFF2-40B4-BE49-F238E27FC236}">
                <a16:creationId xmlns:a16="http://schemas.microsoft.com/office/drawing/2014/main" id="{749CF325-B79D-F3E4-7691-5FB65838E331}"/>
              </a:ext>
            </a:extLst>
          </p:cNvPr>
          <p:cNvSpPr/>
          <p:nvPr/>
        </p:nvSpPr>
        <p:spPr>
          <a:xfrm>
            <a:off x="13984123" y="5480050"/>
            <a:ext cx="4320000" cy="1219200"/>
          </a:xfrm>
          <a:prstGeom prst="roundRect">
            <a:avLst/>
          </a:prstGeom>
          <a:solidFill>
            <a:srgbClr val="2531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>
              <a:defRPr/>
            </a:pPr>
            <a:r>
              <a:rPr lang="ru-RU" sz="2800" dirty="0">
                <a:solidFill>
                  <a:schemeClr val="bg1"/>
                </a:solidFill>
                <a:latin typeface="YS Text Regular"/>
                <a:cs typeface="YS Text Regular" pitchFamily="2" charset="0"/>
              </a:rPr>
              <a:t>Видеоплатформы</a:t>
            </a:r>
            <a:endParaRPr lang="ru-RU" sz="2800" dirty="0">
              <a:solidFill>
                <a:schemeClr val="bg1"/>
              </a:solidFill>
              <a:latin typeface="YS Text Regular"/>
              <a:cs typeface="YS Text Regular" pitchFamily="2" charset="0"/>
              <a:sym typeface="Arial"/>
            </a:endParaRPr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DCDD85FA-DFA1-8752-9A98-6B940E6FD893}"/>
              </a:ext>
            </a:extLst>
          </p:cNvPr>
          <p:cNvSpPr/>
          <p:nvPr/>
        </p:nvSpPr>
        <p:spPr>
          <a:xfrm>
            <a:off x="7062377" y="7649835"/>
            <a:ext cx="4319998" cy="1184602"/>
          </a:xfrm>
          <a:prstGeom prst="roundRect">
            <a:avLst>
              <a:gd name="adj" fmla="val 23100"/>
            </a:avLst>
          </a:prstGeom>
          <a:solidFill>
            <a:srgbClr val="2531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/>
            <a:r>
              <a:rPr lang="ru-RU" sz="2800" dirty="0">
                <a:solidFill>
                  <a:schemeClr val="bg1"/>
                </a:solidFill>
                <a:latin typeface="YS Text Regular"/>
              </a:rPr>
              <a:t>Кино и сериалы </a:t>
            </a:r>
            <a:br>
              <a:rPr lang="ru-RU" sz="2800" dirty="0">
                <a:solidFill>
                  <a:schemeClr val="bg1"/>
                </a:solidFill>
                <a:latin typeface="YS Text Regular"/>
              </a:rPr>
            </a:br>
            <a:r>
              <a:rPr lang="ru-RU" sz="2800" dirty="0">
                <a:solidFill>
                  <a:schemeClr val="bg1"/>
                </a:solidFill>
                <a:latin typeface="YS Text Regular"/>
              </a:rPr>
              <a:t>(</a:t>
            </a:r>
            <a:r>
              <a:rPr lang="en" sz="2800" dirty="0">
                <a:solidFill>
                  <a:schemeClr val="bg1"/>
                </a:solidFill>
                <a:latin typeface="YS Text Regular"/>
              </a:rPr>
              <a:t>VOD)</a:t>
            </a:r>
            <a:endParaRPr lang="ru-RU" sz="2800" dirty="0">
              <a:solidFill>
                <a:schemeClr val="bg1"/>
              </a:solidFill>
              <a:latin typeface="YS Text Regular"/>
              <a:sym typeface="Arial"/>
            </a:endParaRPr>
          </a:p>
        </p:txBody>
      </p:sp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8681106D-39D8-CA71-F3B8-0B60BE01FBBE}"/>
              </a:ext>
            </a:extLst>
          </p:cNvPr>
          <p:cNvSpPr/>
          <p:nvPr/>
        </p:nvSpPr>
        <p:spPr>
          <a:xfrm>
            <a:off x="11688762" y="7649835"/>
            <a:ext cx="4319998" cy="118460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/>
            <a:r>
              <a:rPr lang="ru-RU" sz="2800" dirty="0">
                <a:solidFill>
                  <a:schemeClr val="tx1"/>
                </a:solidFill>
                <a:latin typeface="YS Text Regular"/>
              </a:rPr>
              <a:t>Эфирное ТВ</a:t>
            </a:r>
            <a:br>
              <a:rPr lang="ru-RU" sz="2800" dirty="0">
                <a:solidFill>
                  <a:schemeClr val="tx1"/>
                </a:solidFill>
                <a:latin typeface="YS Text Regular"/>
              </a:rPr>
            </a:br>
            <a:r>
              <a:rPr lang="ru-RU" sz="2800" dirty="0">
                <a:solidFill>
                  <a:schemeClr val="tx1"/>
                </a:solidFill>
                <a:latin typeface="YS Text Regular"/>
              </a:rPr>
              <a:t>онлайн</a:t>
            </a:r>
            <a:endParaRPr lang="ru-RU" sz="28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F8515595-5E6D-295B-A728-60987DEC0DA1}"/>
              </a:ext>
            </a:extLst>
          </p:cNvPr>
          <p:cNvSpPr/>
          <p:nvPr/>
        </p:nvSpPr>
        <p:spPr>
          <a:xfrm>
            <a:off x="9382986" y="9785022"/>
            <a:ext cx="4319998" cy="2705428"/>
          </a:xfrm>
          <a:prstGeom prst="roundRect">
            <a:avLst>
              <a:gd name="adj" fmla="val 9583"/>
            </a:avLst>
          </a:prstGeom>
          <a:solidFill>
            <a:srgbClr val="2531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 anchorCtr="0"/>
          <a:lstStyle/>
          <a:p>
            <a:pPr algn="ctr" defTabSz="457177"/>
            <a:r>
              <a:rPr lang="ru-RU" sz="2800" dirty="0">
                <a:solidFill>
                  <a:schemeClr val="bg1"/>
                </a:solidFill>
                <a:latin typeface="YS Text Regular"/>
              </a:rPr>
              <a:t>Федеральные </a:t>
            </a:r>
            <a:br>
              <a:rPr lang="ru-RU" sz="2800" dirty="0">
                <a:solidFill>
                  <a:schemeClr val="bg1"/>
                </a:solidFill>
                <a:latin typeface="YS Text Regular"/>
              </a:rPr>
            </a:br>
            <a:r>
              <a:rPr lang="ru-RU" sz="2800" dirty="0">
                <a:solidFill>
                  <a:schemeClr val="bg1"/>
                </a:solidFill>
                <a:latin typeface="YS Text Regular"/>
              </a:rPr>
              <a:t>каналы</a:t>
            </a:r>
          </a:p>
          <a:p>
            <a:pPr algn="ctr" defTabSz="457177"/>
            <a:endParaRPr lang="ru-RU" sz="2800" dirty="0">
              <a:solidFill>
                <a:schemeClr val="bg1"/>
              </a:solidFill>
              <a:latin typeface="YS Text Regular"/>
            </a:endParaRPr>
          </a:p>
          <a:p>
            <a:pPr algn="ctr" defTabSz="457177"/>
            <a:endParaRPr lang="ru-RU" sz="2800" dirty="0">
              <a:solidFill>
                <a:schemeClr val="bg1"/>
              </a:solidFill>
              <a:latin typeface="YS Text Regular"/>
              <a:sym typeface="Arial"/>
            </a:endParaRPr>
          </a:p>
          <a:p>
            <a:pPr algn="ctr" defTabSz="457177"/>
            <a:endParaRPr lang="ru-RU" sz="2800" dirty="0">
              <a:solidFill>
                <a:schemeClr val="bg1"/>
              </a:solidFill>
              <a:latin typeface="YS Text Regular"/>
              <a:sym typeface="Arial"/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69F851E5-D43E-3C85-06A8-1A4545CD43A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225020" y="11126602"/>
            <a:ext cx="2635930" cy="658984"/>
          </a:xfrm>
          <a:prstGeom prst="rect">
            <a:avLst/>
          </a:prstGeom>
        </p:spPr>
      </p:pic>
      <p:sp>
        <p:nvSpPr>
          <p:cNvPr id="34" name="Google Shape;322;p32">
            <a:extLst>
              <a:ext uri="{FF2B5EF4-FFF2-40B4-BE49-F238E27FC236}">
                <a16:creationId xmlns:a16="http://schemas.microsoft.com/office/drawing/2014/main" id="{6FBF195A-1FFB-6857-50A9-134AE88FE59D}"/>
              </a:ext>
            </a:extLst>
          </p:cNvPr>
          <p:cNvSpPr txBox="1">
            <a:spLocks/>
          </p:cNvSpPr>
          <p:nvPr/>
        </p:nvSpPr>
        <p:spPr>
          <a:xfrm>
            <a:off x="10661301" y="11931289"/>
            <a:ext cx="1763369" cy="3041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05000"/>
              </a:lnSpc>
              <a:spcAft>
                <a:spcPts val="2200"/>
              </a:spcAft>
              <a:defRPr sz="3200">
                <a:solidFill>
                  <a:srgbClr val="8F96A5"/>
                </a:solidFill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40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828529">
              <a:lnSpc>
                <a:spcPct val="1040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ru-RU" sz="2000" dirty="0">
                <a:solidFill>
                  <a:schemeClr val="tx1"/>
                </a:solidFill>
                <a:latin typeface="YS Text Regular"/>
                <a:cs typeface="YS Text Regular" pitchFamily="2" charset="0"/>
                <a:sym typeface="Arial"/>
              </a:rPr>
              <a:t>и другие</a:t>
            </a:r>
          </a:p>
        </p:txBody>
      </p:sp>
      <p:sp>
        <p:nvSpPr>
          <p:cNvPr id="35" name="Скругленный прямоугольник 34">
            <a:extLst>
              <a:ext uri="{FF2B5EF4-FFF2-40B4-BE49-F238E27FC236}">
                <a16:creationId xmlns:a16="http://schemas.microsoft.com/office/drawing/2014/main" id="{C955034E-C1CD-D541-DC92-6ABC54015127}"/>
              </a:ext>
            </a:extLst>
          </p:cNvPr>
          <p:cNvSpPr/>
          <p:nvPr/>
        </p:nvSpPr>
        <p:spPr>
          <a:xfrm>
            <a:off x="13989713" y="9785022"/>
            <a:ext cx="4314410" cy="2705428"/>
          </a:xfrm>
          <a:prstGeom prst="roundRect">
            <a:avLst>
              <a:gd name="adj" fmla="val 9583"/>
            </a:avLst>
          </a:prstGeom>
          <a:solidFill>
            <a:srgbClr val="2531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 anchorCtr="0"/>
          <a:lstStyle/>
          <a:p>
            <a:pPr algn="ctr" defTabSz="457177"/>
            <a:r>
              <a:rPr lang="ru-RU" sz="2800" dirty="0">
                <a:solidFill>
                  <a:schemeClr val="bg1"/>
                </a:solidFill>
                <a:latin typeface="YS Text Regular"/>
              </a:rPr>
              <a:t>Тематические </a:t>
            </a:r>
            <a:br>
              <a:rPr lang="ru-RU" sz="2800" dirty="0">
                <a:solidFill>
                  <a:schemeClr val="bg1"/>
                </a:solidFill>
                <a:latin typeface="YS Text Regular"/>
              </a:rPr>
            </a:br>
            <a:r>
              <a:rPr lang="ru-RU" sz="2800" dirty="0">
                <a:solidFill>
                  <a:schemeClr val="bg1"/>
                </a:solidFill>
                <a:latin typeface="YS Text Regular"/>
              </a:rPr>
              <a:t>каналы</a:t>
            </a:r>
          </a:p>
          <a:p>
            <a:pPr algn="ctr" defTabSz="457177"/>
            <a:endParaRPr lang="ru-RU" sz="2800" dirty="0">
              <a:solidFill>
                <a:schemeClr val="bg1"/>
              </a:solidFill>
              <a:latin typeface="YS Text Regular"/>
            </a:endParaRPr>
          </a:p>
          <a:p>
            <a:pPr algn="ctr" defTabSz="457177"/>
            <a:endParaRPr lang="ru-RU" sz="2800" dirty="0">
              <a:solidFill>
                <a:schemeClr val="bg1"/>
              </a:solidFill>
              <a:latin typeface="YS Text Regular"/>
              <a:sym typeface="Arial"/>
            </a:endParaRPr>
          </a:p>
          <a:p>
            <a:pPr algn="ctr" defTabSz="457177"/>
            <a:endParaRPr lang="ru-RU" sz="2800" dirty="0">
              <a:solidFill>
                <a:schemeClr val="bg1"/>
              </a:solidFill>
              <a:latin typeface="YS Text Regular"/>
              <a:sym typeface="Arial"/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9DF25876-A61E-C477-1476-0D80C9388C1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53" r="-139"/>
          <a:stretch>
            <a:fillRect/>
          </a:stretch>
        </p:blipFill>
        <p:spPr>
          <a:xfrm>
            <a:off x="14316690" y="11139269"/>
            <a:ext cx="3660457" cy="658984"/>
          </a:xfrm>
          <a:prstGeom prst="rect">
            <a:avLst/>
          </a:prstGeom>
        </p:spPr>
      </p:pic>
      <p:sp>
        <p:nvSpPr>
          <p:cNvPr id="37" name="Google Shape;322;p32">
            <a:extLst>
              <a:ext uri="{FF2B5EF4-FFF2-40B4-BE49-F238E27FC236}">
                <a16:creationId xmlns:a16="http://schemas.microsoft.com/office/drawing/2014/main" id="{ACD09784-70A7-A0BC-0430-9DEA357AECC9}"/>
              </a:ext>
            </a:extLst>
          </p:cNvPr>
          <p:cNvSpPr txBox="1">
            <a:spLocks/>
          </p:cNvSpPr>
          <p:nvPr/>
        </p:nvSpPr>
        <p:spPr>
          <a:xfrm>
            <a:off x="15269647" y="11931289"/>
            <a:ext cx="1754543" cy="3041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05000"/>
              </a:lnSpc>
              <a:spcAft>
                <a:spcPts val="2200"/>
              </a:spcAft>
              <a:defRPr sz="3200">
                <a:solidFill>
                  <a:srgbClr val="8F96A5"/>
                </a:solidFill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40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tabLst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828529">
              <a:lnSpc>
                <a:spcPct val="1040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ru-RU" sz="2000" dirty="0">
                <a:solidFill>
                  <a:schemeClr val="tx1"/>
                </a:solidFill>
                <a:latin typeface="YS Text Regular"/>
                <a:cs typeface="YS Text Regular" pitchFamily="2" charset="0"/>
                <a:sym typeface="Arial"/>
              </a:rPr>
              <a:t>и другие</a:t>
            </a: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D5E63CD4-AF46-1791-3B6C-03BD9AF8523C}"/>
              </a:ext>
            </a:extLst>
          </p:cNvPr>
          <p:cNvSpPr/>
          <p:nvPr/>
        </p:nvSpPr>
        <p:spPr>
          <a:xfrm>
            <a:off x="9332162" y="1217613"/>
            <a:ext cx="9033009" cy="1216025"/>
          </a:xfrm>
          <a:prstGeom prst="roundRect">
            <a:avLst>
              <a:gd name="adj" fmla="val 2293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>
              <a:defRPr/>
            </a:pPr>
            <a:r>
              <a:rPr lang="en" sz="2800" dirty="0">
                <a:solidFill>
                  <a:schemeClr val="bg2"/>
                </a:solidFill>
                <a:latin typeface="YS Text Regular"/>
                <a:cs typeface="YS Text Regular" pitchFamily="2" charset="0"/>
              </a:rPr>
              <a:t>CTV-</a:t>
            </a:r>
            <a:r>
              <a:rPr lang="ru-RU" sz="2800" dirty="0">
                <a:solidFill>
                  <a:schemeClr val="bg2"/>
                </a:solidFill>
                <a:latin typeface="YS Text Regular"/>
                <a:cs typeface="YS Text Regular" pitchFamily="2" charset="0"/>
              </a:rPr>
              <a:t>устройство</a:t>
            </a:r>
            <a:endParaRPr lang="ru-RU" sz="2800" dirty="0">
              <a:solidFill>
                <a:schemeClr val="bg2"/>
              </a:solidFill>
              <a:latin typeface="YS Text Regular"/>
              <a:cs typeface="YS Text Regular" pitchFamily="2" charset="0"/>
              <a:sym typeface="Arial"/>
            </a:endParaRPr>
          </a:p>
        </p:txBody>
      </p:sp>
      <p:sp>
        <p:nvSpPr>
          <p:cNvPr id="3" name="Скругленный прямоугольник 25">
            <a:extLst>
              <a:ext uri="{FF2B5EF4-FFF2-40B4-BE49-F238E27FC236}">
                <a16:creationId xmlns:a16="http://schemas.microsoft.com/office/drawing/2014/main" id="{AD12C536-D22F-FD63-53BA-FE1667F0127C}"/>
              </a:ext>
            </a:extLst>
          </p:cNvPr>
          <p:cNvSpPr/>
          <p:nvPr/>
        </p:nvSpPr>
        <p:spPr>
          <a:xfrm>
            <a:off x="18636084" y="5480050"/>
            <a:ext cx="4320000" cy="1219200"/>
          </a:xfrm>
          <a:prstGeom prst="roundRect">
            <a:avLst/>
          </a:prstGeom>
          <a:solidFill>
            <a:srgbClr val="2531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>
              <a:defRPr/>
            </a:pPr>
            <a:r>
              <a:rPr lang="ru-RU" sz="2800" dirty="0">
                <a:solidFill>
                  <a:schemeClr val="bg1"/>
                </a:solidFill>
                <a:latin typeface="YS Text Regular"/>
                <a:cs typeface="YS Text Regular" pitchFamily="2" charset="0"/>
              </a:rPr>
              <a:t>Другие </a:t>
            </a:r>
            <a:r>
              <a:rPr lang="en-US" sz="2800" dirty="0">
                <a:solidFill>
                  <a:schemeClr val="bg1"/>
                </a:solidFill>
                <a:latin typeface="YS Text Regular"/>
                <a:cs typeface="YS Text Regular" pitchFamily="2" charset="0"/>
              </a:rPr>
              <a:t>Smart TV apps</a:t>
            </a:r>
            <a:r>
              <a:rPr lang="ru-RU" sz="2800" dirty="0">
                <a:solidFill>
                  <a:schemeClr val="bg1"/>
                </a:solidFill>
                <a:latin typeface="YS Text Regular"/>
                <a:cs typeface="YS Text Regular" pitchFamily="2" charset="0"/>
              </a:rPr>
              <a:t> </a:t>
            </a:r>
            <a:br>
              <a:rPr lang="ru-RU" sz="2800" dirty="0">
                <a:solidFill>
                  <a:schemeClr val="bg1"/>
                </a:solidFill>
                <a:latin typeface="YS Text Regular"/>
                <a:cs typeface="YS Text Regular" pitchFamily="2" charset="0"/>
              </a:rPr>
            </a:br>
            <a:r>
              <a:rPr lang="ru-RU" sz="2800" dirty="0">
                <a:solidFill>
                  <a:schemeClr val="bg1"/>
                </a:solidFill>
                <a:latin typeface="YS Text Regular"/>
                <a:cs typeface="YS Text Regular" pitchFamily="2" charset="0"/>
              </a:rPr>
              <a:t>(музыка, игры</a:t>
            </a:r>
            <a:r>
              <a:rPr lang="en-US" sz="2800" dirty="0">
                <a:solidFill>
                  <a:schemeClr val="bg1"/>
                </a:solidFill>
                <a:latin typeface="YS Text Regular"/>
                <a:cs typeface="YS Text Regular" pitchFamily="2" charset="0"/>
              </a:rPr>
              <a:t> </a:t>
            </a:r>
            <a:r>
              <a:rPr lang="ru-RU" sz="2800" dirty="0">
                <a:solidFill>
                  <a:schemeClr val="bg1"/>
                </a:solidFill>
                <a:latin typeface="YS Text Regular"/>
                <a:cs typeface="YS Text Regular" pitchFamily="2" charset="0"/>
              </a:rPr>
              <a:t>и т. д.) </a:t>
            </a:r>
            <a:endParaRPr lang="ru-RU" sz="2800" dirty="0">
              <a:solidFill>
                <a:schemeClr val="bg1"/>
              </a:solidFill>
              <a:latin typeface="YS Text Regular"/>
              <a:cs typeface="YS Text Regular" pitchFamily="2" charset="0"/>
              <a:sym typeface="Arial"/>
            </a:endParaRPr>
          </a:p>
        </p:txBody>
      </p:sp>
      <p:grpSp>
        <p:nvGrpSpPr>
          <p:cNvPr id="86" name="Группа 85">
            <a:extLst>
              <a:ext uri="{FF2B5EF4-FFF2-40B4-BE49-F238E27FC236}">
                <a16:creationId xmlns:a16="http://schemas.microsoft.com/office/drawing/2014/main" id="{F9B9170E-2A0E-1BBB-B01A-CE37F4A05297}"/>
              </a:ext>
            </a:extLst>
          </p:cNvPr>
          <p:cNvGrpSpPr/>
          <p:nvPr/>
        </p:nvGrpSpPr>
        <p:grpSpPr>
          <a:xfrm>
            <a:off x="9222376" y="6699250"/>
            <a:ext cx="4626385" cy="950585"/>
            <a:chOff x="9222375" y="6699250"/>
            <a:chExt cx="4626385" cy="950585"/>
          </a:xfrm>
        </p:grpSpPr>
        <p:cxnSp>
          <p:nvCxnSpPr>
            <p:cNvPr id="12" name="Прямая со стрелкой 11">
              <a:extLst>
                <a:ext uri="{FF2B5EF4-FFF2-40B4-BE49-F238E27FC236}">
                  <a16:creationId xmlns:a16="http://schemas.microsoft.com/office/drawing/2014/main" id="{94F3B351-36E7-1979-F027-27A24E3A74AD}"/>
                </a:ext>
              </a:extLst>
            </p:cNvPr>
            <p:cNvCxnSpPr>
              <a:cxnSpLocks/>
              <a:stCxn id="27" idx="0"/>
              <a:endCxn id="54" idx="0"/>
            </p:cNvCxnSpPr>
            <p:nvPr/>
          </p:nvCxnSpPr>
          <p:spPr>
            <a:xfrm flipV="1">
              <a:off x="9222375" y="7392998"/>
              <a:ext cx="0" cy="256837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 стрелкой 19">
              <a:extLst>
                <a:ext uri="{FF2B5EF4-FFF2-40B4-BE49-F238E27FC236}">
                  <a16:creationId xmlns:a16="http://schemas.microsoft.com/office/drawing/2014/main" id="{0AE397D9-A6FE-4E1E-42CE-C7A3285CB9C3}"/>
                </a:ext>
              </a:extLst>
            </p:cNvPr>
            <p:cNvCxnSpPr>
              <a:cxnSpLocks/>
              <a:stCxn id="28" idx="0"/>
              <a:endCxn id="58" idx="2"/>
            </p:cNvCxnSpPr>
            <p:nvPr/>
          </p:nvCxnSpPr>
          <p:spPr>
            <a:xfrm flipH="1" flipV="1">
              <a:off x="13848664" y="7394903"/>
              <a:ext cx="96" cy="254932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 стрелкой 20">
              <a:extLst>
                <a:ext uri="{FF2B5EF4-FFF2-40B4-BE49-F238E27FC236}">
                  <a16:creationId xmlns:a16="http://schemas.microsoft.com/office/drawing/2014/main" id="{8534FA13-FF9D-6BE0-997A-E0316CEB4E17}"/>
                </a:ext>
              </a:extLst>
            </p:cNvPr>
            <p:cNvCxnSpPr>
              <a:cxnSpLocks/>
              <a:endCxn id="24" idx="2"/>
            </p:cNvCxnSpPr>
            <p:nvPr/>
          </p:nvCxnSpPr>
          <p:spPr>
            <a:xfrm flipV="1">
              <a:off x="11535567" y="6699250"/>
              <a:ext cx="0" cy="36068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Дуга 30">
              <a:extLst>
                <a:ext uri="{FF2B5EF4-FFF2-40B4-BE49-F238E27FC236}">
                  <a16:creationId xmlns:a16="http://schemas.microsoft.com/office/drawing/2014/main" id="{2D0DE6D1-938F-ED96-FC3E-2EE167696CCD}"/>
                </a:ext>
              </a:extLst>
            </p:cNvPr>
            <p:cNvSpPr/>
            <p:nvPr/>
          </p:nvSpPr>
          <p:spPr>
            <a:xfrm rot="10800000">
              <a:off x="11535567" y="6913498"/>
              <a:ext cx="294074" cy="294074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32" name="Прямая со стрелкой 31">
              <a:extLst>
                <a:ext uri="{FF2B5EF4-FFF2-40B4-BE49-F238E27FC236}">
                  <a16:creationId xmlns:a16="http://schemas.microsoft.com/office/drawing/2014/main" id="{8AB21C89-47DE-E7A6-8A8B-192540A4E14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406697" y="7208676"/>
              <a:ext cx="1981736" cy="801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 стрелкой 40">
              <a:extLst>
                <a:ext uri="{FF2B5EF4-FFF2-40B4-BE49-F238E27FC236}">
                  <a16:creationId xmlns:a16="http://schemas.microsoft.com/office/drawing/2014/main" id="{6E125A2A-8D60-37AF-E401-80BF8977B74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682604" y="7208676"/>
              <a:ext cx="1981738" cy="801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Дуга 53">
              <a:extLst>
                <a:ext uri="{FF2B5EF4-FFF2-40B4-BE49-F238E27FC236}">
                  <a16:creationId xmlns:a16="http://schemas.microsoft.com/office/drawing/2014/main" id="{2317A493-098D-83EF-FCE9-1B2F4448EF51}"/>
                </a:ext>
              </a:extLst>
            </p:cNvPr>
            <p:cNvSpPr/>
            <p:nvPr/>
          </p:nvSpPr>
          <p:spPr>
            <a:xfrm rot="16200000">
              <a:off x="9222375" y="7208676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Дуга 57">
              <a:extLst>
                <a:ext uri="{FF2B5EF4-FFF2-40B4-BE49-F238E27FC236}">
                  <a16:creationId xmlns:a16="http://schemas.microsoft.com/office/drawing/2014/main" id="{99D60E07-08E0-76DD-8876-A276F4B1AB8C}"/>
                </a:ext>
              </a:extLst>
            </p:cNvPr>
            <p:cNvSpPr/>
            <p:nvPr/>
          </p:nvSpPr>
          <p:spPr>
            <a:xfrm>
              <a:off x="13480021" y="7210581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3" name="Дуга 122">
              <a:extLst>
                <a:ext uri="{FF2B5EF4-FFF2-40B4-BE49-F238E27FC236}">
                  <a16:creationId xmlns:a16="http://schemas.microsoft.com/office/drawing/2014/main" id="{DCDCF256-DF39-DB4D-13F9-60A361F196C3}"/>
                </a:ext>
              </a:extLst>
            </p:cNvPr>
            <p:cNvSpPr/>
            <p:nvPr/>
          </p:nvSpPr>
          <p:spPr>
            <a:xfrm rot="10800000" flipH="1">
              <a:off x="11241396" y="6913498"/>
              <a:ext cx="294074" cy="294074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id="{FCE1B810-B166-9DBC-7480-A7DDA792C410}"/>
              </a:ext>
            </a:extLst>
          </p:cNvPr>
          <p:cNvGrpSpPr/>
          <p:nvPr/>
        </p:nvGrpSpPr>
        <p:grpSpPr>
          <a:xfrm>
            <a:off x="11535471" y="2441054"/>
            <a:ext cx="4608652" cy="3038996"/>
            <a:chOff x="11692029" y="2688304"/>
            <a:chExt cx="4608652" cy="3038996"/>
          </a:xfrm>
        </p:grpSpPr>
        <p:cxnSp>
          <p:nvCxnSpPr>
            <p:cNvPr id="61" name="Прямая со стрелкой 60">
              <a:extLst>
                <a:ext uri="{FF2B5EF4-FFF2-40B4-BE49-F238E27FC236}">
                  <a16:creationId xmlns:a16="http://schemas.microsoft.com/office/drawing/2014/main" id="{51CA527B-2601-CE9E-38EA-6A4E8EAD7F64}"/>
                </a:ext>
              </a:extLst>
            </p:cNvPr>
            <p:cNvCxnSpPr>
              <a:cxnSpLocks/>
              <a:stCxn id="24" idx="0"/>
            </p:cNvCxnSpPr>
            <p:nvPr/>
          </p:nvCxnSpPr>
          <p:spPr>
            <a:xfrm flipV="1">
              <a:off x="11692126" y="3380146"/>
              <a:ext cx="0" cy="2347154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 стрелкой 61">
              <a:extLst>
                <a:ext uri="{FF2B5EF4-FFF2-40B4-BE49-F238E27FC236}">
                  <a16:creationId xmlns:a16="http://schemas.microsoft.com/office/drawing/2014/main" id="{3B3539D4-17B1-FB1F-83C5-1AF60D5D8F4A}"/>
                </a:ext>
              </a:extLst>
            </p:cNvPr>
            <p:cNvCxnSpPr>
              <a:cxnSpLocks/>
              <a:stCxn id="26" idx="0"/>
            </p:cNvCxnSpPr>
            <p:nvPr/>
          </p:nvCxnSpPr>
          <p:spPr>
            <a:xfrm flipV="1">
              <a:off x="16300681" y="3380146"/>
              <a:ext cx="0" cy="2347154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 стрелкой 62">
              <a:extLst>
                <a:ext uri="{FF2B5EF4-FFF2-40B4-BE49-F238E27FC236}">
                  <a16:creationId xmlns:a16="http://schemas.microsoft.com/office/drawing/2014/main" id="{6A38529B-F860-9FFE-678C-B1A8609DE5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005223" y="2688304"/>
              <a:ext cx="1" cy="360484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Дуга 63">
              <a:extLst>
                <a:ext uri="{FF2B5EF4-FFF2-40B4-BE49-F238E27FC236}">
                  <a16:creationId xmlns:a16="http://schemas.microsoft.com/office/drawing/2014/main" id="{541512B3-189B-30AF-634E-E1F1A18D7003}"/>
                </a:ext>
              </a:extLst>
            </p:cNvPr>
            <p:cNvSpPr/>
            <p:nvPr/>
          </p:nvSpPr>
          <p:spPr>
            <a:xfrm rot="5400000">
              <a:off x="13636579" y="2827982"/>
              <a:ext cx="368643" cy="368643"/>
            </a:xfrm>
            <a:prstGeom prst="arc">
              <a:avLst>
                <a:gd name="adj1" fmla="val 16578216"/>
                <a:gd name="adj2" fmla="val 0"/>
              </a:avLst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Дуга 64">
              <a:extLst>
                <a:ext uri="{FF2B5EF4-FFF2-40B4-BE49-F238E27FC236}">
                  <a16:creationId xmlns:a16="http://schemas.microsoft.com/office/drawing/2014/main" id="{5027B984-8B7C-5CC2-1CBB-4F83EB84226B}"/>
                </a:ext>
              </a:extLst>
            </p:cNvPr>
            <p:cNvSpPr/>
            <p:nvPr/>
          </p:nvSpPr>
          <p:spPr>
            <a:xfrm rot="10800000">
              <a:off x="14005223" y="2901751"/>
              <a:ext cx="294074" cy="294074"/>
            </a:xfrm>
            <a:prstGeom prst="arc">
              <a:avLst>
                <a:gd name="adj1" fmla="val 16200000"/>
                <a:gd name="adj2" fmla="val 225514"/>
              </a:avLst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66" name="Прямая со стрелкой 65">
              <a:extLst>
                <a:ext uri="{FF2B5EF4-FFF2-40B4-BE49-F238E27FC236}">
                  <a16:creationId xmlns:a16="http://schemas.microsoft.com/office/drawing/2014/main" id="{6186001B-CB3C-6509-1E72-E50F4C06F635}"/>
                </a:ext>
              </a:extLst>
            </p:cNvPr>
            <p:cNvCxnSpPr>
              <a:cxnSpLocks/>
              <a:stCxn id="64" idx="2"/>
              <a:endCxn id="68" idx="2"/>
            </p:cNvCxnSpPr>
            <p:nvPr/>
          </p:nvCxnSpPr>
          <p:spPr>
            <a:xfrm flipH="1" flipV="1">
              <a:off x="11876351" y="3195825"/>
              <a:ext cx="1944549" cy="80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Прямая со стрелкой 66">
              <a:extLst>
                <a:ext uri="{FF2B5EF4-FFF2-40B4-BE49-F238E27FC236}">
                  <a16:creationId xmlns:a16="http://schemas.microsoft.com/office/drawing/2014/main" id="{47E30F2F-6A30-3A4F-1CF4-0E614BC7B6AD}"/>
                </a:ext>
              </a:extLst>
            </p:cNvPr>
            <p:cNvCxnSpPr>
              <a:cxnSpLocks/>
              <a:stCxn id="69" idx="0"/>
              <a:endCxn id="65" idx="0"/>
            </p:cNvCxnSpPr>
            <p:nvPr/>
          </p:nvCxnSpPr>
          <p:spPr>
            <a:xfrm flipH="1">
              <a:off x="14152260" y="3195825"/>
              <a:ext cx="1964099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Дуга 67">
              <a:extLst>
                <a:ext uri="{FF2B5EF4-FFF2-40B4-BE49-F238E27FC236}">
                  <a16:creationId xmlns:a16="http://schemas.microsoft.com/office/drawing/2014/main" id="{BD94A4F8-5A84-E1C0-A4BE-A78DDD17DFA8}"/>
                </a:ext>
              </a:extLst>
            </p:cNvPr>
            <p:cNvSpPr/>
            <p:nvPr/>
          </p:nvSpPr>
          <p:spPr>
            <a:xfrm rot="16200000">
              <a:off x="11692029" y="3195825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Дуга 68">
              <a:extLst>
                <a:ext uri="{FF2B5EF4-FFF2-40B4-BE49-F238E27FC236}">
                  <a16:creationId xmlns:a16="http://schemas.microsoft.com/office/drawing/2014/main" id="{755DFF91-0D50-E1EE-0701-31353BF81D17}"/>
                </a:ext>
              </a:extLst>
            </p:cNvPr>
            <p:cNvSpPr/>
            <p:nvPr/>
          </p:nvSpPr>
          <p:spPr>
            <a:xfrm>
              <a:off x="15932038" y="3195825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" name="Скругленный прямоугольник 25">
            <a:extLst>
              <a:ext uri="{FF2B5EF4-FFF2-40B4-BE49-F238E27FC236}">
                <a16:creationId xmlns:a16="http://schemas.microsoft.com/office/drawing/2014/main" id="{770B025B-5EB0-F8B8-77C0-91B0CC48C571}"/>
              </a:ext>
            </a:extLst>
          </p:cNvPr>
          <p:cNvSpPr/>
          <p:nvPr/>
        </p:nvSpPr>
        <p:spPr>
          <a:xfrm>
            <a:off x="9332162" y="3359410"/>
            <a:ext cx="9033009" cy="1206240"/>
          </a:xfrm>
          <a:prstGeom prst="roundRect">
            <a:avLst>
              <a:gd name="adj" fmla="val 25090"/>
            </a:avLst>
          </a:prstGeom>
          <a:solidFill>
            <a:srgbClr val="2531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7">
              <a:defRPr/>
            </a:pPr>
            <a:r>
              <a:rPr lang="ru-RU" sz="2800" dirty="0">
                <a:solidFill>
                  <a:schemeClr val="bg1"/>
                </a:solidFill>
                <a:latin typeface="YS Text Regular"/>
                <a:cs typeface="YS Text Regular" pitchFamily="2" charset="0"/>
              </a:rPr>
              <a:t>Выбор контента в операционной системе</a:t>
            </a:r>
            <a:endParaRPr lang="ru-RU" sz="2800" dirty="0">
              <a:solidFill>
                <a:schemeClr val="bg1"/>
              </a:solidFill>
              <a:latin typeface="YS Text Regular"/>
              <a:cs typeface="YS Text Regular" pitchFamily="2" charset="0"/>
              <a:sym typeface="Arial"/>
            </a:endParaRPr>
          </a:p>
        </p:txBody>
      </p:sp>
      <p:grpSp>
        <p:nvGrpSpPr>
          <p:cNvPr id="89" name="Группа 88">
            <a:extLst>
              <a:ext uri="{FF2B5EF4-FFF2-40B4-BE49-F238E27FC236}">
                <a16:creationId xmlns:a16="http://schemas.microsoft.com/office/drawing/2014/main" id="{9ED58A84-951A-7CF5-A4B5-EF73B3CAC314}"/>
              </a:ext>
            </a:extLst>
          </p:cNvPr>
          <p:cNvGrpSpPr/>
          <p:nvPr/>
        </p:nvGrpSpPr>
        <p:grpSpPr>
          <a:xfrm>
            <a:off x="11542985" y="8834437"/>
            <a:ext cx="4601138" cy="950585"/>
            <a:chOff x="9176923" y="6699250"/>
            <a:chExt cx="4601138" cy="950585"/>
          </a:xfrm>
        </p:grpSpPr>
        <p:cxnSp>
          <p:nvCxnSpPr>
            <p:cNvPr id="90" name="Прямая со стрелкой 89">
              <a:extLst>
                <a:ext uri="{FF2B5EF4-FFF2-40B4-BE49-F238E27FC236}">
                  <a16:creationId xmlns:a16="http://schemas.microsoft.com/office/drawing/2014/main" id="{6C586292-94BD-0991-1AEA-72AB72167A0E}"/>
                </a:ext>
              </a:extLst>
            </p:cNvPr>
            <p:cNvCxnSpPr>
              <a:cxnSpLocks/>
              <a:stCxn id="30" idx="0"/>
            </p:cNvCxnSpPr>
            <p:nvPr/>
          </p:nvCxnSpPr>
          <p:spPr>
            <a:xfrm flipV="1">
              <a:off x="9176923" y="7391092"/>
              <a:ext cx="0" cy="258743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Прямая со стрелкой 90">
              <a:extLst>
                <a:ext uri="{FF2B5EF4-FFF2-40B4-BE49-F238E27FC236}">
                  <a16:creationId xmlns:a16="http://schemas.microsoft.com/office/drawing/2014/main" id="{14829D76-254A-68B0-B543-E45309E29B20}"/>
                </a:ext>
              </a:extLst>
            </p:cNvPr>
            <p:cNvCxnSpPr>
              <a:cxnSpLocks/>
              <a:stCxn id="35" idx="0"/>
              <a:endCxn id="98" idx="2"/>
            </p:cNvCxnSpPr>
            <p:nvPr/>
          </p:nvCxnSpPr>
          <p:spPr>
            <a:xfrm flipH="1" flipV="1">
              <a:off x="13778061" y="7391093"/>
              <a:ext cx="0" cy="258742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Прямая со стрелкой 91">
              <a:extLst>
                <a:ext uri="{FF2B5EF4-FFF2-40B4-BE49-F238E27FC236}">
                  <a16:creationId xmlns:a16="http://schemas.microsoft.com/office/drawing/2014/main" id="{EC5CADCE-6791-6296-703B-F49D11CE36B2}"/>
                </a:ext>
              </a:extLst>
            </p:cNvPr>
            <p:cNvCxnSpPr>
              <a:cxnSpLocks/>
              <a:stCxn id="94" idx="2"/>
              <a:endCxn id="28" idx="2"/>
            </p:cNvCxnSpPr>
            <p:nvPr/>
          </p:nvCxnSpPr>
          <p:spPr>
            <a:xfrm flipH="1" flipV="1">
              <a:off x="11482699" y="6699250"/>
              <a:ext cx="9462" cy="360484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Дуга 92">
              <a:extLst>
                <a:ext uri="{FF2B5EF4-FFF2-40B4-BE49-F238E27FC236}">
                  <a16:creationId xmlns:a16="http://schemas.microsoft.com/office/drawing/2014/main" id="{17D9129B-9F0E-66E9-BC84-1FE0848AAD54}"/>
                </a:ext>
              </a:extLst>
            </p:cNvPr>
            <p:cNvSpPr/>
            <p:nvPr/>
          </p:nvSpPr>
          <p:spPr>
            <a:xfrm rot="5400000">
              <a:off x="11123517" y="6838928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4" name="Дуга 93">
              <a:extLst>
                <a:ext uri="{FF2B5EF4-FFF2-40B4-BE49-F238E27FC236}">
                  <a16:creationId xmlns:a16="http://schemas.microsoft.com/office/drawing/2014/main" id="{21E66CDA-7CEF-DDBD-82DD-6B9D56AB7690}"/>
                </a:ext>
              </a:extLst>
            </p:cNvPr>
            <p:cNvSpPr/>
            <p:nvPr/>
          </p:nvSpPr>
          <p:spPr>
            <a:xfrm rot="10800000">
              <a:off x="11492161" y="6912697"/>
              <a:ext cx="294074" cy="294074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95" name="Прямая со стрелкой 94">
              <a:extLst>
                <a:ext uri="{FF2B5EF4-FFF2-40B4-BE49-F238E27FC236}">
                  <a16:creationId xmlns:a16="http://schemas.microsoft.com/office/drawing/2014/main" id="{4C65BCD1-D6B3-393E-3EE4-0CFCC9F29909}"/>
                </a:ext>
              </a:extLst>
            </p:cNvPr>
            <p:cNvCxnSpPr>
              <a:cxnSpLocks/>
              <a:stCxn id="93" idx="2"/>
              <a:endCxn id="97" idx="2"/>
            </p:cNvCxnSpPr>
            <p:nvPr/>
          </p:nvCxnSpPr>
          <p:spPr>
            <a:xfrm flipH="1" flipV="1">
              <a:off x="9361245" y="7206771"/>
              <a:ext cx="1946593" cy="80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Прямая со стрелкой 95">
              <a:extLst>
                <a:ext uri="{FF2B5EF4-FFF2-40B4-BE49-F238E27FC236}">
                  <a16:creationId xmlns:a16="http://schemas.microsoft.com/office/drawing/2014/main" id="{FF450183-3B9E-575C-7B77-2463E256C99B}"/>
                </a:ext>
              </a:extLst>
            </p:cNvPr>
            <p:cNvCxnSpPr>
              <a:cxnSpLocks/>
              <a:stCxn id="98" idx="0"/>
              <a:endCxn id="94" idx="0"/>
            </p:cNvCxnSpPr>
            <p:nvPr/>
          </p:nvCxnSpPr>
          <p:spPr>
            <a:xfrm flipH="1">
              <a:off x="11639198" y="7206771"/>
              <a:ext cx="1954541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Дуга 96">
              <a:extLst>
                <a:ext uri="{FF2B5EF4-FFF2-40B4-BE49-F238E27FC236}">
                  <a16:creationId xmlns:a16="http://schemas.microsoft.com/office/drawing/2014/main" id="{8CBB2907-6828-6977-8EF9-DFA502C5E934}"/>
                </a:ext>
              </a:extLst>
            </p:cNvPr>
            <p:cNvSpPr/>
            <p:nvPr/>
          </p:nvSpPr>
          <p:spPr>
            <a:xfrm rot="16200000">
              <a:off x="9176923" y="7206771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8" name="Дуга 97">
              <a:extLst>
                <a:ext uri="{FF2B5EF4-FFF2-40B4-BE49-F238E27FC236}">
                  <a16:creationId xmlns:a16="http://schemas.microsoft.com/office/drawing/2014/main" id="{22F44F54-FC10-CB73-FE35-BF9C85B4460A}"/>
                </a:ext>
              </a:extLst>
            </p:cNvPr>
            <p:cNvSpPr/>
            <p:nvPr/>
          </p:nvSpPr>
          <p:spPr>
            <a:xfrm>
              <a:off x="13409418" y="7206771"/>
              <a:ext cx="368643" cy="368643"/>
            </a:xfrm>
            <a:prstGeom prst="arc">
              <a:avLst/>
            </a:prstGeom>
            <a:ln w="25400">
              <a:solidFill>
                <a:schemeClr val="tx1"/>
              </a:solidFill>
              <a:headEnd type="none" w="lg" len="lg"/>
              <a:tailEnd type="none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2011658-51EA-8BBE-4647-4DFECAAF3904}"/>
              </a:ext>
            </a:extLst>
          </p:cNvPr>
          <p:cNvSpPr txBox="1"/>
          <p:nvPr/>
        </p:nvSpPr>
        <p:spPr>
          <a:xfrm rot="21322535">
            <a:off x="17351446" y="4379266"/>
            <a:ext cx="1067267" cy="499950"/>
          </a:xfrm>
          <a:prstGeom prst="roundRect">
            <a:avLst>
              <a:gd name="adj" fmla="val 26480"/>
            </a:avLst>
          </a:prstGeom>
          <a:solidFill>
            <a:schemeClr val="accent3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Aft>
                <a:spcPts val="4800"/>
              </a:spcAft>
            </a:pPr>
            <a:r>
              <a:rPr lang="en-US" sz="2800" dirty="0">
                <a:solidFill>
                  <a:schemeClr val="bg2"/>
                </a:solidFill>
              </a:rPr>
              <a:t>Ad</a:t>
            </a:r>
            <a:endParaRPr lang="en-001" sz="2800" dirty="0">
              <a:solidFill>
                <a:schemeClr val="bg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5313FD-6482-EE7A-6E0A-D948EBA219A9}"/>
              </a:ext>
            </a:extLst>
          </p:cNvPr>
          <p:cNvSpPr txBox="1"/>
          <p:nvPr/>
        </p:nvSpPr>
        <p:spPr>
          <a:xfrm rot="21322535">
            <a:off x="12800186" y="12230480"/>
            <a:ext cx="1067267" cy="499950"/>
          </a:xfrm>
          <a:prstGeom prst="roundRect">
            <a:avLst>
              <a:gd name="adj" fmla="val 26480"/>
            </a:avLst>
          </a:prstGeom>
          <a:solidFill>
            <a:schemeClr val="accent3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Aft>
                <a:spcPts val="4800"/>
              </a:spcAft>
            </a:pPr>
            <a:r>
              <a:rPr lang="en-US" sz="2800" dirty="0">
                <a:solidFill>
                  <a:schemeClr val="bg2"/>
                </a:solidFill>
              </a:rPr>
              <a:t>Ad</a:t>
            </a:r>
            <a:endParaRPr lang="en-001" sz="2800" dirty="0">
              <a:solidFill>
                <a:schemeClr val="bg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905003-C5F0-8A5C-738F-F7EF02DFD06C}"/>
              </a:ext>
            </a:extLst>
          </p:cNvPr>
          <p:cNvSpPr txBox="1"/>
          <p:nvPr/>
        </p:nvSpPr>
        <p:spPr>
          <a:xfrm rot="21322535">
            <a:off x="17351446" y="12199236"/>
            <a:ext cx="1067267" cy="499950"/>
          </a:xfrm>
          <a:prstGeom prst="roundRect">
            <a:avLst>
              <a:gd name="adj" fmla="val 26480"/>
            </a:avLst>
          </a:prstGeom>
          <a:solidFill>
            <a:schemeClr val="accent3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Aft>
                <a:spcPts val="4800"/>
              </a:spcAft>
            </a:pPr>
            <a:r>
              <a:rPr lang="en-US" sz="2800" dirty="0">
                <a:solidFill>
                  <a:schemeClr val="bg2"/>
                </a:solidFill>
              </a:rPr>
              <a:t>Ad</a:t>
            </a:r>
            <a:endParaRPr lang="en-001" sz="2800" dirty="0">
              <a:solidFill>
                <a:schemeClr val="bg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E5DCEA-8E28-83F5-901E-65C9561CC5FF}"/>
              </a:ext>
            </a:extLst>
          </p:cNvPr>
          <p:cNvSpPr txBox="1"/>
          <p:nvPr/>
        </p:nvSpPr>
        <p:spPr>
          <a:xfrm rot="21322535">
            <a:off x="9277581" y="8648542"/>
            <a:ext cx="1388546" cy="499950"/>
          </a:xfrm>
          <a:prstGeom prst="roundRect">
            <a:avLst>
              <a:gd name="adj" fmla="val 26480"/>
            </a:avLst>
          </a:prstGeom>
          <a:solidFill>
            <a:schemeClr val="accent2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Aft>
                <a:spcPts val="4800"/>
              </a:spcAft>
            </a:pPr>
            <a:r>
              <a:rPr lang="en-US" sz="2800" dirty="0">
                <a:solidFill>
                  <a:schemeClr val="bg2"/>
                </a:solidFill>
              </a:rPr>
              <a:t>SVO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82C0835-848C-0BA7-F5B0-781061524CE4}"/>
              </a:ext>
            </a:extLst>
          </p:cNvPr>
          <p:cNvSpPr txBox="1"/>
          <p:nvPr/>
        </p:nvSpPr>
        <p:spPr>
          <a:xfrm rot="21322535">
            <a:off x="16079024" y="6608026"/>
            <a:ext cx="1388546" cy="499950"/>
          </a:xfrm>
          <a:prstGeom prst="roundRect">
            <a:avLst>
              <a:gd name="adj" fmla="val 26480"/>
            </a:avLst>
          </a:prstGeom>
          <a:solidFill>
            <a:schemeClr val="accent2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Aft>
                <a:spcPts val="4800"/>
              </a:spcAft>
            </a:pPr>
            <a:r>
              <a:rPr lang="en-US" sz="2800" dirty="0">
                <a:solidFill>
                  <a:schemeClr val="bg2"/>
                </a:solidFill>
              </a:rPr>
              <a:t>SVO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0B98237-876F-DC87-01A2-AD24AD3E5E5C}"/>
              </a:ext>
            </a:extLst>
          </p:cNvPr>
          <p:cNvSpPr txBox="1"/>
          <p:nvPr/>
        </p:nvSpPr>
        <p:spPr>
          <a:xfrm rot="21322535">
            <a:off x="20764772" y="6608026"/>
            <a:ext cx="1388546" cy="499950"/>
          </a:xfrm>
          <a:prstGeom prst="roundRect">
            <a:avLst>
              <a:gd name="adj" fmla="val 26480"/>
            </a:avLst>
          </a:prstGeom>
          <a:solidFill>
            <a:schemeClr val="accent2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Aft>
                <a:spcPts val="4800"/>
              </a:spcAft>
            </a:pPr>
            <a:r>
              <a:rPr lang="en-US" sz="2800" dirty="0">
                <a:solidFill>
                  <a:schemeClr val="bg2"/>
                </a:solidFill>
              </a:rPr>
              <a:t>SVO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DDDBCA-440C-DABD-886C-9DD223ECFEDB}"/>
              </a:ext>
            </a:extLst>
          </p:cNvPr>
          <p:cNvSpPr txBox="1"/>
          <p:nvPr/>
        </p:nvSpPr>
        <p:spPr>
          <a:xfrm rot="21322535">
            <a:off x="17351446" y="6620978"/>
            <a:ext cx="1067267" cy="499950"/>
          </a:xfrm>
          <a:prstGeom prst="roundRect">
            <a:avLst>
              <a:gd name="adj" fmla="val 26480"/>
            </a:avLst>
          </a:prstGeom>
          <a:solidFill>
            <a:schemeClr val="accent3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Aft>
                <a:spcPts val="4800"/>
              </a:spcAft>
            </a:pPr>
            <a:r>
              <a:rPr lang="en-US" sz="2800" dirty="0">
                <a:solidFill>
                  <a:schemeClr val="bg2"/>
                </a:solidFill>
              </a:rPr>
              <a:t>Ad</a:t>
            </a:r>
            <a:endParaRPr lang="en-001" sz="2800" dirty="0">
              <a:solidFill>
                <a:schemeClr val="bg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3CE960-3745-90E7-05F5-F4D262F55666}"/>
              </a:ext>
            </a:extLst>
          </p:cNvPr>
          <p:cNvSpPr txBox="1"/>
          <p:nvPr/>
        </p:nvSpPr>
        <p:spPr>
          <a:xfrm rot="21322535">
            <a:off x="22046567" y="6620978"/>
            <a:ext cx="1067267" cy="499950"/>
          </a:xfrm>
          <a:prstGeom prst="roundRect">
            <a:avLst>
              <a:gd name="adj" fmla="val 26480"/>
            </a:avLst>
          </a:prstGeom>
          <a:solidFill>
            <a:schemeClr val="accent3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Aft>
                <a:spcPts val="4800"/>
              </a:spcAft>
            </a:pPr>
            <a:r>
              <a:rPr lang="en-US" sz="2800" dirty="0">
                <a:solidFill>
                  <a:schemeClr val="bg2"/>
                </a:solidFill>
              </a:rPr>
              <a:t>Ad</a:t>
            </a:r>
            <a:endParaRPr lang="en-001" sz="2800" dirty="0">
              <a:solidFill>
                <a:schemeClr val="bg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D10379-A071-B836-73A9-5BB7CC82FEDE}"/>
              </a:ext>
            </a:extLst>
          </p:cNvPr>
          <p:cNvSpPr txBox="1"/>
          <p:nvPr/>
        </p:nvSpPr>
        <p:spPr>
          <a:xfrm rot="21322535">
            <a:off x="10544237" y="8643504"/>
            <a:ext cx="1067267" cy="499950"/>
          </a:xfrm>
          <a:prstGeom prst="roundRect">
            <a:avLst>
              <a:gd name="adj" fmla="val 26480"/>
            </a:avLst>
          </a:prstGeom>
          <a:solidFill>
            <a:schemeClr val="accent3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Aft>
                <a:spcPts val="4800"/>
              </a:spcAft>
            </a:pPr>
            <a:r>
              <a:rPr lang="en-US" sz="2800" dirty="0">
                <a:solidFill>
                  <a:schemeClr val="bg2"/>
                </a:solidFill>
              </a:rPr>
              <a:t>Ad</a:t>
            </a:r>
            <a:endParaRPr lang="en-001" sz="2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053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4" grpId="0" animBg="1"/>
      <p:bldP spid="39" grpId="0" animBg="1"/>
      <p:bldP spid="40" grpId="0" animBg="1"/>
      <p:bldP spid="7" grpId="0" animBg="1"/>
      <p:bldP spid="8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E250DC-126E-8B83-1D27-40340CD7E3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51DDF89F-3600-9526-8B6F-7A0E6A61F561}"/>
              </a:ext>
            </a:extLst>
          </p:cNvPr>
          <p:cNvSpPr/>
          <p:nvPr/>
        </p:nvSpPr>
        <p:spPr>
          <a:xfrm rot="1200000" flipH="1" flipV="1">
            <a:off x="2675920" y="-3422775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id="{5CC8029C-7F81-F673-F222-66DB1D7FB03A}"/>
              </a:ext>
            </a:extLst>
          </p:cNvPr>
          <p:cNvSpPr/>
          <p:nvPr/>
        </p:nvSpPr>
        <p:spPr>
          <a:xfrm rot="900000" flipH="1" flipV="1">
            <a:off x="3885761" y="-2338580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949E888A-B2A2-8474-A737-DAD00E7E01E8}"/>
              </a:ext>
            </a:extLst>
          </p:cNvPr>
          <p:cNvSpPr/>
          <p:nvPr/>
        </p:nvSpPr>
        <p:spPr>
          <a:xfrm rot="600000" flipH="1" flipV="1">
            <a:off x="5146928" y="-1177099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8893959E-93BE-B541-A319-E1E4B8A0273B}"/>
              </a:ext>
            </a:extLst>
          </p:cNvPr>
          <p:cNvSpPr/>
          <p:nvPr/>
        </p:nvSpPr>
        <p:spPr>
          <a:xfrm rot="1200000">
            <a:off x="12926032" y="5872581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6" name="Скругленный прямоугольник 25">
            <a:extLst>
              <a:ext uri="{FF2B5EF4-FFF2-40B4-BE49-F238E27FC236}">
                <a16:creationId xmlns:a16="http://schemas.microsoft.com/office/drawing/2014/main" id="{F9DB0C03-74B8-4E67-0DCE-F0DD18FA95B0}"/>
              </a:ext>
            </a:extLst>
          </p:cNvPr>
          <p:cNvSpPr/>
          <p:nvPr/>
        </p:nvSpPr>
        <p:spPr>
          <a:xfrm rot="900000">
            <a:off x="11727694" y="4795803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BE234752-881E-FF8A-515F-8FC7126BC58D}"/>
              </a:ext>
            </a:extLst>
          </p:cNvPr>
          <p:cNvSpPr/>
          <p:nvPr/>
        </p:nvSpPr>
        <p:spPr>
          <a:xfrm rot="600000">
            <a:off x="10466527" y="3634322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DCE67519-19AF-9A15-9978-D1B07996F9C1}"/>
              </a:ext>
            </a:extLst>
          </p:cNvPr>
          <p:cNvSpPr/>
          <p:nvPr/>
        </p:nvSpPr>
        <p:spPr>
          <a:xfrm rot="300000">
            <a:off x="9157491" y="2445943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B66E0D02-1072-DEB7-0AEE-B587E65AC558}"/>
              </a:ext>
            </a:extLst>
          </p:cNvPr>
          <p:cNvSpPr/>
          <p:nvPr/>
        </p:nvSpPr>
        <p:spPr>
          <a:xfrm rot="300000" flipH="1" flipV="1">
            <a:off x="6455964" y="11280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2161011A-3DEC-C086-9945-C0EA29FA80CC}"/>
              </a:ext>
            </a:extLst>
          </p:cNvPr>
          <p:cNvGrpSpPr/>
          <p:nvPr/>
        </p:nvGrpSpPr>
        <p:grpSpPr>
          <a:xfrm rot="20221413">
            <a:off x="10724477" y="6234405"/>
            <a:ext cx="5044411" cy="5366068"/>
            <a:chOff x="18408414" y="1217613"/>
            <a:chExt cx="10604577" cy="11280775"/>
          </a:xfrm>
        </p:grpSpPr>
        <p:sp>
          <p:nvSpPr>
            <p:cNvPr id="17" name="Скругленный прямоугольник 6">
              <a:extLst>
                <a:ext uri="{FF2B5EF4-FFF2-40B4-BE49-F238E27FC236}">
                  <a16:creationId xmlns:a16="http://schemas.microsoft.com/office/drawing/2014/main" id="{AD38D1E8-1F87-8239-C66A-BBB19164F81C}"/>
                </a:ext>
              </a:extLst>
            </p:cNvPr>
            <p:cNvSpPr/>
            <p:nvPr/>
          </p:nvSpPr>
          <p:spPr>
            <a:xfrm>
              <a:off x="18408414" y="1217613"/>
              <a:ext cx="10604577" cy="11272837"/>
            </a:xfrm>
            <a:prstGeom prst="roundRect">
              <a:avLst>
                <a:gd name="adj" fmla="val 4978"/>
              </a:avLst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>
                <a:lnSpc>
                  <a:spcPct val="104000"/>
                </a:lnSpc>
                <a:spcAft>
                  <a:spcPts val="2400"/>
                </a:spcAft>
              </a:pPr>
              <a:endParaRPr lang="ru-RU" sz="28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972C954-58AD-A94A-1BCA-AF2C14040211}"/>
                </a:ext>
              </a:extLst>
            </p:cNvPr>
            <p:cNvSpPr txBox="1"/>
            <p:nvPr/>
          </p:nvSpPr>
          <p:spPr>
            <a:xfrm>
              <a:off x="19283826" y="2409341"/>
              <a:ext cx="7211589" cy="1568756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80000"/>
                </a:lnSpc>
                <a:spcAft>
                  <a:spcPts val="2400"/>
                </a:spcAft>
                <a:defRPr/>
              </a:pPr>
              <a:r>
                <a:rPr lang="ru-RU" sz="6000" dirty="0">
                  <a:solidFill>
                    <a:schemeClr val="tx2"/>
                  </a:solidFill>
                  <a:latin typeface="+mj-lt"/>
                </a:rPr>
                <a:t>90+</a:t>
              </a:r>
              <a:r>
                <a:rPr lang="ru-RU" sz="4400" dirty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ru-RU" sz="6000" dirty="0">
                  <a:solidFill>
                    <a:schemeClr val="tx2"/>
                  </a:solidFill>
                  <a:latin typeface="+mj-lt"/>
                </a:rPr>
                <a:t>млрд</a:t>
              </a:r>
              <a:endParaRPr lang="en-us" sz="60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19" name="Заголовок 1">
              <a:extLst>
                <a:ext uri="{FF2B5EF4-FFF2-40B4-BE49-F238E27FC236}">
                  <a16:creationId xmlns:a16="http://schemas.microsoft.com/office/drawing/2014/main" id="{126ADA35-3BA2-9B44-5A53-31AD5EEDDF03}"/>
                </a:ext>
              </a:extLst>
            </p:cNvPr>
            <p:cNvSpPr txBox="1">
              <a:spLocks/>
            </p:cNvSpPr>
            <p:nvPr/>
          </p:nvSpPr>
          <p:spPr>
            <a:xfrm>
              <a:off x="19333252" y="4109579"/>
              <a:ext cx="7069183" cy="129404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>
                <a:lnSpc>
                  <a:spcPct val="82000"/>
                </a:lnSpc>
                <a:spcBef>
                  <a:spcPct val="0"/>
                </a:spcBef>
                <a:buNone/>
                <a:defRPr sz="12000">
                  <a:solidFill>
                    <a:schemeClr val="bg2"/>
                  </a:solidFill>
                  <a:latin typeface="YS Display Regular" pitchFamily="2" charset="0"/>
                </a:defRPr>
              </a:lvl1pPr>
            </a:lstStyle>
            <a:p>
              <a:pPr defTabSz="1828619">
                <a:lnSpc>
                  <a:spcPct val="100000"/>
                </a:lnSpc>
                <a:spcAft>
                  <a:spcPts val="2400"/>
                </a:spcAft>
                <a:defRPr/>
              </a:pPr>
              <a:r>
                <a:rPr lang="ru-RU" sz="2000" dirty="0">
                  <a:solidFill>
                    <a:srgbClr val="46557D"/>
                  </a:solidFill>
                  <a:latin typeface="+mn-lt"/>
                  <a:ea typeface="+mj-ea"/>
                  <a:cs typeface="+mj-cs"/>
                </a:rPr>
                <a:t>Оценка рынка CTV рекламы в 2031 г.</a:t>
              </a:r>
            </a:p>
          </p:txBody>
        </p: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1D8CB06D-6F9C-D5B2-216F-F69626E7025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46" r="18637"/>
            <a:stretch>
              <a:fillRect/>
            </a:stretch>
          </p:blipFill>
          <p:spPr>
            <a:xfrm>
              <a:off x="19333251" y="6830276"/>
              <a:ext cx="9679739" cy="5668112"/>
            </a:xfrm>
            <a:prstGeom prst="roundRect">
              <a:avLst>
                <a:gd name="adj" fmla="val 10127"/>
              </a:avLst>
            </a:prstGeom>
          </p:spPr>
        </p:pic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8071158-D5CA-0FE0-FA11-4FFA3A08C361}"/>
              </a:ext>
            </a:extLst>
          </p:cNvPr>
          <p:cNvGrpSpPr/>
          <p:nvPr/>
        </p:nvGrpSpPr>
        <p:grpSpPr>
          <a:xfrm>
            <a:off x="7199114" y="1217613"/>
            <a:ext cx="9729545" cy="11272837"/>
            <a:chOff x="7800975" y="1217613"/>
            <a:chExt cx="9729545" cy="11272837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95A0B0A3-1127-C155-5B90-CC1C0E7DDD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2728" t="16061" r="16519"/>
            <a:stretch>
              <a:fillRect/>
            </a:stretch>
          </p:blipFill>
          <p:spPr>
            <a:xfrm>
              <a:off x="7800975" y="1217613"/>
              <a:ext cx="9729545" cy="11272837"/>
            </a:xfrm>
            <a:prstGeom prst="roundRect">
              <a:avLst>
                <a:gd name="adj" fmla="val 4978"/>
              </a:avLst>
            </a:prstGeom>
            <a:solidFill>
              <a:schemeClr val="bg1"/>
            </a:solidFill>
            <a:ln w="38100">
              <a:noFill/>
            </a:ln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90E35EB2-ACA8-29B4-EAEC-1C456AFAD0D0}"/>
                </a:ext>
              </a:extLst>
            </p:cNvPr>
            <p:cNvSpPr txBox="1"/>
            <p:nvPr/>
          </p:nvSpPr>
          <p:spPr>
            <a:xfrm>
              <a:off x="8676386" y="2409341"/>
              <a:ext cx="7564571" cy="1989968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80000"/>
                </a:lnSpc>
                <a:spcAft>
                  <a:spcPts val="2400"/>
                </a:spcAft>
                <a:defRPr/>
              </a:pPr>
              <a:r>
                <a:rPr lang="ru-RU" sz="16000" dirty="0">
                  <a:solidFill>
                    <a:schemeClr val="bg1"/>
                  </a:solidFill>
                  <a:latin typeface="+mj-lt"/>
                </a:rPr>
                <a:t>18</a:t>
              </a:r>
              <a:r>
                <a:rPr lang="ru-RU" sz="96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ru-RU" sz="16000" dirty="0">
                  <a:solidFill>
                    <a:schemeClr val="bg1"/>
                  </a:solidFill>
                  <a:latin typeface="+mj-lt"/>
                </a:rPr>
                <a:t>млрд</a:t>
              </a:r>
              <a:endParaRPr lang="en-us" sz="16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Заголовок 1">
              <a:extLst>
                <a:ext uri="{FF2B5EF4-FFF2-40B4-BE49-F238E27FC236}">
                  <a16:creationId xmlns:a16="http://schemas.microsoft.com/office/drawing/2014/main" id="{42A5845A-25FE-E18E-4FC0-17A16F83FF71}"/>
                </a:ext>
              </a:extLst>
            </p:cNvPr>
            <p:cNvSpPr txBox="1">
              <a:spLocks/>
            </p:cNvSpPr>
            <p:nvPr/>
          </p:nvSpPr>
          <p:spPr>
            <a:xfrm>
              <a:off x="8725813" y="4710952"/>
              <a:ext cx="7069182" cy="123110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>
                <a:lnSpc>
                  <a:spcPct val="82000"/>
                </a:lnSpc>
                <a:spcBef>
                  <a:spcPct val="0"/>
                </a:spcBef>
                <a:buNone/>
                <a:defRPr sz="12000">
                  <a:solidFill>
                    <a:schemeClr val="bg2"/>
                  </a:solidFill>
                  <a:latin typeface="YS Display Regular" pitchFamily="2" charset="0"/>
                </a:defRPr>
              </a:lvl1pPr>
            </a:lstStyle>
            <a:p>
              <a:pPr defTabSz="1828619">
                <a:lnSpc>
                  <a:spcPct val="100000"/>
                </a:lnSpc>
                <a:spcAft>
                  <a:spcPts val="2400"/>
                </a:spcAft>
                <a:defRPr/>
              </a:pPr>
              <a:r>
                <a:rPr lang="ru-RU" sz="4000" dirty="0">
                  <a:solidFill>
                    <a:schemeClr val="tx1"/>
                  </a:solidFill>
                  <a:latin typeface="+mn-lt"/>
                  <a:ea typeface="+mj-ea"/>
                  <a:cs typeface="+mj-cs"/>
                </a:rPr>
                <a:t>Оценка рынка CTV-рекламы в 2025 г.</a:t>
              </a: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14FE456-4967-BD23-E06E-684EC996A5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78" r="24724"/>
          <a:stretch>
            <a:fillRect/>
          </a:stretch>
        </p:blipFill>
        <p:spPr>
          <a:xfrm>
            <a:off x="7794344" y="5772151"/>
            <a:ext cx="9134316" cy="6740296"/>
          </a:xfrm>
          <a:prstGeom prst="roundRect">
            <a:avLst>
              <a:gd name="adj" fmla="val 5471"/>
            </a:avLst>
          </a:prstGeom>
        </p:spPr>
      </p:pic>
    </p:spTree>
    <p:extLst>
      <p:ext uri="{BB962C8B-B14F-4D97-AF65-F5344CB8AC3E}">
        <p14:creationId xmlns:p14="http://schemas.microsoft.com/office/powerpoint/2010/main" val="68173161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8CB43E-751A-57D4-B44B-028446698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90850B4F-B73C-D90D-768F-BE8A9A5C501F}"/>
              </a:ext>
            </a:extLst>
          </p:cNvPr>
          <p:cNvSpPr/>
          <p:nvPr/>
        </p:nvSpPr>
        <p:spPr>
          <a:xfrm rot="21148419" flipH="1" flipV="1">
            <a:off x="-139879" y="-2896394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id="{28354FD3-8426-47E2-8A2D-C9BD4B22AD61}"/>
              </a:ext>
            </a:extLst>
          </p:cNvPr>
          <p:cNvSpPr/>
          <p:nvPr/>
        </p:nvSpPr>
        <p:spPr>
          <a:xfrm rot="21161453" flipH="1" flipV="1">
            <a:off x="2022186" y="-1603129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209F8876-C27C-B3E6-7508-2FCE1AD6B6E8}"/>
              </a:ext>
            </a:extLst>
          </p:cNvPr>
          <p:cNvSpPr/>
          <p:nvPr/>
        </p:nvSpPr>
        <p:spPr>
          <a:xfrm rot="21147190" flipH="1" flipV="1">
            <a:off x="3989978" y="-509713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1C205C3B-BC40-A0A0-9E16-E9B2AE405048}"/>
              </a:ext>
            </a:extLst>
          </p:cNvPr>
          <p:cNvSpPr/>
          <p:nvPr/>
        </p:nvSpPr>
        <p:spPr>
          <a:xfrm rot="2077266">
            <a:off x="15271212" y="5563026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6" name="Скругленный прямоугольник 25">
            <a:extLst>
              <a:ext uri="{FF2B5EF4-FFF2-40B4-BE49-F238E27FC236}">
                <a16:creationId xmlns:a16="http://schemas.microsoft.com/office/drawing/2014/main" id="{504FFD33-F3BC-850E-6925-D793C58C1E99}"/>
              </a:ext>
            </a:extLst>
          </p:cNvPr>
          <p:cNvSpPr/>
          <p:nvPr/>
        </p:nvSpPr>
        <p:spPr>
          <a:xfrm rot="1484073">
            <a:off x="14072874" y="4486248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FBFA3862-77A2-0101-CFE2-862E99E502B0}"/>
              </a:ext>
            </a:extLst>
          </p:cNvPr>
          <p:cNvSpPr/>
          <p:nvPr/>
        </p:nvSpPr>
        <p:spPr>
          <a:xfrm rot="835903">
            <a:off x="13150196" y="2736963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7AAE536F-6D80-1762-1E19-71F417AEFF5A}"/>
              </a:ext>
            </a:extLst>
          </p:cNvPr>
          <p:cNvSpPr/>
          <p:nvPr/>
        </p:nvSpPr>
        <p:spPr>
          <a:xfrm rot="300000">
            <a:off x="11502671" y="2136388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714E344D-ED0C-CA27-D257-1E1A29C69FC2}"/>
              </a:ext>
            </a:extLst>
          </p:cNvPr>
          <p:cNvSpPr/>
          <p:nvPr/>
        </p:nvSpPr>
        <p:spPr>
          <a:xfrm rot="21307884" flipH="1" flipV="1">
            <a:off x="6087536" y="708149"/>
            <a:ext cx="8780463" cy="11272837"/>
          </a:xfrm>
          <a:prstGeom prst="roundRect">
            <a:avLst>
              <a:gd name="adj" fmla="val 6756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rgbClr val="25314B">
                  <a:alpha val="7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7" name="Скругленный прямоугольник 6">
            <a:extLst>
              <a:ext uri="{FF2B5EF4-FFF2-40B4-BE49-F238E27FC236}">
                <a16:creationId xmlns:a16="http://schemas.microsoft.com/office/drawing/2014/main" id="{CCB7723B-7833-3CF4-EB29-7F7E8C2D0181}"/>
              </a:ext>
            </a:extLst>
          </p:cNvPr>
          <p:cNvSpPr/>
          <p:nvPr/>
        </p:nvSpPr>
        <p:spPr>
          <a:xfrm>
            <a:off x="10576668" y="1217613"/>
            <a:ext cx="10882780" cy="11292577"/>
          </a:xfrm>
          <a:prstGeom prst="roundRect">
            <a:avLst>
              <a:gd name="adj" fmla="val 4978"/>
            </a:avLst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C47EFF4-F47B-4139-AD16-07A5AE72F3C4}"/>
              </a:ext>
            </a:extLst>
          </p:cNvPr>
          <p:cNvSpPr txBox="1"/>
          <p:nvPr/>
        </p:nvSpPr>
        <p:spPr>
          <a:xfrm>
            <a:off x="11453613" y="2411428"/>
            <a:ext cx="9257342" cy="198996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  <a:spcAft>
                <a:spcPts val="2400"/>
              </a:spcAft>
              <a:defRPr/>
            </a:pPr>
            <a:r>
              <a:rPr lang="ru-RU" sz="16000" dirty="0">
                <a:solidFill>
                  <a:schemeClr val="tx2"/>
                </a:solidFill>
                <a:latin typeface="+mj-lt"/>
              </a:rPr>
              <a:t>90+</a:t>
            </a:r>
            <a:r>
              <a:rPr lang="ru-RU" sz="80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6000" dirty="0">
                <a:solidFill>
                  <a:schemeClr val="tx2"/>
                </a:solidFill>
                <a:latin typeface="+mj-lt"/>
              </a:rPr>
              <a:t>млрд</a:t>
            </a:r>
            <a:endParaRPr lang="en-us" sz="1600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70B9D2A-C53E-88D7-1C6F-211F183D8AA4}"/>
              </a:ext>
            </a:extLst>
          </p:cNvPr>
          <p:cNvGrpSpPr/>
          <p:nvPr/>
        </p:nvGrpSpPr>
        <p:grpSpPr>
          <a:xfrm>
            <a:off x="3012976" y="4710951"/>
            <a:ext cx="6727464" cy="7794569"/>
            <a:chOff x="7800975" y="1217613"/>
            <a:chExt cx="9729545" cy="11272837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7780EA47-C05A-4E82-406F-2C07A1C7EA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2728" t="16061" r="16519"/>
            <a:stretch>
              <a:fillRect/>
            </a:stretch>
          </p:blipFill>
          <p:spPr>
            <a:xfrm>
              <a:off x="7800975" y="1217613"/>
              <a:ext cx="9729545" cy="11272837"/>
            </a:xfrm>
            <a:prstGeom prst="roundRect">
              <a:avLst>
                <a:gd name="adj" fmla="val 4978"/>
              </a:avLst>
            </a:prstGeom>
            <a:solidFill>
              <a:schemeClr val="bg1"/>
            </a:solidFill>
            <a:ln w="38100">
              <a:noFill/>
            </a:ln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3708393-3E9D-35CB-96AF-52DD6DC350C8}"/>
                </a:ext>
              </a:extLst>
            </p:cNvPr>
            <p:cNvSpPr txBox="1"/>
            <p:nvPr/>
          </p:nvSpPr>
          <p:spPr>
            <a:xfrm>
              <a:off x="8676386" y="2409341"/>
              <a:ext cx="5397075" cy="1438942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80000"/>
                </a:lnSpc>
                <a:spcAft>
                  <a:spcPts val="2400"/>
                </a:spcAft>
                <a:defRPr/>
              </a:pPr>
              <a:r>
                <a:rPr lang="ru-RU" sz="8000" dirty="0">
                  <a:solidFill>
                    <a:schemeClr val="bg1"/>
                  </a:solidFill>
                  <a:latin typeface="+mj-lt"/>
                </a:rPr>
                <a:t>18</a:t>
              </a:r>
              <a:r>
                <a:rPr lang="ru-RU" sz="60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ru-RU" sz="8000" dirty="0">
                  <a:solidFill>
                    <a:schemeClr val="bg1"/>
                  </a:solidFill>
                  <a:latin typeface="+mj-lt"/>
                </a:rPr>
                <a:t>млрд</a:t>
              </a:r>
              <a:endParaRPr lang="en-us" sz="8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Заголовок 1">
              <a:extLst>
                <a:ext uri="{FF2B5EF4-FFF2-40B4-BE49-F238E27FC236}">
                  <a16:creationId xmlns:a16="http://schemas.microsoft.com/office/drawing/2014/main" id="{31B70546-373C-B861-464E-FD8FE74C57ED}"/>
                </a:ext>
              </a:extLst>
            </p:cNvPr>
            <p:cNvSpPr txBox="1">
              <a:spLocks/>
            </p:cNvSpPr>
            <p:nvPr/>
          </p:nvSpPr>
          <p:spPr>
            <a:xfrm>
              <a:off x="8725812" y="4315347"/>
              <a:ext cx="7069182" cy="124633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>
                <a:lnSpc>
                  <a:spcPct val="82000"/>
                </a:lnSpc>
                <a:spcBef>
                  <a:spcPct val="0"/>
                </a:spcBef>
                <a:buNone/>
                <a:defRPr sz="12000">
                  <a:solidFill>
                    <a:schemeClr val="bg2"/>
                  </a:solidFill>
                  <a:latin typeface="YS Display Regular" pitchFamily="2" charset="0"/>
                </a:defRPr>
              </a:lvl1pPr>
            </a:lstStyle>
            <a:p>
              <a:pPr defTabSz="1828619">
                <a:lnSpc>
                  <a:spcPct val="100000"/>
                </a:lnSpc>
                <a:spcAft>
                  <a:spcPts val="2400"/>
                </a:spcAft>
                <a:defRPr/>
              </a:pPr>
              <a:r>
                <a:rPr lang="ru-RU" sz="2800" dirty="0">
                  <a:solidFill>
                    <a:schemeClr val="tx1"/>
                  </a:solidFill>
                  <a:latin typeface="+mn-lt"/>
                  <a:ea typeface="+mj-ea"/>
                  <a:cs typeface="+mj-cs"/>
                </a:rPr>
                <a:t>Оценка рынка CTV-рекламы </a:t>
              </a:r>
              <a:br>
                <a:rPr lang="ru-RU" sz="2800" dirty="0">
                  <a:solidFill>
                    <a:schemeClr val="tx1"/>
                  </a:solidFill>
                  <a:latin typeface="+mn-lt"/>
                  <a:ea typeface="+mj-ea"/>
                  <a:cs typeface="+mj-cs"/>
                </a:rPr>
              </a:br>
              <a:r>
                <a:rPr lang="ru-RU" sz="2800" dirty="0">
                  <a:solidFill>
                    <a:schemeClr val="tx1"/>
                  </a:solidFill>
                  <a:latin typeface="+mn-lt"/>
                  <a:ea typeface="+mj-ea"/>
                  <a:cs typeface="+mj-cs"/>
                </a:rPr>
                <a:t>в 2025 г.</a:t>
              </a:r>
            </a:p>
          </p:txBody>
        </p:sp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3BD41C1-A31C-E1BF-49B3-2CBE72CD8A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3" t="4567" r="1917" b="23803"/>
          <a:stretch>
            <a:fillRect/>
          </a:stretch>
        </p:blipFill>
        <p:spPr>
          <a:xfrm>
            <a:off x="13302485" y="944590"/>
            <a:ext cx="9739147" cy="1156491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52FD341-FC1F-D79F-32EC-BBB6701C9B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78" r="24724"/>
          <a:stretch>
            <a:fillRect/>
          </a:stretch>
        </p:blipFill>
        <p:spPr>
          <a:xfrm>
            <a:off x="3076575" y="7601613"/>
            <a:ext cx="6655064" cy="4910833"/>
          </a:xfrm>
          <a:prstGeom prst="roundRect">
            <a:avLst>
              <a:gd name="adj" fmla="val 7049"/>
            </a:avLst>
          </a:prstGeom>
        </p:spPr>
      </p:pic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18B3A411-3B4B-0BBC-C3F1-703CD2A410C9}"/>
              </a:ext>
            </a:extLst>
          </p:cNvPr>
          <p:cNvSpPr txBox="1">
            <a:spLocks/>
          </p:cNvSpPr>
          <p:nvPr/>
        </p:nvSpPr>
        <p:spPr>
          <a:xfrm>
            <a:off x="11503126" y="4449289"/>
            <a:ext cx="5678388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lnSpc>
                <a:spcPct val="82000"/>
              </a:lnSpc>
              <a:spcBef>
                <a:spcPct val="0"/>
              </a:spcBef>
              <a:buNone/>
              <a:defRPr sz="12000">
                <a:solidFill>
                  <a:schemeClr val="bg2"/>
                </a:solidFill>
                <a:latin typeface="YS Display Regular" pitchFamily="2" charset="0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  <a:defRPr/>
            </a:pPr>
            <a:r>
              <a:rPr lang="ru-RU" sz="4000" dirty="0">
                <a:solidFill>
                  <a:srgbClr val="46557D"/>
                </a:solidFill>
                <a:latin typeface="+mn-lt"/>
                <a:ea typeface="+mj-ea"/>
                <a:cs typeface="+mj-cs"/>
              </a:rPr>
              <a:t>Оценка рынка </a:t>
            </a:r>
            <a:br>
              <a:rPr lang="ru-RU" sz="4000" dirty="0">
                <a:solidFill>
                  <a:srgbClr val="46557D"/>
                </a:solidFill>
                <a:latin typeface="+mn-lt"/>
                <a:ea typeface="+mj-ea"/>
                <a:cs typeface="+mj-cs"/>
              </a:rPr>
            </a:br>
            <a:r>
              <a:rPr lang="ru-RU" sz="4000" dirty="0">
                <a:solidFill>
                  <a:srgbClr val="46557D"/>
                </a:solidFill>
                <a:latin typeface="+mn-lt"/>
                <a:ea typeface="+mj-ea"/>
                <a:cs typeface="+mj-cs"/>
              </a:rPr>
              <a:t>CTV- рекламы </a:t>
            </a:r>
            <a:br>
              <a:rPr lang="ru-RU" sz="4000" dirty="0">
                <a:solidFill>
                  <a:srgbClr val="46557D"/>
                </a:solidFill>
                <a:latin typeface="+mn-lt"/>
                <a:ea typeface="+mj-ea"/>
                <a:cs typeface="+mj-cs"/>
              </a:rPr>
            </a:br>
            <a:r>
              <a:rPr lang="ru-RU" sz="4000" dirty="0">
                <a:solidFill>
                  <a:srgbClr val="46557D"/>
                </a:solidFill>
                <a:latin typeface="+mn-lt"/>
                <a:ea typeface="+mj-ea"/>
                <a:cs typeface="+mj-cs"/>
              </a:rPr>
              <a:t>в 2031 г.</a:t>
            </a:r>
          </a:p>
        </p:txBody>
      </p:sp>
    </p:spTree>
    <p:extLst>
      <p:ext uri="{BB962C8B-B14F-4D97-AF65-F5344CB8AC3E}">
        <p14:creationId xmlns:p14="http://schemas.microsoft.com/office/powerpoint/2010/main" val="23988031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56079-8776-177E-527F-921D9DB7F1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68FD5E1-13B0-6BCD-3925-E1985C5D92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" r="5"/>
          <a:stretch/>
        </p:blipFill>
        <p:spPr>
          <a:xfrm>
            <a:off x="2538" y="0"/>
            <a:ext cx="24379875" cy="1371510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00E8F56-574A-A2D2-3085-F256B7F19FF6}"/>
              </a:ext>
            </a:extLst>
          </p:cNvPr>
          <p:cNvSpPr txBox="1"/>
          <p:nvPr/>
        </p:nvSpPr>
        <p:spPr>
          <a:xfrm>
            <a:off x="2354261" y="5614294"/>
            <a:ext cx="19673890" cy="2487412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marR="0" lvl="0" indent="0"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0" dirty="0">
                <a:solidFill>
                  <a:schemeClr val="bg1"/>
                </a:solidFill>
                <a:latin typeface="+mj-lt"/>
              </a:rPr>
              <a:t>Не много ли?</a:t>
            </a:r>
            <a:endParaRPr lang="en-US" sz="20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304626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3AE4CE-7AE5-05F5-394C-F9A93ED4E1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B97FAA69-CD78-41FF-1D73-E40BDC20426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382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6" imgW="425" imgH="424" progId="TCLayout.ActiveDocument.1">
                  <p:embed/>
                </p:oleObj>
              </mc:Choice>
              <mc:Fallback>
                <p:oleObj name="think-cell Slide" r:id="rId106" imgW="425" imgH="424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35991D-10C9-C953-329C-E9186611C3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7"/>
                      <a:stretch>
                        <a:fillRect/>
                      </a:stretch>
                    </p:blipFill>
                    <p:spPr>
                      <a:xfrm>
                        <a:off x="2382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4D7CBEB3-6FF3-F757-F3C4-3061F25A2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1000800"/>
            <a:ext cx="21492000" cy="767005"/>
          </a:xfrm>
        </p:spPr>
        <p:txBody>
          <a:bodyPr/>
          <a:lstStyle/>
          <a:p>
            <a:r>
              <a:rPr lang="ru-RU" dirty="0"/>
              <a:t>Размер рынка </a:t>
            </a:r>
            <a:r>
              <a:rPr lang="en-US" dirty="0"/>
              <a:t>CTV </a:t>
            </a:r>
            <a:r>
              <a:rPr lang="ru-RU" dirty="0"/>
              <a:t>теперь отслеживают в 10+ странах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A484A5AE-3628-D87D-D0F5-7F872543CBD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448963" y="2010847"/>
            <a:ext cx="18164175" cy="1230312"/>
          </a:xfrm>
        </p:spPr>
        <p:txBody>
          <a:bodyPr/>
          <a:lstStyle/>
          <a:p>
            <a:r>
              <a:rPr lang="ru-RU" dirty="0"/>
              <a:t>Самый высокий </a:t>
            </a:r>
            <a:r>
              <a:rPr lang="en-US" dirty="0"/>
              <a:t>ARPU </a:t>
            </a:r>
            <a:r>
              <a:rPr lang="ru-RU" dirty="0"/>
              <a:t>подтверждается в странах с преимущественно англоговорящим населением</a:t>
            </a:r>
          </a:p>
        </p:txBody>
      </p:sp>
      <p:sp>
        <p:nvSpPr>
          <p:cNvPr id="7" name="Google Shape;1730;p172">
            <a:extLst>
              <a:ext uri="{FF2B5EF4-FFF2-40B4-BE49-F238E27FC236}">
                <a16:creationId xmlns:a16="http://schemas.microsoft.com/office/drawing/2014/main" id="{3D950C7E-ECF1-C1C9-014C-E9386F70E727}"/>
              </a:ext>
            </a:extLst>
          </p:cNvPr>
          <p:cNvSpPr/>
          <p:nvPr/>
        </p:nvSpPr>
        <p:spPr>
          <a:xfrm>
            <a:off x="21120100" y="1132318"/>
            <a:ext cx="1820863" cy="503967"/>
          </a:xfrm>
          <a:prstGeom prst="roundRect">
            <a:avLst>
              <a:gd name="adj" fmla="val 25260"/>
            </a:avLst>
          </a:prstGeom>
          <a:solidFill>
            <a:schemeClr val="accent3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94" tIns="89994" rIns="89994" bIns="89994" rtlCol="0" anchor="ctr"/>
          <a:lstStyle/>
          <a:p>
            <a:pPr algn="ctr" defTabSz="457177">
              <a:defRPr/>
            </a:pPr>
            <a:r>
              <a:rPr lang="en-US" sz="2000" dirty="0">
                <a:solidFill>
                  <a:schemeClr val="bg2"/>
                </a:solidFill>
                <a:latin typeface="YS Text Regular" pitchFamily="2" charset="0"/>
                <a:sym typeface="Arial"/>
              </a:rPr>
              <a:t>EMARKETER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0845F358-70AE-5118-3B1E-0562E7DA02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031046"/>
            <a:ext cx="19983600" cy="656526"/>
          </a:xfrm>
        </p:spPr>
        <p:txBody>
          <a:bodyPr/>
          <a:lstStyle/>
          <a:p>
            <a:r>
              <a:rPr lang="en-US" baseline="30000" dirty="0">
                <a:solidFill>
                  <a:schemeClr val="tx1"/>
                </a:solidFill>
              </a:rPr>
              <a:t>1</a:t>
            </a:r>
            <a:r>
              <a:rPr lang="en-US" dirty="0">
                <a:solidFill>
                  <a:schemeClr val="tx1"/>
                </a:solidFill>
              </a:rPr>
              <a:t> Includes broadcast TV (network, syndication, and spot) and cable TV; excludes digital,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Источник: </a:t>
            </a:r>
            <a:r>
              <a:rPr lang="ru-RU" dirty="0" err="1">
                <a:solidFill>
                  <a:schemeClr val="tx1"/>
                </a:solidFill>
              </a:rPr>
              <a:t>eMarketer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ru-RU" dirty="0">
                <a:solidFill>
                  <a:schemeClr val="tx1"/>
                </a:solidFill>
              </a:rPr>
              <a:t>расчёт рабочей группы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9E0520F4-20BC-9CD8-6BD0-E977686C0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9418" y="5653710"/>
            <a:ext cx="141064" cy="317972"/>
          </a:xfrm>
        </p:spPr>
        <p:txBody>
          <a:bodyPr/>
          <a:lstStyle/>
          <a:p>
            <a:pPr defTabSz="1828505">
              <a:defRPr/>
            </a:pPr>
            <a:fld id="{3C539457-C632-DF4C-826E-F28692507A89}" type="slidenum">
              <a:rPr lang="ru-RU" smtClean="0">
                <a:solidFill>
                  <a:schemeClr val="tx1"/>
                </a:solidFill>
                <a:latin typeface="YS Text Regular"/>
              </a:rPr>
              <a:pPr defTabSz="1828505">
                <a:defRPr/>
              </a:pPr>
              <a:t>9</a:t>
            </a:fld>
            <a:endParaRPr lang="ru-RU">
              <a:solidFill>
                <a:schemeClr val="tx1"/>
              </a:solidFill>
              <a:latin typeface="YS Text Regular"/>
            </a:endParaRPr>
          </a:p>
        </p:txBody>
      </p:sp>
      <p:cxnSp>
        <p:nvCxnSpPr>
          <p:cNvPr id="13" name="Straight Connector 967">
            <a:extLst>
              <a:ext uri="{FF2B5EF4-FFF2-40B4-BE49-F238E27FC236}">
                <a16:creationId xmlns:a16="http://schemas.microsoft.com/office/drawing/2014/main" id="{575C1A88-A5F5-330C-E951-B377AF5CD7E7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085525" y="5422179"/>
            <a:ext cx="0" cy="55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971">
            <a:extLst>
              <a:ext uri="{FF2B5EF4-FFF2-40B4-BE49-F238E27FC236}">
                <a16:creationId xmlns:a16="http://schemas.microsoft.com/office/drawing/2014/main" id="{85FE7EA6-2AC0-0E32-5D26-CD4F697AD33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6355743" y="5422179"/>
            <a:ext cx="0" cy="55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963">
            <a:extLst>
              <a:ext uri="{FF2B5EF4-FFF2-40B4-BE49-F238E27FC236}">
                <a16:creationId xmlns:a16="http://schemas.microsoft.com/office/drawing/2014/main" id="{9575445F-E810-9E61-72B7-D6EE298B61B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815309" y="5422179"/>
            <a:ext cx="0" cy="55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970">
            <a:extLst>
              <a:ext uri="{FF2B5EF4-FFF2-40B4-BE49-F238E27FC236}">
                <a16:creationId xmlns:a16="http://schemas.microsoft.com/office/drawing/2014/main" id="{3B62306F-F79A-446E-DFB7-4745DCAE48E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4787395" y="5422179"/>
            <a:ext cx="0" cy="55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964">
            <a:extLst>
              <a:ext uri="{FF2B5EF4-FFF2-40B4-BE49-F238E27FC236}">
                <a16:creationId xmlns:a16="http://schemas.microsoft.com/office/drawing/2014/main" id="{3A4E480D-A9EA-706D-DE42-8E15ADF2B2E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382069" y="5422179"/>
            <a:ext cx="0" cy="55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969">
            <a:extLst>
              <a:ext uri="{FF2B5EF4-FFF2-40B4-BE49-F238E27FC236}">
                <a16:creationId xmlns:a16="http://schemas.microsoft.com/office/drawing/2014/main" id="{1CBE3B79-1276-A1E6-92C5-0B10738A910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3220633" y="5422179"/>
            <a:ext cx="0" cy="55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965">
            <a:extLst>
              <a:ext uri="{FF2B5EF4-FFF2-40B4-BE49-F238E27FC236}">
                <a16:creationId xmlns:a16="http://schemas.microsoft.com/office/drawing/2014/main" id="{BFDC6218-5411-3D6A-0202-F82DD052891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950417" y="5422179"/>
            <a:ext cx="0" cy="55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968">
            <a:extLst>
              <a:ext uri="{FF2B5EF4-FFF2-40B4-BE49-F238E27FC236}">
                <a16:creationId xmlns:a16="http://schemas.microsoft.com/office/drawing/2014/main" id="{86E1FE8F-1FEB-8EC0-CBAC-EE7218AE3AF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1652285" y="5422179"/>
            <a:ext cx="0" cy="55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966">
            <a:extLst>
              <a:ext uri="{FF2B5EF4-FFF2-40B4-BE49-F238E27FC236}">
                <a16:creationId xmlns:a16="http://schemas.microsoft.com/office/drawing/2014/main" id="{1C592B92-42BA-CFE3-709A-C7A30EE8FC9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517177" y="5422179"/>
            <a:ext cx="0" cy="55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804">
            <a:extLst>
              <a:ext uri="{FF2B5EF4-FFF2-40B4-BE49-F238E27FC236}">
                <a16:creationId xmlns:a16="http://schemas.microsoft.com/office/drawing/2014/main" id="{CB2C53F8-4446-B5FE-1C65-1ED8C258F8B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246962" y="9250979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1273">
            <a:extLst>
              <a:ext uri="{FF2B5EF4-FFF2-40B4-BE49-F238E27FC236}">
                <a16:creationId xmlns:a16="http://schemas.microsoft.com/office/drawing/2014/main" id="{799AC056-EE0C-5DBC-E3EB-76E382C9DE5C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2246962" y="7944552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1271">
            <a:extLst>
              <a:ext uri="{FF2B5EF4-FFF2-40B4-BE49-F238E27FC236}">
                <a16:creationId xmlns:a16="http://schemas.microsoft.com/office/drawing/2014/main" id="{4FB8F7BF-492C-344B-DF18-DFC97918A23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2246962" y="8816033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1269">
            <a:extLst>
              <a:ext uri="{FF2B5EF4-FFF2-40B4-BE49-F238E27FC236}">
                <a16:creationId xmlns:a16="http://schemas.microsoft.com/office/drawing/2014/main" id="{4BA95714-2EAA-681A-A7DC-FE28E1420AE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2246962" y="9685926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1275">
            <a:extLst>
              <a:ext uri="{FF2B5EF4-FFF2-40B4-BE49-F238E27FC236}">
                <a16:creationId xmlns:a16="http://schemas.microsoft.com/office/drawing/2014/main" id="{EE67D4C5-8DE6-77B7-4E00-301C2360DD03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2246962" y="7074658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4" name="Straight Connector 1277">
            <a:extLst>
              <a:ext uri="{FF2B5EF4-FFF2-40B4-BE49-F238E27FC236}">
                <a16:creationId xmlns:a16="http://schemas.microsoft.com/office/drawing/2014/main" id="{654A521E-8BE5-FEBA-382F-2E7921C322F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2246962" y="5857126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8" name="Straight Connector 800">
            <a:extLst>
              <a:ext uri="{FF2B5EF4-FFF2-40B4-BE49-F238E27FC236}">
                <a16:creationId xmlns:a16="http://schemas.microsoft.com/office/drawing/2014/main" id="{5774700D-000A-F6FB-A52B-89E49845685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2246962" y="10120872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9" name="Straight Connector 820">
            <a:extLst>
              <a:ext uri="{FF2B5EF4-FFF2-40B4-BE49-F238E27FC236}">
                <a16:creationId xmlns:a16="http://schemas.microsoft.com/office/drawing/2014/main" id="{BFE06E6C-0F59-27EB-7860-0EBA601AF39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2246962" y="8379500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0" name="Straight Connector 824">
            <a:extLst>
              <a:ext uri="{FF2B5EF4-FFF2-40B4-BE49-F238E27FC236}">
                <a16:creationId xmlns:a16="http://schemas.microsoft.com/office/drawing/2014/main" id="{6811FD1B-7BC3-A03C-F4FE-3CD481C4767A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2246962" y="7509606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1" name="Straight Connector 1240">
            <a:extLst>
              <a:ext uri="{FF2B5EF4-FFF2-40B4-BE49-F238E27FC236}">
                <a16:creationId xmlns:a16="http://schemas.microsoft.com/office/drawing/2014/main" id="{A856F12B-CA1C-3349-F5B3-1C5F098CB32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2246962" y="5422178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2" name="Straight Connector 1267">
            <a:extLst>
              <a:ext uri="{FF2B5EF4-FFF2-40B4-BE49-F238E27FC236}">
                <a16:creationId xmlns:a16="http://schemas.microsoft.com/office/drawing/2014/main" id="{D814C7B8-4910-0FA7-0D55-E707D26B772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2246962" y="10557408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4" name="Straight Connector 1236">
            <a:extLst>
              <a:ext uri="{FF2B5EF4-FFF2-40B4-BE49-F238E27FC236}">
                <a16:creationId xmlns:a16="http://schemas.microsoft.com/office/drawing/2014/main" id="{CB2484FF-236A-6D75-756D-119EC8572B9E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2246962" y="6658762"/>
            <a:ext cx="1567554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5" name="Straight Connector 795">
            <a:extLst>
              <a:ext uri="{FF2B5EF4-FFF2-40B4-BE49-F238E27FC236}">
                <a16:creationId xmlns:a16="http://schemas.microsoft.com/office/drawing/2014/main" id="{7AC33F44-EAB4-4B93-FF1C-7F7B3AB463D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2170766" y="10992353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6" name="Straight Connector 1272">
            <a:extLst>
              <a:ext uri="{FF2B5EF4-FFF2-40B4-BE49-F238E27FC236}">
                <a16:creationId xmlns:a16="http://schemas.microsoft.com/office/drawing/2014/main" id="{B6AE8DDF-6B17-5B83-238F-3BA9479B8EC8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2170766" y="7944552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7" name="Straight Connector 1266">
            <a:extLst>
              <a:ext uri="{FF2B5EF4-FFF2-40B4-BE49-F238E27FC236}">
                <a16:creationId xmlns:a16="http://schemas.microsoft.com/office/drawing/2014/main" id="{0EFD6673-92FE-DBA7-659C-4354AEC0C5CA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2170766" y="10557408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8" name="Straight Connector 823">
            <a:extLst>
              <a:ext uri="{FF2B5EF4-FFF2-40B4-BE49-F238E27FC236}">
                <a16:creationId xmlns:a16="http://schemas.microsoft.com/office/drawing/2014/main" id="{05EF4F33-07F0-C631-DEC1-932324848D1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2170766" y="7509606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5" name="Straight Connector 1239">
            <a:extLst>
              <a:ext uri="{FF2B5EF4-FFF2-40B4-BE49-F238E27FC236}">
                <a16:creationId xmlns:a16="http://schemas.microsoft.com/office/drawing/2014/main" id="{AE7ADACC-4921-E5DC-AA69-3836F00F0AE2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2170766" y="5422178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6" name="Straight Connector 799">
            <a:extLst>
              <a:ext uri="{FF2B5EF4-FFF2-40B4-BE49-F238E27FC236}">
                <a16:creationId xmlns:a16="http://schemas.microsoft.com/office/drawing/2014/main" id="{FD287CE6-D128-2193-F7A3-4FFCBA0B8E5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2170766" y="10120872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7" name="Straight Connector 1274">
            <a:extLst>
              <a:ext uri="{FF2B5EF4-FFF2-40B4-BE49-F238E27FC236}">
                <a16:creationId xmlns:a16="http://schemas.microsoft.com/office/drawing/2014/main" id="{B80AE00C-6306-FCFA-5741-C3620F69E06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2170766" y="7074658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8" name="Straight Connector 819">
            <a:extLst>
              <a:ext uri="{FF2B5EF4-FFF2-40B4-BE49-F238E27FC236}">
                <a16:creationId xmlns:a16="http://schemas.microsoft.com/office/drawing/2014/main" id="{EEF51A18-FE24-BE09-74B1-202BE76F1006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2170766" y="8379500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9" name="Straight Connector 1268">
            <a:extLst>
              <a:ext uri="{FF2B5EF4-FFF2-40B4-BE49-F238E27FC236}">
                <a16:creationId xmlns:a16="http://schemas.microsoft.com/office/drawing/2014/main" id="{4E76FBD4-9E9A-2DA9-94C4-9D7DF6E60F6B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2170766" y="9685926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1" name="Straight Connector 1276">
            <a:extLst>
              <a:ext uri="{FF2B5EF4-FFF2-40B4-BE49-F238E27FC236}">
                <a16:creationId xmlns:a16="http://schemas.microsoft.com/office/drawing/2014/main" id="{532C712B-6F9E-CE70-60B7-57DB43477765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2170766" y="5857126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3" name="Straight Connector 1235">
            <a:extLst>
              <a:ext uri="{FF2B5EF4-FFF2-40B4-BE49-F238E27FC236}">
                <a16:creationId xmlns:a16="http://schemas.microsoft.com/office/drawing/2014/main" id="{E7E4B12B-7C93-A1E5-DA87-641650419AD1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2170766" y="6658762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4" name="Straight Connector 803">
            <a:extLst>
              <a:ext uri="{FF2B5EF4-FFF2-40B4-BE49-F238E27FC236}">
                <a16:creationId xmlns:a16="http://schemas.microsoft.com/office/drawing/2014/main" id="{D1A313D8-D81A-8545-33F6-1CC5D9347CC5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2170766" y="9250979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5" name="Straight Connector 1270">
            <a:extLst>
              <a:ext uri="{FF2B5EF4-FFF2-40B4-BE49-F238E27FC236}">
                <a16:creationId xmlns:a16="http://schemas.microsoft.com/office/drawing/2014/main" id="{937A30BC-0427-D3C3-1E18-36854B519AFB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2170766" y="8816033"/>
            <a:ext cx="761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76" name="Chart 962">
            <a:extLst>
              <a:ext uri="{FF2B5EF4-FFF2-40B4-BE49-F238E27FC236}">
                <a16:creationId xmlns:a16="http://schemas.microsoft.com/office/drawing/2014/main" id="{E2A5472A-04B7-8258-E095-B5AAD296CCB6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936937446"/>
              </p:ext>
            </p:extLst>
          </p:nvPr>
        </p:nvGraphicFramePr>
        <p:xfrm>
          <a:off x="2164418" y="5115812"/>
          <a:ext cx="15840631" cy="6208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8"/>
          </a:graphicData>
        </a:graphic>
      </p:graphicFrame>
      <p:sp>
        <p:nvSpPr>
          <p:cNvPr id="977" name="text">
            <a:extLst>
              <a:ext uri="{FF2B5EF4-FFF2-40B4-BE49-F238E27FC236}">
                <a16:creationId xmlns:a16="http://schemas.microsoft.com/office/drawing/2014/main" id="{10B388F4-5FB0-6DBC-3940-3DBA97EB6A34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1670735" y="7373090"/>
            <a:ext cx="34764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6F6E27EC-01C8-464E-B70B-5BF29CB31324}" type="datetime'4''0''''''''''''''''''''''''0''''''''''''''''''''''''''''''''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400</a:t>
            </a:fld>
            <a:endParaRPr lang="en-US" sz="1800" dirty="0">
              <a:latin typeface="YS Text Regular"/>
            </a:endParaRPr>
          </a:p>
        </p:txBody>
      </p:sp>
      <p:sp>
        <p:nvSpPr>
          <p:cNvPr id="978" name="text">
            <a:extLst>
              <a:ext uri="{FF2B5EF4-FFF2-40B4-BE49-F238E27FC236}">
                <a16:creationId xmlns:a16="http://schemas.microsoft.com/office/drawing/2014/main" id="{53BEC914-6B36-4295-51AF-BD4F31C60258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3699429" y="11068550"/>
            <a:ext cx="23176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1828619">
              <a:spcBef>
                <a:spcPct val="0"/>
              </a:spcBef>
              <a:spcAft>
                <a:spcPct val="0"/>
              </a:spcAft>
              <a:defRPr/>
            </a:pPr>
            <a:fld id="{AA108785-D1CF-4580-B7DA-5012C3E91342}" type="datetime'''''''''''''''''''''''''''1''0'''">
              <a:rPr lang="en-US" altLang="en-US" sz="1800">
                <a:solidFill>
                  <a:schemeClr val="tx1"/>
                </a:solidFill>
                <a:latin typeface="YS Text Regular"/>
              </a:rPr>
              <a:pPr lvl="1"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US" sz="180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979" name="text">
            <a:extLst>
              <a:ext uri="{FF2B5EF4-FFF2-40B4-BE49-F238E27FC236}">
                <a16:creationId xmlns:a16="http://schemas.microsoft.com/office/drawing/2014/main" id="{0656AA02-3CFC-3BE7-16B4-0A57FD9F9B83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1670735" y="9114465"/>
            <a:ext cx="34764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8B6F73FB-19D2-46AE-8494-5FDC33E1A012}" type="datetime'''''''''''''''2''''''''''''''''''''''''''''00''''''''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200</a:t>
            </a:fld>
            <a:endParaRPr lang="en-US" sz="1800" dirty="0">
              <a:latin typeface="YS Text Regular"/>
            </a:endParaRPr>
          </a:p>
        </p:txBody>
      </p:sp>
      <p:sp>
        <p:nvSpPr>
          <p:cNvPr id="980" name="text">
            <a:extLst>
              <a:ext uri="{FF2B5EF4-FFF2-40B4-BE49-F238E27FC236}">
                <a16:creationId xmlns:a16="http://schemas.microsoft.com/office/drawing/2014/main" id="{1F6E8DB3-26B8-A96D-CF5A-23445785BE7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1670735" y="8242983"/>
            <a:ext cx="34764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114A8768-32EB-4F68-8818-7148132CBC44}" type="datetime'''''3''''''''''''''''''''''''''''''''0''''''0''''''''''''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300</a:t>
            </a:fld>
            <a:endParaRPr lang="en-US" sz="1800" dirty="0">
              <a:latin typeface="YS Text Regular"/>
            </a:endParaRPr>
          </a:p>
        </p:txBody>
      </p:sp>
      <p:sp>
        <p:nvSpPr>
          <p:cNvPr id="981" name="text">
            <a:extLst>
              <a:ext uri="{FF2B5EF4-FFF2-40B4-BE49-F238E27FC236}">
                <a16:creationId xmlns:a16="http://schemas.microsoft.com/office/drawing/2014/main" id="{47F2BDB9-A9D2-AC48-E00B-31ADFF0449BF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1670735" y="9549410"/>
            <a:ext cx="34764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7000F9C2-C864-4EFB-B3DC-EB5870DD57CB}" type="datetime'''''1''''''''''''5''''''''''''0''''''''''''''''''''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150</a:t>
            </a:fld>
            <a:endParaRPr lang="en-US" sz="1800" dirty="0">
              <a:latin typeface="YS Text Regular"/>
            </a:endParaRPr>
          </a:p>
        </p:txBody>
      </p:sp>
      <p:sp>
        <p:nvSpPr>
          <p:cNvPr id="982" name="text">
            <a:extLst>
              <a:ext uri="{FF2B5EF4-FFF2-40B4-BE49-F238E27FC236}">
                <a16:creationId xmlns:a16="http://schemas.microsoft.com/office/drawing/2014/main" id="{72D29894-9067-9BAC-6B3E-7CFC24DB00E0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1670735" y="9984358"/>
            <a:ext cx="34764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CDD120D4-E643-4079-9372-C102C171D864}" type="datetime'''''''''''''''''''''''''''1''''''''''''''''''0''''''''''0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100</a:t>
            </a:fld>
            <a:endParaRPr lang="en-US" sz="1800" dirty="0">
              <a:latin typeface="YS Text Regular"/>
            </a:endParaRPr>
          </a:p>
        </p:txBody>
      </p:sp>
      <p:sp>
        <p:nvSpPr>
          <p:cNvPr id="983" name="text">
            <a:extLst>
              <a:ext uri="{FF2B5EF4-FFF2-40B4-BE49-F238E27FC236}">
                <a16:creationId xmlns:a16="http://schemas.microsoft.com/office/drawing/2014/main" id="{451A1311-4194-4880-A672-9E974F77ACD4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1670735" y="7808038"/>
            <a:ext cx="34764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A5745080-2A8D-4860-8558-2DDCD1DBFBA0}" type="datetime'''''''''''''3''''''''''''''''5''''''''0''''''''''''''''''''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350</a:t>
            </a:fld>
            <a:endParaRPr lang="en-US" sz="1800" dirty="0">
              <a:latin typeface="YS Text Regular"/>
            </a:endParaRPr>
          </a:p>
        </p:txBody>
      </p:sp>
      <p:sp>
        <p:nvSpPr>
          <p:cNvPr id="984" name="text">
            <a:extLst>
              <a:ext uri="{FF2B5EF4-FFF2-40B4-BE49-F238E27FC236}">
                <a16:creationId xmlns:a16="http://schemas.microsoft.com/office/drawing/2014/main" id="{CB514713-1492-F8FB-B51F-87CACDF82A2E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786615" y="10420892"/>
            <a:ext cx="23176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B9D36E5D-2696-432E-8DCE-181098739DAB}" type="datetime'''''''''''''''''5''''''''''''''''''''''''''''''''''0''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50</a:t>
            </a:fld>
            <a:endParaRPr lang="en-US" sz="1800" dirty="0">
              <a:latin typeface="YS Text Regular"/>
            </a:endParaRPr>
          </a:p>
        </p:txBody>
      </p:sp>
      <p:sp>
        <p:nvSpPr>
          <p:cNvPr id="985" name="text">
            <a:extLst>
              <a:ext uri="{FF2B5EF4-FFF2-40B4-BE49-F238E27FC236}">
                <a16:creationId xmlns:a16="http://schemas.microsoft.com/office/drawing/2014/main" id="{B26F9840-6C22-1647-3812-2A8E28D9A099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902496" y="10855839"/>
            <a:ext cx="115880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 defTabSz="1828619">
              <a:spcBef>
                <a:spcPct val="0"/>
              </a:spcBef>
              <a:spcAft>
                <a:spcPct val="0"/>
              </a:spcAft>
              <a:defRPr/>
            </a:pPr>
            <a:fld id="{B31DA6E7-0DED-4E77-9DAC-C1A2D8A8ACDE}" type="datetime'''''''''''''''''''''''0'''''''''''''''''''">
              <a:rPr lang="en-US" altLang="en-US" sz="1800">
                <a:solidFill>
                  <a:schemeClr val="tx1"/>
                </a:solidFill>
                <a:latin typeface="YS Text Regular"/>
              </a:rPr>
              <a:pPr lvl="1"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0</a:t>
            </a:fld>
            <a:endParaRPr lang="en-US" sz="180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986" name="text">
            <a:extLst>
              <a:ext uri="{FF2B5EF4-FFF2-40B4-BE49-F238E27FC236}">
                <a16:creationId xmlns:a16="http://schemas.microsoft.com/office/drawing/2014/main" id="{324E606A-8B49-D502-B28F-8E93DFF9F4DE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1670735" y="8679517"/>
            <a:ext cx="34764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5A750C3D-6A9D-4707-BEFE-2D3442514A03}" type="datetime'''''''''''''''''2''''''''''''''''''5''''''''''''''''''''0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250</a:t>
            </a:fld>
            <a:endParaRPr lang="en-US" sz="1800" dirty="0">
              <a:latin typeface="YS Text Regular"/>
            </a:endParaRPr>
          </a:p>
        </p:txBody>
      </p:sp>
      <p:sp>
        <p:nvSpPr>
          <p:cNvPr id="987" name="text">
            <a:extLst>
              <a:ext uri="{FF2B5EF4-FFF2-40B4-BE49-F238E27FC236}">
                <a16:creationId xmlns:a16="http://schemas.microsoft.com/office/drawing/2014/main" id="{25D972FD-647E-4CF3-A535-F634A2472F4A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7749476" y="11068550"/>
            <a:ext cx="34764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1828619">
              <a:spcBef>
                <a:spcPct val="0"/>
              </a:spcBef>
              <a:spcAft>
                <a:spcPct val="0"/>
              </a:spcAft>
              <a:defRPr/>
            </a:pPr>
            <a:fld id="{04998D25-2FA4-4EC9-83DC-C26614A3F0D9}" type="datetime'''''''''''''''1''''''''''''''''0''0'''''''''''''''">
              <a:rPr lang="en-US" altLang="en-US" sz="1800">
                <a:solidFill>
                  <a:schemeClr val="tx1"/>
                </a:solidFill>
                <a:latin typeface="YS Text Regular"/>
              </a:rPr>
              <a:pPr lvl="1"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100</a:t>
            </a:fld>
            <a:endParaRPr lang="en-US" sz="1800" dirty="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988" name="text">
            <a:extLst>
              <a:ext uri="{FF2B5EF4-FFF2-40B4-BE49-F238E27FC236}">
                <a16:creationId xmlns:a16="http://schemas.microsoft.com/office/drawing/2014/main" id="{4490CDDC-F736-7C13-84E7-7A71D97ADCF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16239862" y="11068550"/>
            <a:ext cx="23176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1828619">
              <a:spcBef>
                <a:spcPct val="0"/>
              </a:spcBef>
              <a:spcAft>
                <a:spcPct val="0"/>
              </a:spcAft>
              <a:defRPr/>
            </a:pPr>
            <a:fld id="{0FF335E9-F33C-43BA-AFB6-C009EA1183AE}" type="datetime'''''''''''''''''''9''''''''0'''''''''''''''">
              <a:rPr lang="en-US" altLang="en-US" sz="1800">
                <a:solidFill>
                  <a:schemeClr val="tx1"/>
                </a:solidFill>
                <a:latin typeface="YS Text Regular"/>
              </a:rPr>
              <a:pPr lvl="1"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90</a:t>
            </a:fld>
            <a:endParaRPr lang="en-US" sz="180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989" name="text">
            <a:extLst>
              <a:ext uri="{FF2B5EF4-FFF2-40B4-BE49-F238E27FC236}">
                <a16:creationId xmlns:a16="http://schemas.microsoft.com/office/drawing/2014/main" id="{F6B697CE-7F68-450E-91CD-279EF9284A1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1670735" y="6938144"/>
            <a:ext cx="34764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AA1A4B1E-7F17-46EF-A529-A1A5C3E656CC}" type="datetime'''4''''''5''''''''''''''''''''''''''''''0''''''''''''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450</a:t>
            </a:fld>
            <a:endParaRPr lang="en-US" sz="1800" dirty="0">
              <a:latin typeface="YS Text Regular"/>
            </a:endParaRPr>
          </a:p>
        </p:txBody>
      </p:sp>
      <p:sp>
        <p:nvSpPr>
          <p:cNvPr id="990" name="text">
            <a:extLst>
              <a:ext uri="{FF2B5EF4-FFF2-40B4-BE49-F238E27FC236}">
                <a16:creationId xmlns:a16="http://schemas.microsoft.com/office/drawing/2014/main" id="{20013003-F9C1-BF77-470E-D80B04B1EF22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4671514" y="11068550"/>
            <a:ext cx="23176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1828619">
              <a:spcBef>
                <a:spcPct val="0"/>
              </a:spcBef>
              <a:spcAft>
                <a:spcPct val="0"/>
              </a:spcAft>
              <a:defRPr/>
            </a:pPr>
            <a:fld id="{162509BD-B804-49EB-B190-8BFFF850E265}" type="datetime'''''''''''''''''''''''''''''''''''''''8''''''''0'''">
              <a:rPr lang="en-US" altLang="en-US" sz="1800">
                <a:solidFill>
                  <a:schemeClr val="tx1"/>
                </a:solidFill>
                <a:latin typeface="YS Text Regular"/>
              </a:rPr>
              <a:pPr lvl="1"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80</a:t>
            </a:fld>
            <a:endParaRPr lang="en-US" sz="180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991" name="text">
            <a:extLst>
              <a:ext uri="{FF2B5EF4-FFF2-40B4-BE49-F238E27FC236}">
                <a16:creationId xmlns:a16="http://schemas.microsoft.com/office/drawing/2014/main" id="{79A87E4F-C58E-79C5-3770-0C638365D21A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13104754" y="11068550"/>
            <a:ext cx="23176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1828619">
              <a:spcBef>
                <a:spcPct val="0"/>
              </a:spcBef>
              <a:spcAft>
                <a:spcPct val="0"/>
              </a:spcAft>
              <a:defRPr/>
            </a:pPr>
            <a:fld id="{CA0CC443-AEA7-414E-956C-5DF131E9B1CE}" type="datetime'''7''''''''''''''0'''''''''''''''''''''">
              <a:rPr lang="en-US" altLang="en-US" sz="1800">
                <a:solidFill>
                  <a:schemeClr val="tx1"/>
                </a:solidFill>
                <a:latin typeface="YS Text Regular"/>
              </a:rPr>
              <a:pPr lvl="1"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70</a:t>
            </a:fld>
            <a:endParaRPr lang="en-US" sz="180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32" name="text">
            <a:extLst>
              <a:ext uri="{FF2B5EF4-FFF2-40B4-BE49-F238E27FC236}">
                <a16:creationId xmlns:a16="http://schemas.microsoft.com/office/drawing/2014/main" id="{2212BEB8-6DE0-3378-E558-A68152A4E03D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670735" y="6522246"/>
            <a:ext cx="34764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803E5E3C-079F-4984-9A70-4E9FFE37E07D}" type="datetime'''''''''''''7''''''''''''''''''''''''''0''''0''''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700</a:t>
            </a:fld>
            <a:endParaRPr lang="en-US" sz="1800" dirty="0">
              <a:latin typeface="YS Text Regular"/>
            </a:endParaRPr>
          </a:p>
        </p:txBody>
      </p:sp>
      <p:sp>
        <p:nvSpPr>
          <p:cNvPr id="33" name="text">
            <a:extLst>
              <a:ext uri="{FF2B5EF4-FFF2-40B4-BE49-F238E27FC236}">
                <a16:creationId xmlns:a16="http://schemas.microsoft.com/office/drawing/2014/main" id="{8B07CF62-4202-DA61-A823-A5481CF272A6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11536407" y="11068550"/>
            <a:ext cx="23176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1828619">
              <a:spcBef>
                <a:spcPct val="0"/>
              </a:spcBef>
              <a:spcAft>
                <a:spcPct val="0"/>
              </a:spcAft>
              <a:defRPr/>
            </a:pPr>
            <a:fld id="{BD4DA046-4A78-43A3-8079-54E6C26D74E1}" type="datetime'''''''''''''''''''''''''''''''''6''''0'''''''''''">
              <a:rPr lang="en-US" altLang="en-US" sz="1800">
                <a:solidFill>
                  <a:schemeClr val="tx1"/>
                </a:solidFill>
                <a:latin typeface="YS Text Regular"/>
              </a:rPr>
              <a:pPr lvl="1"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60</a:t>
            </a:fld>
            <a:endParaRPr lang="en-US" sz="180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34" name="text">
            <a:extLst>
              <a:ext uri="{FF2B5EF4-FFF2-40B4-BE49-F238E27FC236}">
                <a16:creationId xmlns:a16="http://schemas.microsoft.com/office/drawing/2014/main" id="{6BF66608-82FF-A933-EFF2-F7DB962AE3B3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9969645" y="11068550"/>
            <a:ext cx="23176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1828619">
              <a:spcBef>
                <a:spcPct val="0"/>
              </a:spcBef>
              <a:spcAft>
                <a:spcPct val="0"/>
              </a:spcAft>
              <a:defRPr/>
            </a:pPr>
            <a:fld id="{EB84176D-9AB5-4D67-8BDC-C6E31572C06D}" type="datetime'''''''''''''''''''''''''''''''5''''0'''''''''''''''''''">
              <a:rPr lang="en-US" altLang="en-US" sz="1800">
                <a:solidFill>
                  <a:schemeClr val="tx1"/>
                </a:solidFill>
                <a:latin typeface="YS Text Regular"/>
              </a:rPr>
              <a:pPr lvl="1"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50</a:t>
            </a:fld>
            <a:endParaRPr lang="en-US" sz="180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35" name="text">
            <a:extLst>
              <a:ext uri="{FF2B5EF4-FFF2-40B4-BE49-F238E27FC236}">
                <a16:creationId xmlns:a16="http://schemas.microsoft.com/office/drawing/2014/main" id="{E8BD33C1-5C2B-7426-820F-4B363B3567F1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502473" y="5720610"/>
            <a:ext cx="515904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3FCADBAF-4582-4A02-AF85-866B68BF9616}" type="datetime'''''''1'' ''''''''''''0''''''''''''5''''''''''''0''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1 050</a:t>
            </a:fld>
            <a:endParaRPr lang="en-US" sz="1800" dirty="0">
              <a:latin typeface="YS Text Regular"/>
            </a:endParaRPr>
          </a:p>
        </p:txBody>
      </p:sp>
      <p:sp>
        <p:nvSpPr>
          <p:cNvPr id="36" name="text">
            <a:extLst>
              <a:ext uri="{FF2B5EF4-FFF2-40B4-BE49-F238E27FC236}">
                <a16:creationId xmlns:a16="http://schemas.microsoft.com/office/drawing/2014/main" id="{63F4CA82-1E63-AC91-CF01-8C2DFE409956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8401297" y="11068550"/>
            <a:ext cx="23176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1828619">
              <a:spcBef>
                <a:spcPct val="0"/>
              </a:spcBef>
              <a:spcAft>
                <a:spcPct val="0"/>
              </a:spcAft>
              <a:defRPr/>
            </a:pPr>
            <a:fld id="{A48E2658-9F8E-48FD-8C3D-9BD3028033E2}" type="datetime'''''''''''''''''''''''''''''''''4''''''0'''''''''">
              <a:rPr lang="en-US" altLang="en-US" sz="1800">
                <a:solidFill>
                  <a:schemeClr val="tx1"/>
                </a:solidFill>
                <a:latin typeface="YS Text Regular"/>
              </a:rPr>
              <a:pPr lvl="1"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40</a:t>
            </a:fld>
            <a:endParaRPr lang="en-US" sz="180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37" name="text">
            <a:extLst>
              <a:ext uri="{FF2B5EF4-FFF2-40B4-BE49-F238E27FC236}">
                <a16:creationId xmlns:a16="http://schemas.microsoft.com/office/drawing/2014/main" id="{4E37AB0A-06FB-5DCA-3B7C-933BEAAAC8DC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6834537" y="11068550"/>
            <a:ext cx="23176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1828619">
              <a:spcBef>
                <a:spcPct val="0"/>
              </a:spcBef>
              <a:spcAft>
                <a:spcPct val="0"/>
              </a:spcAft>
              <a:defRPr/>
            </a:pPr>
            <a:fld id="{17BAF495-2869-4F9B-ADF8-A5503861E18B}" type="datetime'''''3''''''''''''''''''''''0'''''''''''''''''''''''''''''''''">
              <a:rPr lang="en-US" altLang="en-US" sz="1800">
                <a:solidFill>
                  <a:schemeClr val="tx1"/>
                </a:solidFill>
                <a:latin typeface="YS Text Regular"/>
              </a:rPr>
              <a:pPr lvl="1"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30</a:t>
            </a:fld>
            <a:endParaRPr lang="en-US" sz="1800" dirty="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91CEA213-5741-8E2F-6391-55B3D0FB88CA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502473" y="5285664"/>
            <a:ext cx="515904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828619">
              <a:spcBef>
                <a:spcPct val="0"/>
              </a:spcBef>
              <a:spcAft>
                <a:spcPct val="0"/>
              </a:spcAft>
              <a:defRPr/>
            </a:pPr>
            <a:fld id="{B44C7494-4D72-4DF7-BA22-38D386127B0D}" type="datetime'''''''''''1 ''''''''''''''1''''0''''0'''''''''''''''">
              <a:rPr lang="en-US" altLang="en-US" sz="1800">
                <a:latin typeface="YS Text Regular"/>
              </a:rPr>
              <a:pPr algn="r" defTabSz="1828619">
                <a:spcBef>
                  <a:spcPct val="0"/>
                </a:spcBef>
                <a:spcAft>
                  <a:spcPct val="0"/>
                </a:spcAft>
                <a:defRPr/>
              </a:pPr>
              <a:t>1 100</a:t>
            </a:fld>
            <a:endParaRPr lang="en-US" sz="1800" dirty="0">
              <a:latin typeface="YS Text Regular"/>
            </a:endParaRPr>
          </a:p>
        </p:txBody>
      </p:sp>
      <p:sp>
        <p:nvSpPr>
          <p:cNvPr id="40" name="text">
            <a:extLst>
              <a:ext uri="{FF2B5EF4-FFF2-40B4-BE49-F238E27FC236}">
                <a16:creationId xmlns:a16="http://schemas.microsoft.com/office/drawing/2014/main" id="{785F6039-8181-DCA7-E6AF-0ACC905A310A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5266189" y="11068550"/>
            <a:ext cx="231761" cy="27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1828619">
              <a:spcBef>
                <a:spcPct val="0"/>
              </a:spcBef>
              <a:spcAft>
                <a:spcPct val="0"/>
              </a:spcAft>
              <a:defRPr/>
            </a:pPr>
            <a:fld id="{65407B82-E147-457A-BF5E-BEE7455587DB}" type="datetime'''''''''''2''''''''''''''0'''''''''''">
              <a:rPr lang="en-US" altLang="en-US" sz="1800">
                <a:solidFill>
                  <a:schemeClr val="tx1"/>
                </a:solidFill>
                <a:latin typeface="YS Text Regular"/>
              </a:rPr>
              <a:pPr lvl="1"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en-US" sz="180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41" name="text">
            <a:extLst>
              <a:ext uri="{FF2B5EF4-FFF2-40B4-BE49-F238E27FC236}">
                <a16:creationId xmlns:a16="http://schemas.microsoft.com/office/drawing/2014/main" id="{7FA1151D-C3B2-0576-F57A-4082C8704831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2183465" y="11068549"/>
            <a:ext cx="128580" cy="304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1828619">
              <a:spcBef>
                <a:spcPct val="0"/>
              </a:spcBef>
              <a:spcAft>
                <a:spcPct val="0"/>
              </a:spcAft>
              <a:defRPr/>
            </a:pPr>
            <a:fld id="{36522C19-B173-492E-BDB6-43CD2EB4752E}" type="datetime'''''''''''''''''''''''''''''''''''''''''''''''0'''">
              <a:rPr lang="en-US" altLang="en-US" sz="2000">
                <a:solidFill>
                  <a:schemeClr val="tx1"/>
                </a:solidFill>
                <a:latin typeface="YS Text Regular"/>
              </a:rPr>
              <a:pPr lvl="1"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0</a:t>
            </a:fld>
            <a:endParaRPr lang="en-US" sz="2000">
              <a:solidFill>
                <a:schemeClr val="tx1"/>
              </a:solidFill>
              <a:latin typeface="YS Text Regular"/>
            </a:endParaRPr>
          </a:p>
        </p:txBody>
      </p:sp>
      <p:sp>
        <p:nvSpPr>
          <p:cNvPr id="42" name="Freeform 953">
            <a:extLst>
              <a:ext uri="{FF2B5EF4-FFF2-40B4-BE49-F238E27FC236}">
                <a16:creationId xmlns:a16="http://schemas.microsoft.com/office/drawing/2014/main" id="{832300AF-683F-C150-FDF5-4E87016E1B27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2173940" y="6914331"/>
            <a:ext cx="146042" cy="96834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77">
              <a:lnSpc>
                <a:spcPct val="104000"/>
              </a:lnSpc>
              <a:spcAft>
                <a:spcPts val="2400"/>
              </a:spcAft>
            </a:pPr>
            <a:endParaRPr lang="en-US" sz="28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sp>
        <p:nvSpPr>
          <p:cNvPr id="43" name="Freeform 950">
            <a:extLst>
              <a:ext uri="{FF2B5EF4-FFF2-40B4-BE49-F238E27FC236}">
                <a16:creationId xmlns:a16="http://schemas.microsoft.com/office/drawing/2014/main" id="{1E7026B2-9D77-55BC-9512-E34390812F31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2173940" y="6238101"/>
            <a:ext cx="146042" cy="96834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77">
              <a:lnSpc>
                <a:spcPct val="104000"/>
              </a:lnSpc>
              <a:spcAft>
                <a:spcPts val="2400"/>
              </a:spcAft>
            </a:pPr>
            <a:endParaRPr lang="en-US" sz="28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sp>
        <p:nvSpPr>
          <p:cNvPr id="44" name="Freeform 948">
            <a:extLst>
              <a:ext uri="{FF2B5EF4-FFF2-40B4-BE49-F238E27FC236}">
                <a16:creationId xmlns:a16="http://schemas.microsoft.com/office/drawing/2014/main" id="{8FB29161-0845-B008-CFD5-A8EDC7C80EDB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2173940" y="6238102"/>
            <a:ext cx="146042" cy="39687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177"/>
            <a:endParaRPr lang="en-US">
              <a:latin typeface="YS Text Regular"/>
            </a:endParaRPr>
          </a:p>
        </p:txBody>
      </p:sp>
      <p:sp>
        <p:nvSpPr>
          <p:cNvPr id="45" name="Freeform 952">
            <a:extLst>
              <a:ext uri="{FF2B5EF4-FFF2-40B4-BE49-F238E27FC236}">
                <a16:creationId xmlns:a16="http://schemas.microsoft.com/office/drawing/2014/main" id="{6AA05D0F-230A-CF76-09FE-EBF5D129C464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2173940" y="6971478"/>
            <a:ext cx="146042" cy="39687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177"/>
            <a:endParaRPr lang="en-US">
              <a:latin typeface="YS Text Regular"/>
            </a:endParaRPr>
          </a:p>
        </p:txBody>
      </p:sp>
      <p:sp>
        <p:nvSpPr>
          <p:cNvPr id="46" name="Freeform 951">
            <a:extLst>
              <a:ext uri="{FF2B5EF4-FFF2-40B4-BE49-F238E27FC236}">
                <a16:creationId xmlns:a16="http://schemas.microsoft.com/office/drawing/2014/main" id="{6A166298-B720-440C-608C-EEFC128C38AD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2173940" y="6914332"/>
            <a:ext cx="146042" cy="39687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177"/>
            <a:endParaRPr lang="en-US">
              <a:latin typeface="YS Text Regular"/>
            </a:endParaRPr>
          </a:p>
        </p:txBody>
      </p:sp>
      <p:sp>
        <p:nvSpPr>
          <p:cNvPr id="47" name="Freeform 949">
            <a:extLst>
              <a:ext uri="{FF2B5EF4-FFF2-40B4-BE49-F238E27FC236}">
                <a16:creationId xmlns:a16="http://schemas.microsoft.com/office/drawing/2014/main" id="{263EAA16-D39C-DB01-F230-F1B0BCC556E2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2173940" y="6295248"/>
            <a:ext cx="146042" cy="39687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177"/>
            <a:endParaRPr lang="en-US">
              <a:latin typeface="YS Text Regular"/>
            </a:endParaRPr>
          </a:p>
        </p:txBody>
      </p:sp>
      <p:cxnSp>
        <p:nvCxnSpPr>
          <p:cNvPr id="48" name="Straight Connector 1243">
            <a:extLst>
              <a:ext uri="{FF2B5EF4-FFF2-40B4-BE49-F238E27FC236}">
                <a16:creationId xmlns:a16="http://schemas.microsoft.com/office/drawing/2014/main" id="{89D91A1C-76AE-AB77-3F3A-0FE7B84FF51D}"/>
              </a:ext>
            </a:extLst>
          </p:cNvPr>
          <p:cNvCxnSpPr>
            <a:cxnSpLocks/>
          </p:cNvCxnSpPr>
          <p:nvPr>
            <p:custDataLst>
              <p:tags r:id="rId67"/>
            </p:custDataLst>
          </p:nvPr>
        </p:nvCxnSpPr>
        <p:spPr bwMode="auto">
          <a:xfrm flipH="1">
            <a:off x="4678854" y="10851076"/>
            <a:ext cx="87308" cy="8730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1413">
            <a:extLst>
              <a:ext uri="{FF2B5EF4-FFF2-40B4-BE49-F238E27FC236}">
                <a16:creationId xmlns:a16="http://schemas.microsoft.com/office/drawing/2014/main" id="{A7D870DE-7326-976A-D454-096CE209A230}"/>
              </a:ext>
            </a:extLst>
          </p:cNvPr>
          <p:cNvCxnSpPr>
            <a:cxnSpLocks/>
          </p:cNvCxnSpPr>
          <p:nvPr>
            <p:custDataLst>
              <p:tags r:id="rId68"/>
            </p:custDataLst>
          </p:nvPr>
        </p:nvCxnSpPr>
        <p:spPr bwMode="auto">
          <a:xfrm flipH="1">
            <a:off x="10244265" y="10630427"/>
            <a:ext cx="24446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1415">
            <a:extLst>
              <a:ext uri="{FF2B5EF4-FFF2-40B4-BE49-F238E27FC236}">
                <a16:creationId xmlns:a16="http://schemas.microsoft.com/office/drawing/2014/main" id="{326B6856-1E75-F110-2C04-B358DF110D91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 bwMode="auto">
          <a:xfrm flipH="1">
            <a:off x="8423522" y="10628839"/>
            <a:ext cx="21271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1242">
            <a:extLst>
              <a:ext uri="{FF2B5EF4-FFF2-40B4-BE49-F238E27FC236}">
                <a16:creationId xmlns:a16="http://schemas.microsoft.com/office/drawing/2014/main" id="{6D2C50DC-4703-E73B-23FD-6133B8260E97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 bwMode="auto">
          <a:xfrm flipV="1">
            <a:off x="6569442" y="10144684"/>
            <a:ext cx="0" cy="13016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xt">
            <a:extLst>
              <a:ext uri="{FF2B5EF4-FFF2-40B4-BE49-F238E27FC236}">
                <a16:creationId xmlns:a16="http://schemas.microsoft.com/office/drawing/2014/main" id="{CCD3DC2D-9D9E-3112-4151-08D0F9670D3F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11563391" y="10392850"/>
            <a:ext cx="231761" cy="2127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828619">
              <a:spcBef>
                <a:spcPct val="0"/>
              </a:spcBef>
              <a:spcAft>
                <a:spcPct val="0"/>
              </a:spcAft>
            </a:pPr>
            <a:fld id="{EFD51A3D-D0DD-44C9-85C4-2C301109C43E}" type="datetime'''''$''''''''''''''''''''''''''''''''''''2'''''''''''''">
              <a:rPr lang="en-US" altLang="en-US" sz="1400">
                <a:latin typeface="YS Text Regular"/>
              </a:rPr>
              <a:pPr algn="ctr" defTabSz="1828619">
                <a:spcBef>
                  <a:spcPct val="0"/>
                </a:spcBef>
                <a:spcAft>
                  <a:spcPct val="0"/>
                </a:spcAft>
              </a:pPr>
              <a:t>$2</a:t>
            </a:fld>
            <a:endParaRPr lang="en-US" sz="1400" dirty="0">
              <a:latin typeface="YS Text Regular"/>
            </a:endParaRPr>
          </a:p>
        </p:txBody>
      </p:sp>
      <p:sp>
        <p:nvSpPr>
          <p:cNvPr id="54" name="text">
            <a:extLst>
              <a:ext uri="{FF2B5EF4-FFF2-40B4-BE49-F238E27FC236}">
                <a16:creationId xmlns:a16="http://schemas.microsoft.com/office/drawing/2014/main" id="{71D2B593-BE05-2533-96F8-9E408380C8D2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12584088" y="7176253"/>
            <a:ext cx="688931" cy="2127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674326D5-572F-4001-BF33-40C47096EFE0}" type="datetime'''''Au''''s''t''r''''''''''''a''''''''''l''''''ia'''''''''''''">
              <a:rPr lang="en-US" altLang="en-US" sz="14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Australia</a:t>
            </a:fld>
            <a:endParaRPr lang="en-US" sz="1400" dirty="0">
              <a:latin typeface="YS Text Regular"/>
            </a:endParaRPr>
          </a:p>
        </p:txBody>
      </p:sp>
      <p:sp>
        <p:nvSpPr>
          <p:cNvPr id="55" name="text">
            <a:extLst>
              <a:ext uri="{FF2B5EF4-FFF2-40B4-BE49-F238E27FC236}">
                <a16:creationId xmlns:a16="http://schemas.microsoft.com/office/drawing/2014/main" id="{219864C9-F0E5-0C57-0187-7D3E0FEC580E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9961709" y="10144686"/>
            <a:ext cx="444471" cy="2127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B3010732-5608-4FED-92FB-744CC81FD014}" type="datetime'''Br''''''''''a''''z''''''''''''i''''l'''''''''''''''''''''''">
              <a:rPr lang="en-US" altLang="en-US" sz="14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Brazil</a:t>
            </a:fld>
            <a:endParaRPr lang="en-US" sz="1400" dirty="0">
              <a:latin typeface="YS Text Regular"/>
            </a:endParaRPr>
          </a:p>
        </p:txBody>
      </p:sp>
      <p:sp>
        <p:nvSpPr>
          <p:cNvPr id="56" name="text">
            <a:extLst>
              <a:ext uri="{FF2B5EF4-FFF2-40B4-BE49-F238E27FC236}">
                <a16:creationId xmlns:a16="http://schemas.microsoft.com/office/drawing/2014/main" id="{514C563B-B487-974B-8C45-08D5A88A7853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6747230" y="10100239"/>
            <a:ext cx="460346" cy="2127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8AA659AF-3B9F-4783-91C1-D0DE820ACD0A}" type="datetime'''''C''''''''h''''i''''''''''''''''''''''''n''a'''">
              <a:rPr lang="en-US" altLang="en-US" sz="14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China</a:t>
            </a:fld>
            <a:endParaRPr lang="en-US" sz="1400" dirty="0">
              <a:latin typeface="YS Text Regular"/>
            </a:endParaRPr>
          </a:p>
        </p:txBody>
      </p:sp>
      <p:sp>
        <p:nvSpPr>
          <p:cNvPr id="58" name="text">
            <a:extLst>
              <a:ext uri="{FF2B5EF4-FFF2-40B4-BE49-F238E27FC236}">
                <a16:creationId xmlns:a16="http://schemas.microsoft.com/office/drawing/2014/main" id="{42B59D6A-E170-FBC7-2A63-5412785E6C56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1558629" y="9143037"/>
            <a:ext cx="533365" cy="2127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2C683E36-F03B-4D26-8091-01794EA52EBF}" type="datetime'''''''F''r''''''''''''''a''n''''''''''''''c''''''e'''">
              <a:rPr lang="en-US" altLang="en-US" sz="14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France</a:t>
            </a:fld>
            <a:endParaRPr lang="en-US" sz="1400" dirty="0">
              <a:latin typeface="YS Text Regular"/>
            </a:endParaRPr>
          </a:p>
        </p:txBody>
      </p:sp>
      <p:sp>
        <p:nvSpPr>
          <p:cNvPr id="59" name="text">
            <a:extLst>
              <a:ext uri="{FF2B5EF4-FFF2-40B4-BE49-F238E27FC236}">
                <a16:creationId xmlns:a16="http://schemas.microsoft.com/office/drawing/2014/main" id="{A46E461F-76E6-4B3C-F7C0-E0C7AE9ED270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2874581" y="8939850"/>
            <a:ext cx="712742" cy="2127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A7B24A79-8EA8-4FD7-A6CC-78A857BBDE9A}" type="datetime'''G''''e''''''''''r''''''''m''''''a''n''''y'''''''''''''''''''">
              <a:rPr lang="en-US" altLang="en-US" sz="14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Germany</a:t>
            </a:fld>
            <a:endParaRPr lang="en-US" sz="1400" dirty="0">
              <a:latin typeface="YS Text Regular"/>
            </a:endParaRPr>
          </a:p>
        </p:txBody>
      </p:sp>
      <p:sp>
        <p:nvSpPr>
          <p:cNvPr id="60" name="text">
            <a:extLst>
              <a:ext uri="{FF2B5EF4-FFF2-40B4-BE49-F238E27FC236}">
                <a16:creationId xmlns:a16="http://schemas.microsoft.com/office/drawing/2014/main" id="{7FB9BA0D-682F-F41F-9B59-4C52A60A8E94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4111832" y="10770119"/>
            <a:ext cx="409549" cy="212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71081638-4083-470C-A121-0975A5CF53F7}" type="datetime'''I''''''''''''''n''''''d''''''''''''''''''''''''''ia'''''''">
              <a:rPr lang="en-US" altLang="en-US" sz="1400">
                <a:latin typeface="YS Text Medium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India</a:t>
            </a:fld>
            <a:endParaRPr lang="en-US" sz="1400" dirty="0">
              <a:latin typeface="YS Text Medium"/>
            </a:endParaRPr>
          </a:p>
        </p:txBody>
      </p:sp>
      <p:sp>
        <p:nvSpPr>
          <p:cNvPr id="61" name="text">
            <a:extLst>
              <a:ext uri="{FF2B5EF4-FFF2-40B4-BE49-F238E27FC236}">
                <a16:creationId xmlns:a16="http://schemas.microsoft.com/office/drawing/2014/main" id="{BCE6B96D-815D-CB34-25A9-B654AD660C6A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6229739" y="8712210"/>
            <a:ext cx="466696" cy="2127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828619">
              <a:spcBef>
                <a:spcPct val="0"/>
              </a:spcBef>
              <a:spcAft>
                <a:spcPct val="0"/>
              </a:spcAft>
              <a:defRPr/>
            </a:pPr>
            <a:fld id="{7F921C3C-7A02-40EA-B535-A6A553FE1F14}" type="datetime'''''''''''''''''''''''J''''''''''''a''p''an'''''''''''''''''">
              <a:rPr lang="en-US" altLang="en-US" sz="1400">
                <a:latin typeface="YS Text Regular"/>
              </a:rPr>
              <a:pPr algn="ctr" defTabSz="1828619">
                <a:spcBef>
                  <a:spcPct val="0"/>
                </a:spcBef>
                <a:spcAft>
                  <a:spcPct val="0"/>
                </a:spcAft>
                <a:defRPr/>
              </a:pPr>
              <a:t>Japan</a:t>
            </a:fld>
            <a:endParaRPr lang="en-US" sz="1400" dirty="0">
              <a:latin typeface="YS Text Regular"/>
            </a:endParaRPr>
          </a:p>
        </p:txBody>
      </p:sp>
      <p:sp>
        <p:nvSpPr>
          <p:cNvPr id="62" name="text">
            <a:extLst>
              <a:ext uri="{FF2B5EF4-FFF2-40B4-BE49-F238E27FC236}">
                <a16:creationId xmlns:a16="http://schemas.microsoft.com/office/drawing/2014/main" id="{93FC40E5-C493-8973-5F6D-942FABA8D479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0830330" y="9903401"/>
            <a:ext cx="446059" cy="212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5A06822F-BFBC-4F6C-B78F-C5F283A06B1A}" type="datetime'''''''''''''''''''''S''p''''''''''''ai''''''''''''''''n'">
              <a:rPr lang="en-US" altLang="en-US" sz="14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Spain</a:t>
            </a:fld>
            <a:endParaRPr lang="en-US" sz="1400" dirty="0">
              <a:latin typeface="YS Text Regular"/>
            </a:endParaRPr>
          </a:p>
        </p:txBody>
      </p:sp>
      <p:sp>
        <p:nvSpPr>
          <p:cNvPr id="63" name="text">
            <a:extLst>
              <a:ext uri="{FF2B5EF4-FFF2-40B4-BE49-F238E27FC236}">
                <a16:creationId xmlns:a16="http://schemas.microsoft.com/office/drawing/2014/main" id="{9F33E1B8-7DE7-B18A-E5C2-E60F4EA9C320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12365027" y="6533357"/>
            <a:ext cx="257159" cy="2127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15997723-8BA2-4842-88C5-C8BA23E6242A}" type="datetime'''''''''''''U''''''''''''''''''''''''''''K'">
              <a:rPr lang="en-US" altLang="en-US" sz="14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UK</a:t>
            </a:fld>
            <a:endParaRPr lang="en-US" sz="1400" dirty="0">
              <a:latin typeface="YS Text Regular"/>
            </a:endParaRPr>
          </a:p>
        </p:txBody>
      </p:sp>
      <p:sp>
        <p:nvSpPr>
          <p:cNvPr id="128" name="text">
            <a:extLst>
              <a:ext uri="{FF2B5EF4-FFF2-40B4-BE49-F238E27FC236}">
                <a16:creationId xmlns:a16="http://schemas.microsoft.com/office/drawing/2014/main" id="{5AF42BB7-B98E-F017-E1BA-325538EA0AAB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14055605" y="5825379"/>
            <a:ext cx="246048" cy="2127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9B391749-6D25-4E80-9CB1-91297B26DC3C}" type="datetime'''''U''S'''''''''''''''''''''">
              <a:rPr lang="en-US" altLang="en-US" sz="1400">
                <a:latin typeface="YS Text Medium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US</a:t>
            </a:fld>
            <a:endParaRPr lang="en-US" sz="1400" dirty="0">
              <a:latin typeface="YS Text Medium"/>
            </a:endParaRPr>
          </a:p>
        </p:txBody>
      </p:sp>
      <p:sp>
        <p:nvSpPr>
          <p:cNvPr id="129" name="text">
            <a:extLst>
              <a:ext uri="{FF2B5EF4-FFF2-40B4-BE49-F238E27FC236}">
                <a16:creationId xmlns:a16="http://schemas.microsoft.com/office/drawing/2014/main" id="{21E34425-A0C1-3150-2A0E-393C3396DA80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14098465" y="8066783"/>
            <a:ext cx="590512" cy="212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11A2B198-A25E-4D34-B00D-B4B58DE79A40}" type="datetime'''''''''''''''''''C''''''a''''''na''d''''''''''''''a'''">
              <a:rPr lang="en-US" altLang="en-US" sz="14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Canada</a:t>
            </a:fld>
            <a:endParaRPr lang="en-US" sz="1400" dirty="0">
              <a:latin typeface="YS Text Regular"/>
            </a:endParaRPr>
          </a:p>
        </p:txBody>
      </p:sp>
      <p:sp>
        <p:nvSpPr>
          <p:cNvPr id="130" name="text">
            <a:extLst>
              <a:ext uri="{FF2B5EF4-FFF2-40B4-BE49-F238E27FC236}">
                <a16:creationId xmlns:a16="http://schemas.microsoft.com/office/drawing/2014/main" id="{074B2AB1-2290-22F0-D459-73481C74E325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12296769" y="9824031"/>
            <a:ext cx="507967" cy="212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43A078A9-CF51-46D7-B457-7BDF1D8413BD}" type="datetime'''''''''Ru''s''''s''''''''''''i''a'''''''''''''''">
              <a:rPr lang="en-US" altLang="en-US" sz="1400">
                <a:latin typeface="YS Text Medium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Russia</a:t>
            </a:fld>
            <a:endParaRPr lang="en-US" sz="1400" dirty="0">
              <a:latin typeface="YS Text Medium"/>
            </a:endParaRPr>
          </a:p>
        </p:txBody>
      </p:sp>
      <p:sp>
        <p:nvSpPr>
          <p:cNvPr id="131" name="text">
            <a:extLst>
              <a:ext uri="{FF2B5EF4-FFF2-40B4-BE49-F238E27FC236}">
                <a16:creationId xmlns:a16="http://schemas.microsoft.com/office/drawing/2014/main" id="{312671A8-861C-13B9-F451-1649E9CFDADE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8636231" y="10522485"/>
            <a:ext cx="231761" cy="212712"/>
          </a:xfrm>
          <a:prstGeom prst="rect">
            <a:avLst/>
          </a:prstGeom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828619">
              <a:spcBef>
                <a:spcPct val="0"/>
              </a:spcBef>
              <a:spcAft>
                <a:spcPct val="0"/>
              </a:spcAft>
            </a:pPr>
            <a:fld id="{64554A3E-6754-4EE1-BDB6-7C313BF0A416}" type="datetime'''''''''''''$''''''''''''''''''''''''''''''''''''''2'''''''''">
              <a:rPr lang="en-US" altLang="en-US" sz="1400">
                <a:latin typeface="YS Text Regular"/>
              </a:rPr>
              <a:pPr algn="ctr" defTabSz="1828619">
                <a:spcBef>
                  <a:spcPct val="0"/>
                </a:spcBef>
                <a:spcAft>
                  <a:spcPct val="0"/>
                </a:spcAft>
              </a:pPr>
              <a:t>$2</a:t>
            </a:fld>
            <a:endParaRPr lang="en-US" sz="1400" dirty="0">
              <a:latin typeface="YS Text Regular"/>
            </a:endParaRPr>
          </a:p>
        </p:txBody>
      </p:sp>
      <p:sp>
        <p:nvSpPr>
          <p:cNvPr id="132" name="text">
            <a:extLst>
              <a:ext uri="{FF2B5EF4-FFF2-40B4-BE49-F238E27FC236}">
                <a16:creationId xmlns:a16="http://schemas.microsoft.com/office/drawing/2014/main" id="{90471779-A131-0E72-B3FB-4725C063C48C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6347841" y="9419245"/>
            <a:ext cx="231761" cy="21271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828619">
              <a:spcBef>
                <a:spcPct val="0"/>
              </a:spcBef>
              <a:spcAft>
                <a:spcPct val="0"/>
              </a:spcAft>
            </a:pPr>
            <a:fld id="{15A550B1-1B22-43CF-BD3D-0B01BC597396}" type="datetime'''$''''''''''''''''''''''''''''''7'''''''''''''''''''">
              <a:rPr lang="en-US" altLang="en-US" sz="1400">
                <a:latin typeface="YS Text Regular"/>
              </a:rPr>
              <a:pPr algn="ctr" defTabSz="1828619">
                <a:spcBef>
                  <a:spcPct val="0"/>
                </a:spcBef>
                <a:spcAft>
                  <a:spcPct val="0"/>
                </a:spcAft>
              </a:pPr>
              <a:t>$7</a:t>
            </a:fld>
            <a:endParaRPr lang="en-US" sz="1400" dirty="0">
              <a:latin typeface="YS Text Regular"/>
            </a:endParaRPr>
          </a:p>
        </p:txBody>
      </p:sp>
      <p:sp>
        <p:nvSpPr>
          <p:cNvPr id="133" name="text">
            <a:extLst>
              <a:ext uri="{FF2B5EF4-FFF2-40B4-BE49-F238E27FC236}">
                <a16:creationId xmlns:a16="http://schemas.microsoft.com/office/drawing/2014/main" id="{ACBA3482-1F0B-9E17-BEFF-BAEE82FBF09F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13284129" y="11516196"/>
            <a:ext cx="4812987" cy="27462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pPr marL="0" lvl="1" defTabSz="1828619">
              <a:spcAft>
                <a:spcPts val="2400"/>
              </a:spcAft>
            </a:pPr>
            <a:fld id="{041DB033-79B2-4CF6-B0EF-7B2F8EFF7206}" type="datetime'Прон''''икно''в''ение CTV в нас''елени''''е ''страны, 2025, %'">
              <a:rPr lang="ru-RU" altLang="en-US">
                <a:latin typeface="YS Text Regular"/>
              </a:rPr>
              <a:pPr marL="0" lvl="1" defTabSz="1828619">
                <a:spcAft>
                  <a:spcPts val="2400"/>
                </a:spcAft>
              </a:pPr>
              <a:t>Проникновение CTV в население страны, 2025, %</a:t>
            </a:fld>
            <a:endParaRPr lang="en-US" dirty="0">
              <a:latin typeface="YS Text Regular"/>
            </a:endParaRPr>
          </a:p>
        </p:txBody>
      </p:sp>
      <p:sp>
        <p:nvSpPr>
          <p:cNvPr id="134" name="text">
            <a:extLst>
              <a:ext uri="{FF2B5EF4-FFF2-40B4-BE49-F238E27FC236}">
                <a16:creationId xmlns:a16="http://schemas.microsoft.com/office/drawing/2014/main" id="{2A26FE6D-90EA-219F-10F4-176A99B076E4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2315159" y="8950421"/>
            <a:ext cx="322243" cy="21271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8" tIns="0" rIns="25398" bIns="0" rtlCol="0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</a:pPr>
            <a:fld id="{0384B624-AFE7-470A-B005-D390C2C5A3A9}" type="datetime'''''''''''''''$1''''''''''''''0'''''''''''''''''''''''''">
              <a:rPr lang="en-US" altLang="en-US" sz="14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</a:pPr>
              <a:t>$10</a:t>
            </a:fld>
            <a:endParaRPr lang="en-US" sz="1400" dirty="0">
              <a:latin typeface="YS Text Regular"/>
            </a:endParaRPr>
          </a:p>
        </p:txBody>
      </p:sp>
      <p:sp>
        <p:nvSpPr>
          <p:cNvPr id="135" name="text">
            <a:extLst>
              <a:ext uri="{FF2B5EF4-FFF2-40B4-BE49-F238E27FC236}">
                <a16:creationId xmlns:a16="http://schemas.microsoft.com/office/drawing/2014/main" id="{86386A65-3607-CCB6-9250-525AE6CBDBF7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11886425" y="9427180"/>
            <a:ext cx="231761" cy="21271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8" tIns="0" rIns="25398" bIns="0" rtlCol="0" anchor="t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</a:pPr>
            <a:fld id="{4D3A42BE-7B31-4912-A0C4-A9054005B867}" type="datetime'''''''''''''''''''''''$''''''2'''''''''''''''''''''''''''''">
              <a:rPr lang="en-US" altLang="en-US" sz="14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</a:pPr>
              <a:t>$2</a:t>
            </a:fld>
            <a:endParaRPr lang="en-US" sz="1400" dirty="0">
              <a:latin typeface="YS Text Regular"/>
            </a:endParaRPr>
          </a:p>
        </p:txBody>
      </p:sp>
      <p:sp>
        <p:nvSpPr>
          <p:cNvPr id="136" name="text">
            <a:extLst>
              <a:ext uri="{FF2B5EF4-FFF2-40B4-BE49-F238E27FC236}">
                <a16:creationId xmlns:a16="http://schemas.microsoft.com/office/drawing/2014/main" id="{A098BF42-D94E-9BB2-16BB-E18CF1FA682A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10488725" y="10524073"/>
            <a:ext cx="231761" cy="212712"/>
          </a:xfrm>
          <a:prstGeom prst="rect">
            <a:avLst/>
          </a:prstGeom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828619">
              <a:spcBef>
                <a:spcPct val="0"/>
              </a:spcBef>
              <a:spcAft>
                <a:spcPct val="0"/>
              </a:spcAft>
            </a:pPr>
            <a:fld id="{D54EA1AA-2D2F-490D-83F0-E6380E7EC9E2}" type="datetime'''''''''''''''''''''''''$''''1'''''">
              <a:rPr lang="en-US" altLang="en-US" sz="1400">
                <a:latin typeface="YS Text Regular"/>
              </a:rPr>
              <a:pPr algn="ctr" defTabSz="1828619">
                <a:spcBef>
                  <a:spcPct val="0"/>
                </a:spcBef>
                <a:spcAft>
                  <a:spcPct val="0"/>
                </a:spcAft>
              </a:pPr>
              <a:t>$1</a:t>
            </a:fld>
            <a:endParaRPr lang="en-US" sz="1400" dirty="0">
              <a:latin typeface="YS Text Regular"/>
            </a:endParaRPr>
          </a:p>
        </p:txBody>
      </p:sp>
      <p:sp>
        <p:nvSpPr>
          <p:cNvPr id="137" name="text">
            <a:extLst>
              <a:ext uri="{FF2B5EF4-FFF2-40B4-BE49-F238E27FC236}">
                <a16:creationId xmlns:a16="http://schemas.microsoft.com/office/drawing/2014/main" id="{5F2F0906-2AAE-9997-D325-A704D99B232B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8060007" y="10158971"/>
            <a:ext cx="574639" cy="2127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398" tIns="0" rIns="25398" bIns="0" rtlCol="0" anchor="ctr">
            <a:no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  <a:defRPr/>
            </a:pPr>
            <a:fld id="{E5EE97B3-58CE-4EE9-943E-37F063DEE2F1}" type="datetime'''''M''''''''''''''''''''''ex''i''''''''''''''''c''o'''''">
              <a:rPr lang="en-US" altLang="en-US" sz="14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  <a:defRPr/>
              </a:pPr>
              <a:t>Mexico</a:t>
            </a:fld>
            <a:endParaRPr lang="en-US" sz="1400" dirty="0">
              <a:latin typeface="YS Text Regular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0FC664E0-FA6B-BDA2-9FAA-D25271C3E428}"/>
              </a:ext>
            </a:extLst>
          </p:cNvPr>
          <p:cNvSpPr txBox="1">
            <a:spLocks/>
          </p:cNvSpPr>
          <p:nvPr/>
        </p:nvSpPr>
        <p:spPr>
          <a:xfrm rot="10800000" flipV="1">
            <a:off x="1454393" y="4743703"/>
            <a:ext cx="7379220" cy="28616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ru-RU" sz="2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defRPr/>
            </a:pPr>
            <a:fld id="{5460136D-A208-4A14-ADA8-6E3C840446FE}" type="datetime'Общие затрат''ы на'' ''digital ''на человека'', 2025,'''' USD'">
              <a:rPr lang="ru-RU" altLang="en-US" sz="1800">
                <a:latin typeface="YS Text Regular"/>
              </a:rPr>
              <a:pPr defTabSz="1828619">
                <a:defRPr/>
              </a:pPr>
              <a:t>Общие затраты на digital на человека, 2025, USD</a:t>
            </a:fld>
            <a:endParaRPr lang="ru-RU" sz="1800" dirty="0">
              <a:latin typeface="YS Text Regular"/>
            </a:endParaRPr>
          </a:p>
        </p:txBody>
      </p:sp>
      <p:sp>
        <p:nvSpPr>
          <p:cNvPr id="139" name="Rectangle 185">
            <a:extLst>
              <a:ext uri="{FF2B5EF4-FFF2-40B4-BE49-F238E27FC236}">
                <a16:creationId xmlns:a16="http://schemas.microsoft.com/office/drawing/2014/main" id="{1C67982A-5358-791C-BE16-ADDCF93EF587}"/>
              </a:ext>
            </a:extLst>
          </p:cNvPr>
          <p:cNvSpPr/>
          <p:nvPr>
            <p:custDataLst>
              <p:tags r:id="rId91"/>
            </p:custDataLst>
          </p:nvPr>
        </p:nvSpPr>
        <p:spPr>
          <a:xfrm>
            <a:off x="1448963" y="4028712"/>
            <a:ext cx="1826607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defTabSz="457177">
              <a:defRPr/>
            </a:pPr>
            <a:r>
              <a:rPr lang="ru-RU" sz="2400" dirty="0">
                <a:solidFill>
                  <a:schemeClr val="tx1"/>
                </a:solidFill>
                <a:latin typeface="YS Text Medium" pitchFamily="2" charset="-52"/>
              </a:rPr>
              <a:t>Проникновение CTV относительно размера рекламного рынка и относительные размеры ТВ-рекламы</a:t>
            </a:r>
            <a:r>
              <a:rPr lang="ru-RU" sz="2400" baseline="30000" dirty="0">
                <a:solidFill>
                  <a:schemeClr val="tx1"/>
                </a:solidFill>
                <a:latin typeface="YS Text Medium" pitchFamily="2" charset="-52"/>
              </a:rPr>
              <a:t>1</a:t>
            </a:r>
          </a:p>
        </p:txBody>
      </p:sp>
      <p:sp>
        <p:nvSpPr>
          <p:cNvPr id="140" name="Rectangle 16511">
            <a:extLst>
              <a:ext uri="{FF2B5EF4-FFF2-40B4-BE49-F238E27FC236}">
                <a16:creationId xmlns:a16="http://schemas.microsoft.com/office/drawing/2014/main" id="{00828E11-639C-D7CC-41EE-D972FEBA3348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19287661" y="7507777"/>
            <a:ext cx="251984" cy="251984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77">
              <a:lnSpc>
                <a:spcPct val="104000"/>
              </a:lnSpc>
              <a:spcAft>
                <a:spcPts val="2400"/>
              </a:spcAft>
              <a:defRPr/>
            </a:pPr>
            <a:endParaRPr lang="en-US" sz="20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sp>
        <p:nvSpPr>
          <p:cNvPr id="141" name="text">
            <a:extLst>
              <a:ext uri="{FF2B5EF4-FFF2-40B4-BE49-F238E27FC236}">
                <a16:creationId xmlns:a16="http://schemas.microsoft.com/office/drawing/2014/main" id="{3A262BC2-89A5-6A78-DDEB-1BCA69EAB884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19667052" y="7495740"/>
            <a:ext cx="3516734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 defTabSz="1828619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tabLst/>
              <a:defRPr sz="2000">
                <a:latin typeface="YS Text Regular"/>
              </a:defRPr>
            </a:lvl1pPr>
            <a:lvl2pPr marL="504000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r>
              <a:rPr lang="ru-RU" dirty="0"/>
              <a:t>Размер внутреннего круга: затраты на рекламу на </a:t>
            </a:r>
            <a:r>
              <a:rPr lang="en-US" dirty="0"/>
              <a:t>CTV </a:t>
            </a:r>
            <a:r>
              <a:rPr lang="ru-RU" dirty="0"/>
              <a:t>на человека, </a:t>
            </a:r>
            <a:r>
              <a:rPr lang="en-US" dirty="0"/>
              <a:t>USD</a:t>
            </a:r>
          </a:p>
        </p:txBody>
      </p:sp>
      <p:sp>
        <p:nvSpPr>
          <p:cNvPr id="142" name="Rectangle 16511">
            <a:extLst>
              <a:ext uri="{FF2B5EF4-FFF2-40B4-BE49-F238E27FC236}">
                <a16:creationId xmlns:a16="http://schemas.microsoft.com/office/drawing/2014/main" id="{784AD395-363F-9FDA-AEE5-03C5FFA28AC5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19287661" y="8830583"/>
            <a:ext cx="251984" cy="251984"/>
          </a:xfrm>
          <a:prstGeom prst="round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77">
              <a:lnSpc>
                <a:spcPct val="104000"/>
              </a:lnSpc>
              <a:spcAft>
                <a:spcPts val="2400"/>
              </a:spcAft>
              <a:defRPr/>
            </a:pPr>
            <a:endParaRPr lang="en-US" sz="20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sp>
        <p:nvSpPr>
          <p:cNvPr id="143" name="text">
            <a:extLst>
              <a:ext uri="{FF2B5EF4-FFF2-40B4-BE49-F238E27FC236}">
                <a16:creationId xmlns:a16="http://schemas.microsoft.com/office/drawing/2014/main" id="{FD7C12B6-CBBA-3128-129D-3DD56C23766E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19667052" y="8805258"/>
            <a:ext cx="3354689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 defTabSz="1828619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tabLst/>
              <a:defRPr sz="2000">
                <a:latin typeface="YS Text Regular"/>
              </a:defRPr>
            </a:lvl1pPr>
            <a:lvl2pPr marL="504000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r>
              <a:rPr lang="ru-RU" dirty="0"/>
              <a:t>Размер внешнего круга: затраты на рекламу на ТВ</a:t>
            </a:r>
            <a:r>
              <a:rPr lang="en-US" dirty="0"/>
              <a:t> </a:t>
            </a:r>
            <a:r>
              <a:rPr lang="ru-RU" dirty="0"/>
              <a:t>на человека, </a:t>
            </a:r>
            <a:r>
              <a:rPr lang="en-US" dirty="0"/>
              <a:t>USD</a:t>
            </a:r>
          </a:p>
        </p:txBody>
      </p:sp>
      <p:sp>
        <p:nvSpPr>
          <p:cNvPr id="144" name="Oval 934">
            <a:extLst>
              <a:ext uri="{FF2B5EF4-FFF2-40B4-BE49-F238E27FC236}">
                <a16:creationId xmlns:a16="http://schemas.microsoft.com/office/drawing/2014/main" id="{E705BF30-DD97-1768-0C79-BBEC649ECD4B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19303537" y="4042819"/>
            <a:ext cx="266683" cy="26668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77">
              <a:lnSpc>
                <a:spcPct val="104000"/>
              </a:lnSpc>
              <a:spcAft>
                <a:spcPts val="2400"/>
              </a:spcAft>
            </a:pPr>
            <a:endParaRPr lang="en-US" sz="28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sp>
        <p:nvSpPr>
          <p:cNvPr id="145" name="Oval 935">
            <a:extLst>
              <a:ext uri="{FF2B5EF4-FFF2-40B4-BE49-F238E27FC236}">
                <a16:creationId xmlns:a16="http://schemas.microsoft.com/office/drawing/2014/main" id="{3A4AB780-4F22-CC1D-A567-AD3EA4A0B81F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19303537" y="5021163"/>
            <a:ext cx="266683" cy="26668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77">
              <a:lnSpc>
                <a:spcPct val="104000"/>
              </a:lnSpc>
              <a:spcAft>
                <a:spcPts val="2400"/>
              </a:spcAft>
            </a:pPr>
            <a:endParaRPr lang="en-US" sz="28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sp>
        <p:nvSpPr>
          <p:cNvPr id="146" name="Oval 936">
            <a:extLst>
              <a:ext uri="{FF2B5EF4-FFF2-40B4-BE49-F238E27FC236}">
                <a16:creationId xmlns:a16="http://schemas.microsoft.com/office/drawing/2014/main" id="{0F17CCB0-DBB9-E1F1-68A1-BE66334876E6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19303537" y="6530181"/>
            <a:ext cx="266683" cy="26668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77">
              <a:lnSpc>
                <a:spcPct val="104000"/>
              </a:lnSpc>
              <a:spcAft>
                <a:spcPts val="2400"/>
              </a:spcAft>
            </a:pPr>
            <a:endParaRPr lang="en-US" sz="2800" dirty="0">
              <a:solidFill>
                <a:schemeClr val="tx1"/>
              </a:solidFill>
              <a:latin typeface="YS Text Regular"/>
              <a:sym typeface="Arial"/>
            </a:endParaRPr>
          </a:p>
        </p:txBody>
      </p:sp>
      <p:sp>
        <p:nvSpPr>
          <p:cNvPr id="147" name="text">
            <a:extLst>
              <a:ext uri="{FF2B5EF4-FFF2-40B4-BE49-F238E27FC236}">
                <a16:creationId xmlns:a16="http://schemas.microsoft.com/office/drawing/2014/main" id="{3BEAC998-6B9F-9ABF-4BB3-0676D4D1D63D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19667051" y="4034883"/>
            <a:ext cx="3497749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 defTabSz="1828619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tabLst/>
              <a:defRPr sz="2000">
                <a:latin typeface="YS Text Regular"/>
              </a:defRPr>
            </a:lvl1pPr>
            <a:lvl2pPr marL="504000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fld id="{26CA252B-E108-45A0-998A-2FBAC6A13D21}" type="datetime'Пре''''иму''щ''ест''''венн''о'''''' ''бе''спл''ат''''н''''о'">
              <a:rPr lang="en-US" altLang="en-US"/>
              <a:pPr/>
              <a:t>Преимущественно бесплатно</a:t>
            </a:fld>
            <a:endParaRPr lang="en-US" dirty="0"/>
          </a:p>
        </p:txBody>
      </p:sp>
      <p:sp>
        <p:nvSpPr>
          <p:cNvPr id="149" name="text">
            <a:extLst>
              <a:ext uri="{FF2B5EF4-FFF2-40B4-BE49-F238E27FC236}">
                <a16:creationId xmlns:a16="http://schemas.microsoft.com/office/drawing/2014/main" id="{D13E3B43-0FEC-01FB-85D0-14750F847CDD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19667051" y="5013227"/>
            <a:ext cx="3421549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Bef>
                <a:spcPct val="0"/>
              </a:spcBef>
              <a:spcAft>
                <a:spcPct val="0"/>
              </a:spcAft>
            </a:pPr>
            <a:fld id="{CB8486AF-B634-419E-8D43-3621C8C143B1}" type="thinkcell&lt;?xml version=&quot;1.0&quot; encoding=&quot;UTF-16&quot; standalone=&quot;yes&quot;?&gt;&lt;root reqver=&quot;36344&quot;&gt;&lt;version val=&quot;38669&quot;/&gt;&lt;PersistentType&gt;&lt;m_guid val=&quot;84203999-55a2-4835-9733-e807932ed46d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2000">
                <a:latin typeface="YS Text Regular"/>
              </a:rPr>
              <a:pPr defTabSz="1828619">
                <a:spcBef>
                  <a:spcPct val="0"/>
                </a:spcBef>
                <a:spcAft>
                  <a:spcPct val="0"/>
                </a:spcAft>
              </a:pPr>
              <a:t>Преимущественно бесплатно, но есть обязательный TV-налог / сбор</a:t>
            </a:fld>
            <a:endParaRPr lang="en-US" sz="2000" dirty="0">
              <a:latin typeface="YS Text Regular"/>
            </a:endParaRPr>
          </a:p>
        </p:txBody>
      </p:sp>
      <p:sp>
        <p:nvSpPr>
          <p:cNvPr id="150" name="text">
            <a:extLst>
              <a:ext uri="{FF2B5EF4-FFF2-40B4-BE49-F238E27FC236}">
                <a16:creationId xmlns:a16="http://schemas.microsoft.com/office/drawing/2014/main" id="{C6C280E6-CE7C-B5EE-F84C-6DE30AF1C311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auto">
          <a:xfrm>
            <a:off x="19667051" y="6522246"/>
            <a:ext cx="2950972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 defTabSz="1828619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tabLst/>
              <a:defRPr sz="2000">
                <a:latin typeface="YS Text Regular"/>
              </a:defRPr>
            </a:lvl1pPr>
            <a:lvl2pPr marL="504000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fld id="{1D0E8E2D-DDCB-4672-A82C-DEDA864EF239}" type="datetime'''Пр''е''им''''ущ''''''е''ст''''ве''''''н''''но плат''н''ое'''">
              <a:rPr lang="en-US" altLang="en-US"/>
              <a:pPr/>
              <a:t>Преимущественно платное</a:t>
            </a:fld>
            <a:endParaRPr lang="en-US" dirty="0"/>
          </a:p>
        </p:txBody>
      </p:sp>
      <p:sp>
        <p:nvSpPr>
          <p:cNvPr id="157" name="Текст 7">
            <a:extLst>
              <a:ext uri="{FF2B5EF4-FFF2-40B4-BE49-F238E27FC236}">
                <a16:creationId xmlns:a16="http://schemas.microsoft.com/office/drawing/2014/main" id="{7016A44B-63D0-0691-8B05-D924763F0ECA}"/>
              </a:ext>
            </a:extLst>
          </p:cNvPr>
          <p:cNvSpPr txBox="1">
            <a:spLocks/>
          </p:cNvSpPr>
          <p:nvPr/>
        </p:nvSpPr>
        <p:spPr>
          <a:xfrm>
            <a:off x="1448963" y="-1643532"/>
            <a:ext cx="18164175" cy="12303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Самый высокий </a:t>
            </a:r>
            <a:r>
              <a:rPr lang="en-US"/>
              <a:t>ARPU </a:t>
            </a:r>
            <a:r>
              <a:rPr lang="ru-RU"/>
              <a:t>подтверждается в странах с преимущественно англоговорящим населением</a:t>
            </a:r>
            <a:endParaRPr lang="ru-RU" dirty="0"/>
          </a:p>
        </p:txBody>
      </p:sp>
      <p:cxnSp>
        <p:nvCxnSpPr>
          <p:cNvPr id="158" name="Straight Connector 1413">
            <a:extLst>
              <a:ext uri="{FF2B5EF4-FFF2-40B4-BE49-F238E27FC236}">
                <a16:creationId xmlns:a16="http://schemas.microsoft.com/office/drawing/2014/main" id="{C5B24844-DE56-7713-499D-20E2EC65F9CE}"/>
              </a:ext>
            </a:extLst>
          </p:cNvPr>
          <p:cNvCxnSpPr>
            <a:cxnSpLocks/>
          </p:cNvCxnSpPr>
          <p:nvPr>
            <p:custDataLst>
              <p:tags r:id="rId102"/>
            </p:custDataLst>
          </p:nvPr>
        </p:nvCxnSpPr>
        <p:spPr bwMode="auto">
          <a:xfrm flipH="1">
            <a:off x="12012516" y="9639892"/>
            <a:ext cx="0" cy="283399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3" name="Straight Connector 1413">
            <a:extLst>
              <a:ext uri="{FF2B5EF4-FFF2-40B4-BE49-F238E27FC236}">
                <a16:creationId xmlns:a16="http://schemas.microsoft.com/office/drawing/2014/main" id="{94C65CDF-A57D-FC1A-A92E-74DD62939842}"/>
              </a:ext>
            </a:extLst>
          </p:cNvPr>
          <p:cNvCxnSpPr>
            <a:cxnSpLocks/>
            <a:endCxn id="52" idx="0"/>
          </p:cNvCxnSpPr>
          <p:nvPr>
            <p:custDataLst>
              <p:tags r:id="rId103"/>
            </p:custDataLst>
          </p:nvPr>
        </p:nvCxnSpPr>
        <p:spPr bwMode="auto">
          <a:xfrm>
            <a:off x="11679271" y="10003354"/>
            <a:ext cx="1" cy="389496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49218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g0fHzIeUZdaNSPPVd2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gX0NMvR5ci8QvbktRXv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qDujcQfE06XixL60NQX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Hu0zVQevFgVB6.Si8b9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9T8KcolRXiJ5ci5Ycbe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41m4iAqSVMpU_gPCOur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8BesExTiXaGGd.bnsbn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8BesExTiXaGGd.bnsbn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vBtA3eduhWP6qBDi6W6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9LoVZarQYMerGT7C39X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1xD7ku353LMLcobYYM5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rJK9PBocPRV7DhVDhsz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vC5l6lgoJ48d7PyIA72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pAaWmYpfHDcT8ffil9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ooJ4QzYqb_fJb3UxjU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7kqemafplQ9lc2yHqs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WRa1AmEpiOL2rQxozG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LilrhiHnIXggUq61Mu_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EFKAZTFWLF5esIHirq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xta6IBnNv.Aa63dWE3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aylwKvK6TKzisg_I9l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QYnunyvjw2qbR1kXD0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nxSGKCpcaAwYwIngUk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er5LwAS70ZhbTykZoB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i_sKgaK_25bZr2NKcc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.y0F8gpfVczktdjqRiL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BqogvTWNn8Jaqm7cPO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NejqPUilOXlYW4t4OK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nPfB3ddHJn5_VlXsO.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VoE3ucdBE8FgTl9vjr1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Ggpvj9BbNphv5uMS0n4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SjZWXGwpAEhycuSHdc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OXo_mXu6OAuIuuftzp7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5s.Ccd_yrN2HqkuM1V7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CqG_VSOXUMqVdFTkcF5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qrVp6.YvL8d7J4YCFd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tc9I5ug6mEMpV012Y1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XB6.2MCdhhCZJzpRQJs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HUCni2wohCsrlStoyP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2HHa3mkyDp2gPdZYamV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pfQUj4GqtI.TRPwPth8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maosiyG_NzJKUByYJK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f2PiawVMvwpdwp_3wu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Fo4J2xK405f7.e_yh6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6qfDkT_M_vtk4CVujsu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MK2L2oNUYTepw87NNir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cNcTZDQGJ6poRF.Mlx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IeYsNDJg.JKRZ2d2Z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8SkXEqYfZo3jL9Q3C5B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tPaFoy6f9UaLxhTPMA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ohmlZrnNQb0mKJRtBTd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JLkHHP3c2K_MGdYvuN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3QOV95t99dbwdt0jLf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x8qPfjZoXDxZkNKo8fU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SyaERKsdPBEoRdwhNrI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uf9kHcLXhL7zAZ9grcj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TBSEGypiB1a.XvYCan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XylS1HfEWwVBPgVOnR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y3eRKakv4ursJCmfHh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eLK_T24TET_5gul0qXu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FLYuVIzlJVWyiR0VOx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L9mqsydYiYK3wRDA8fu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iYXR9zu15hDSOPFGBIJ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lDsuNNTi2xGK9qQg05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PFDIAOF80RpoAZ47TI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YKbNpGCK4Pt.5Tga4S6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H2ZbjD8L2uyfCcpUzQk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XJKm0uxwXISxdie9nb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xcUZ1Sb3Y7wMMb.a5i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OF9EcL_iJyuI.D7dqZ3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vlUhQE.UVv_L8DsD9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8BesExTiXaGGd.bnsbn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bsxCn31AOskYL5zWsHe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7iRVod1TJII_GWe9Rxs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LYkrOiGYlJpdc6PZhNj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032wrwQfLLHUeEsSu5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65JDxktAw7goCss6hda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eRxDooClciuJnzNPjYv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eEMz5kSLUhg4t3zeCDu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8tkzgMc7uBuIEugL8t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UVjU3Yn7TonsjOVsxeQ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W999DRAtZDVL3iA66lu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5QEqcUHUCgzJsdur_Bb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FCDGGSxaCc22fZRo8K6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Gjzrja2gmhTRG_Js5OH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9d.mT1w0k5cr56jc6g6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3v8ugDzFj5udmxo7XfA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uFSCmSuQVFnHrmpPNYE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Z2A2FOTaPIup0H4tBDR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Yo2_QfbMXPkhxye9_Y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6HVUV49JgvftIcJO0r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kr3SpZTGd.68cYwzTV_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K1wSVfwcNMaY5lC5woD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utmnodlywRNfmLSnOvc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nSuMy..tIPIw_1.q2iD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2s63T1iJmZNs7wXsCu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ar5vTUkGZgjBP9DaSR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394ZfHPxUFEsI4KcV8j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K9BZs6W2BNakfzvGBzI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394ZfHPxUFEsI4KcV8j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K9BZs6W2BNakfzvGBzI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0f2_M2_ApzLxsKbxKOTg"/>
</p:tagLst>
</file>

<file path=ppt/theme/theme1.xml><?xml version="1.0" encoding="utf-8"?>
<a:theme xmlns:a="http://schemas.openxmlformats.org/drawingml/2006/main" name="Yandex Ads_dark">
  <a:themeElements>
    <a:clrScheme name="Пользовательские 47">
      <a:dk1>
        <a:srgbClr val="A0AFC8"/>
      </a:dk1>
      <a:lt1>
        <a:srgbClr val="FFFFFF"/>
      </a:lt1>
      <a:dk2>
        <a:srgbClr val="0F141E"/>
      </a:dk2>
      <a:lt2>
        <a:srgbClr val="1D2333"/>
      </a:lt2>
      <a:accent1>
        <a:srgbClr val="4B3CFF"/>
      </a:accent1>
      <a:accent2>
        <a:srgbClr val="3286FF"/>
      </a:accent2>
      <a:accent3>
        <a:srgbClr val="00FAFF"/>
      </a:accent3>
      <a:accent4>
        <a:srgbClr val="7D32FF"/>
      </a:accent4>
      <a:accent5>
        <a:srgbClr val="FF3296"/>
      </a:accent5>
      <a:accent6>
        <a:srgbClr val="FF825A"/>
      </a:accent6>
      <a:hlink>
        <a:srgbClr val="A0AEC8"/>
      </a:hlink>
      <a:folHlink>
        <a:srgbClr val="A0AEC8"/>
      </a:folHlink>
    </a:clrScheme>
    <a:fontScheme name="Другая 1">
      <a:majorFont>
        <a:latin typeface="YS Display Bold"/>
        <a:ea typeface=""/>
        <a:cs typeface=""/>
      </a:majorFont>
      <a:minorFont>
        <a:latin typeface="YS Text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0" tIns="0" rIns="0" bIns="0" rtlCol="0" anchor="t"/>
      <a:lstStyle>
        <a:defPPr algn="l">
          <a:lnSpc>
            <a:spcPct val="104000"/>
          </a:lnSpc>
          <a:spcAft>
            <a:spcPts val="2400"/>
          </a:spcAft>
          <a:defRPr sz="2800" dirty="0">
            <a:solidFill>
              <a:schemeClr val="tx1"/>
            </a:solidFill>
            <a:sym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algn="l">
          <a:lnSpc>
            <a:spcPct val="104000"/>
          </a:lnSpc>
          <a:spcAft>
            <a:spcPts val="2400"/>
          </a:spcAft>
          <a:defRPr sz="3200" dirty="0" smtClean="0"/>
        </a:defPPr>
      </a:lstStyle>
    </a:txDef>
  </a:objectDefaults>
  <a:extraClrSchemeLst/>
  <a:custClrLst>
    <a:custClr name="Custom Color 1">
      <a:srgbClr val="4B3CFF"/>
    </a:custClr>
    <a:custClr name="Custom Color 2">
      <a:srgbClr val="3287FF"/>
    </a:custClr>
    <a:custClr name="Custom Color 3">
      <a:srgbClr val="00D7DC"/>
    </a:custClr>
    <a:custClr name="Custom Color 4">
      <a:srgbClr val="35BF73"/>
    </a:custClr>
    <a:custClr name="Custom Color 5">
      <a:srgbClr val="F5C300"/>
    </a:custClr>
    <a:custClr name="Custom Color 6">
      <a:srgbClr val="FF825A"/>
    </a:custClr>
    <a:custClr name="Custom Color 7">
      <a:srgbClr val="FF3296"/>
    </a:custClr>
    <a:custClr name="Custom Color 8">
      <a:srgbClr val="B98CFF"/>
    </a:custClr>
    <a:custClr name="Custom Color 9">
      <a:srgbClr val="4600AF"/>
    </a:custClr>
    <a:custClr name="Custom Color 10">
      <a:srgbClr val="6E82AA"/>
    </a:custClr>
    <a:custClr name="Custom Color 11">
      <a:srgbClr val="4B3CFF"/>
    </a:custClr>
    <a:custClr name="Custom Color 12">
      <a:srgbClr val="3700F0"/>
    </a:custClr>
    <a:custClr name="Custom Color 13">
      <a:srgbClr val="2D00BE"/>
    </a:custClr>
    <a:custClr name="Custom Color 14">
      <a:srgbClr val="1E0096"/>
    </a:custClr>
    <a:custClr name="Custom Color 15">
      <a:srgbClr val="0F0073"/>
    </a:custClr>
    <a:custClr name="Custom Color 16">
      <a:srgbClr val="7D32FF"/>
    </a:custClr>
    <a:custClr name="Custom Color 17">
      <a:srgbClr val="6A00EC"/>
    </a:custClr>
    <a:custClr name="Custom Color 18">
      <a:srgbClr val="5A00D2"/>
    </a:custClr>
    <a:custClr name="Custom Color 19">
      <a:srgbClr val="4600AF"/>
    </a:custClr>
    <a:custClr name="Custom Color 20">
      <a:srgbClr val="320082"/>
    </a:custClr>
    <a:custClr name="Custom Color 21">
      <a:srgbClr val="A0AFC8"/>
    </a:custClr>
    <a:custClr name="Custom Color 22">
      <a:srgbClr val="6E82AA"/>
    </a:custClr>
    <a:custClr name="Custom Color 23">
      <a:srgbClr val="46557D"/>
    </a:custClr>
    <a:custClr name="Custom Color 24">
      <a:srgbClr val="324164"/>
    </a:custClr>
    <a:custClr name="Custom Color 25">
      <a:srgbClr val="25314B"/>
    </a:custClr>
    <a:custClr name="Custom Color 26">
      <a:srgbClr val="A2FF67"/>
    </a:custClr>
    <a:custClr name="Custom Color 27">
      <a:srgbClr val="FA0055"/>
    </a:custClr>
    <a:custClr name="Custom Color 28">
      <a:srgbClr val="9B5FFF"/>
    </a:custClr>
  </a:custClrLst>
  <a:extLst>
    <a:ext uri="{05A4C25C-085E-4340-85A3-A5531E510DB2}">
      <thm15:themeFamily xmlns:thm15="http://schemas.microsoft.com/office/thememl/2012/main" name="2_Yandex Ads Black" id="{E04A702F-4F6C-4B72-9ECE-D5E462654BE5}" vid="{D0D95936-273B-422E-A3A5-CE8BEBC1A17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 Office</Template>
  <TotalTime>29941</TotalTime>
  <Words>1172</Words>
  <Application>Microsoft Office PowerPoint</Application>
  <PresentationFormat>Произвольный</PresentationFormat>
  <Paragraphs>290</Paragraphs>
  <Slides>20</Slides>
  <Notes>6</Notes>
  <HiddenSlides>1</HiddenSlides>
  <MMClips>1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32" baseType="lpstr">
      <vt:lpstr>Aptos</vt:lpstr>
      <vt:lpstr>Arial</vt:lpstr>
      <vt:lpstr>Proxima Nova Rg</vt:lpstr>
      <vt:lpstr>Proxima Nova Semibold</vt:lpstr>
      <vt:lpstr>YS Display Bold</vt:lpstr>
      <vt:lpstr>YS Display Regular</vt:lpstr>
      <vt:lpstr>YS Text Medium</vt:lpstr>
      <vt:lpstr>YS Text Regular</vt:lpstr>
      <vt:lpstr>Системный шрифт, обычный</vt:lpstr>
      <vt:lpstr>Yandex Ads_dark</vt:lpstr>
      <vt:lpstr>Слайд think-cell</vt:lpstr>
      <vt:lpstr>think-cell Slide</vt:lpstr>
      <vt:lpstr>Большой экран будущего: прогноз рынка, тренды  и возможности</vt:lpstr>
      <vt:lpstr>Рекламный рынок переживал  несколько бумов</vt:lpstr>
      <vt:lpstr> СTV-устройство уже  не просто телевизор </vt:lpstr>
      <vt:lpstr>Сценарии  потребления  контента  на Connected TV</vt:lpstr>
      <vt:lpstr>Сценарии  потребления  контента  на Connected TV:  где есть реклама</vt:lpstr>
      <vt:lpstr>Презентация PowerPoint</vt:lpstr>
      <vt:lpstr>Презентация PowerPoint</vt:lpstr>
      <vt:lpstr>Презентация PowerPoint</vt:lpstr>
      <vt:lpstr>Размер рынка CTV теперь отслеживают в 10+ странах</vt:lpstr>
      <vt:lpstr>Годовой рост 35% — а не слишком ли быстро?</vt:lpstr>
      <vt:lpstr>Годовой рост  35% —  а не слишком ли  быстро?</vt:lpstr>
      <vt:lpstr>Презентация PowerPoint</vt:lpstr>
      <vt:lpstr>Где показывать CTV рекламу =</vt:lpstr>
      <vt:lpstr>Как делать её эффективнее =</vt:lpstr>
      <vt:lpstr>Презентация PowerPoint</vt:lpstr>
      <vt:lpstr>Реклама на CTV через Яндекс Директ  кратко выросла в первом полугодии 2026 г.</vt:lpstr>
      <vt:lpstr>Где показывается реклама на Connected TV  через Яндекс Директ</vt:lpstr>
      <vt:lpstr>Возможности рекламы на Connected TV  через Яндекс Директ </vt:lpstr>
      <vt:lpstr>Реклама на CTV-устройствах  через Яндекс Директ  растит интерес к бренду  и помогает достигать  целей бизнеса</vt:lpstr>
      <vt:lpstr>Будьте в поле заметности на устройствах CTV  и получайте максимум эффективност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 Потапченко</dc:creator>
  <cp:lastModifiedBy>Виктория Сучкова</cp:lastModifiedBy>
  <cp:revision>369</cp:revision>
  <dcterms:created xsi:type="dcterms:W3CDTF">2021-10-28T17:05:17Z</dcterms:created>
  <dcterms:modified xsi:type="dcterms:W3CDTF">2026-06-25T12:25:01Z</dcterms:modified>
</cp:coreProperties>
</file>